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31.xml" ContentType="application/vnd.openxmlformats-officedocument.drawingml.chart+xml"/>
  <Override PartName="/ppt/theme/themeOverride31.xml" ContentType="application/vnd.openxmlformats-officedocument.themeOverride+xml"/>
  <Override PartName="/ppt/charts/chart32.xml" ContentType="application/vnd.openxmlformats-officedocument.drawingml.chart+xml"/>
  <Override PartName="/ppt/theme/themeOverride32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33.xml" ContentType="application/vnd.openxmlformats-officedocument.drawingml.chart+xml"/>
  <Override PartName="/ppt/theme/themeOverride33.xml" ContentType="application/vnd.openxmlformats-officedocument.themeOverride+xml"/>
  <Override PartName="/ppt/charts/chart34.xml" ContentType="application/vnd.openxmlformats-officedocument.drawingml.chart+xml"/>
  <Override PartName="/ppt/theme/themeOverride34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35.xml" ContentType="application/vnd.openxmlformats-officedocument.drawingml.chart+xml"/>
  <Override PartName="/ppt/theme/themeOverride35.xml" ContentType="application/vnd.openxmlformats-officedocument.themeOverride+xml"/>
  <Override PartName="/ppt/charts/chart36.xml" ContentType="application/vnd.openxmlformats-officedocument.drawingml.chart+xml"/>
  <Override PartName="/ppt/theme/themeOverride36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37.xml" ContentType="application/vnd.openxmlformats-officedocument.drawingml.chart+xml"/>
  <Override PartName="/ppt/theme/themeOverride37.xml" ContentType="application/vnd.openxmlformats-officedocument.themeOverride+xml"/>
  <Override PartName="/ppt/charts/chart38.xml" ContentType="application/vnd.openxmlformats-officedocument.drawingml.chart+xml"/>
  <Override PartName="/ppt/theme/themeOverride38.xml" ContentType="application/vnd.openxmlformats-officedocument.themeOverr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39.xml" ContentType="application/vnd.openxmlformats-officedocument.drawingml.chart+xml"/>
  <Override PartName="/ppt/theme/themeOverride39.xml" ContentType="application/vnd.openxmlformats-officedocument.themeOverride+xml"/>
  <Override PartName="/ppt/charts/chart40.xml" ContentType="application/vnd.openxmlformats-officedocument.drawingml.chart+xml"/>
  <Override PartName="/ppt/theme/themeOverride40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41.xml" ContentType="application/vnd.openxmlformats-officedocument.drawingml.chart+xml"/>
  <Override PartName="/ppt/theme/themeOverride41.xml" ContentType="application/vnd.openxmlformats-officedocument.themeOverride+xml"/>
  <Override PartName="/ppt/charts/chart42.xml" ContentType="application/vnd.openxmlformats-officedocument.drawingml.chart+xml"/>
  <Override PartName="/ppt/theme/themeOverride42.xml" ContentType="application/vnd.openxmlformats-officedocument.themeOverr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43.xml" ContentType="application/vnd.openxmlformats-officedocument.drawingml.chart+xml"/>
  <Override PartName="/ppt/theme/themeOverride43.xml" ContentType="application/vnd.openxmlformats-officedocument.themeOverride+xml"/>
  <Override PartName="/ppt/charts/chart44.xml" ContentType="application/vnd.openxmlformats-officedocument.drawingml.chart+xml"/>
  <Override PartName="/ppt/theme/themeOverride44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charts/chart45.xml" ContentType="application/vnd.openxmlformats-officedocument.drawingml.chart+xml"/>
  <Override PartName="/ppt/theme/themeOverride45.xml" ContentType="application/vnd.openxmlformats-officedocument.themeOverride+xml"/>
  <Override PartName="/ppt/charts/chart46.xml" ContentType="application/vnd.openxmlformats-officedocument.drawingml.chart+xml"/>
  <Override PartName="/ppt/theme/themeOverride46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charts/chart47.xml" ContentType="application/vnd.openxmlformats-officedocument.drawingml.chart+xml"/>
  <Override PartName="/ppt/theme/themeOverride47.xml" ContentType="application/vnd.openxmlformats-officedocument.themeOverr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charts/chart48.xml" ContentType="application/vnd.openxmlformats-officedocument.drawingml.chart+xml"/>
  <Override PartName="/ppt/theme/themeOverride48.xml" ContentType="application/vnd.openxmlformats-officedocument.themeOverr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charts/chart49.xml" ContentType="application/vnd.openxmlformats-officedocument.drawingml.chart+xml"/>
  <Override PartName="/ppt/theme/themeOverride49.xml" ContentType="application/vnd.openxmlformats-officedocument.themeOverr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charts/chart50.xml" ContentType="application/vnd.openxmlformats-officedocument.drawingml.chart+xml"/>
  <Override PartName="/ppt/theme/themeOverride50.xml" ContentType="application/vnd.openxmlformats-officedocument.themeOverr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charts/chart51.xml" ContentType="application/vnd.openxmlformats-officedocument.drawingml.chart+xml"/>
  <Override PartName="/ppt/theme/themeOverride51.xml" ContentType="application/vnd.openxmlformats-officedocument.themeOverr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charts/chart52.xml" ContentType="application/vnd.openxmlformats-officedocument.drawingml.chart+xml"/>
  <Override PartName="/ppt/theme/themeOverride52.xml" ContentType="application/vnd.openxmlformats-officedocument.themeOverr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charts/chart53.xml" ContentType="application/vnd.openxmlformats-officedocument.drawingml.chart+xml"/>
  <Override PartName="/ppt/theme/themeOverride53.xml" ContentType="application/vnd.openxmlformats-officedocument.themeOverr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charts/chart54.xml" ContentType="application/vnd.openxmlformats-officedocument.drawingml.chart+xml"/>
  <Override PartName="/ppt/theme/themeOverride54.xml" ContentType="application/vnd.openxmlformats-officedocument.themeOverr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charts/chart55.xml" ContentType="application/vnd.openxmlformats-officedocument.drawingml.chart+xml"/>
  <Override PartName="/ppt/theme/themeOverride55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charts/chart56.xml" ContentType="application/vnd.openxmlformats-officedocument.drawingml.chart+xml"/>
  <Override PartName="/ppt/theme/themeOverride56.xml" ContentType="application/vnd.openxmlformats-officedocument.themeOverr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charts/chart57.xml" ContentType="application/vnd.openxmlformats-officedocument.drawingml.chart+xml"/>
  <Override PartName="/ppt/theme/themeOverride57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charts/chart58.xml" ContentType="application/vnd.openxmlformats-officedocument.drawingml.chart+xml"/>
  <Override PartName="/ppt/theme/themeOverride58.xml" ContentType="application/vnd.openxmlformats-officedocument.themeOverr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charts/chart59.xml" ContentType="application/vnd.openxmlformats-officedocument.drawingml.chart+xml"/>
  <Override PartName="/ppt/theme/themeOverride59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40"/>
  </p:notesMasterIdLst>
  <p:sldIdLst>
    <p:sldId id="4629" r:id="rId3"/>
    <p:sldId id="4630" r:id="rId4"/>
    <p:sldId id="4631" r:id="rId5"/>
    <p:sldId id="4632" r:id="rId6"/>
    <p:sldId id="4633" r:id="rId7"/>
    <p:sldId id="4634" r:id="rId8"/>
    <p:sldId id="4635" r:id="rId9"/>
    <p:sldId id="4636" r:id="rId10"/>
    <p:sldId id="4637" r:id="rId11"/>
    <p:sldId id="4638" r:id="rId12"/>
    <p:sldId id="4639" r:id="rId13"/>
    <p:sldId id="4640" r:id="rId14"/>
    <p:sldId id="4641" r:id="rId15"/>
    <p:sldId id="4642" r:id="rId16"/>
    <p:sldId id="4643" r:id="rId17"/>
    <p:sldId id="4644" r:id="rId18"/>
    <p:sldId id="4645" r:id="rId19"/>
    <p:sldId id="4646" r:id="rId20"/>
    <p:sldId id="4647" r:id="rId21"/>
    <p:sldId id="4648" r:id="rId22"/>
    <p:sldId id="4649" r:id="rId23"/>
    <p:sldId id="4650" r:id="rId24"/>
    <p:sldId id="4651" r:id="rId25"/>
    <p:sldId id="4652" r:id="rId26"/>
    <p:sldId id="4653" r:id="rId27"/>
    <p:sldId id="4654" r:id="rId28"/>
    <p:sldId id="4655" r:id="rId29"/>
    <p:sldId id="4656" r:id="rId30"/>
    <p:sldId id="4657" r:id="rId31"/>
    <p:sldId id="4658" r:id="rId32"/>
    <p:sldId id="4659" r:id="rId33"/>
    <p:sldId id="4660" r:id="rId34"/>
    <p:sldId id="4661" r:id="rId35"/>
    <p:sldId id="4662" r:id="rId36"/>
    <p:sldId id="4663" r:id="rId37"/>
    <p:sldId id="4664" r:id="rId38"/>
    <p:sldId id="4665" r:id="rId39"/>
  </p:sldIdLst>
  <p:sldSz cx="12192000" cy="6858000"/>
  <p:notesSz cx="6858000" cy="9144000"/>
  <p:custDataLst>
    <p:tags r:id="rId4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70AD47"/>
    <a:srgbClr val="FFC000"/>
    <a:srgbClr val="D31145"/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0" Type="http://schemas.openxmlformats.org/officeDocument/2006/relationships/slide" Target="slides/slide18.xml"/><Relationship Id="rId41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0.xlsx"/><Relationship Id="rId1" Type="http://schemas.openxmlformats.org/officeDocument/2006/relationships/themeOverride" Target="../theme/themeOverride31.xml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1.xlsx"/><Relationship Id="rId1" Type="http://schemas.openxmlformats.org/officeDocument/2006/relationships/themeOverride" Target="../theme/themeOverride32.xml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2.xlsx"/><Relationship Id="rId1" Type="http://schemas.openxmlformats.org/officeDocument/2006/relationships/themeOverride" Target="../theme/themeOverride33.xml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3.xlsx"/><Relationship Id="rId1" Type="http://schemas.openxmlformats.org/officeDocument/2006/relationships/themeOverride" Target="../theme/themeOverride34.xml"/></Relationships>
</file>

<file path=ppt/charts/_rels/chart3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4.xlsx"/><Relationship Id="rId1" Type="http://schemas.openxmlformats.org/officeDocument/2006/relationships/themeOverride" Target="../theme/themeOverride35.xml"/></Relationships>
</file>

<file path=ppt/charts/_rels/chart3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5.xlsx"/><Relationship Id="rId1" Type="http://schemas.openxmlformats.org/officeDocument/2006/relationships/themeOverride" Target="../theme/themeOverride36.xml"/></Relationships>
</file>

<file path=ppt/charts/_rels/chart3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6.xlsx"/><Relationship Id="rId1" Type="http://schemas.openxmlformats.org/officeDocument/2006/relationships/themeOverride" Target="../theme/themeOverride37.xml"/></Relationships>
</file>

<file path=ppt/charts/_rels/chart3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7.xlsx"/><Relationship Id="rId1" Type="http://schemas.openxmlformats.org/officeDocument/2006/relationships/themeOverride" Target="../theme/themeOverride38.xml"/></Relationships>
</file>

<file path=ppt/charts/_rels/chart3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8.xlsx"/><Relationship Id="rId1" Type="http://schemas.openxmlformats.org/officeDocument/2006/relationships/themeOverride" Target="../theme/themeOverride39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4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9.xlsx"/><Relationship Id="rId1" Type="http://schemas.openxmlformats.org/officeDocument/2006/relationships/themeOverride" Target="../theme/themeOverride40.xml"/></Relationships>
</file>

<file path=ppt/charts/_rels/chart4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0.xlsx"/><Relationship Id="rId1" Type="http://schemas.openxmlformats.org/officeDocument/2006/relationships/themeOverride" Target="../theme/themeOverride41.xml"/></Relationships>
</file>

<file path=ppt/charts/_rels/chart4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1.xlsx"/><Relationship Id="rId1" Type="http://schemas.openxmlformats.org/officeDocument/2006/relationships/themeOverride" Target="../theme/themeOverride42.xml"/></Relationships>
</file>

<file path=ppt/charts/_rels/chart4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2.xlsx"/><Relationship Id="rId1" Type="http://schemas.openxmlformats.org/officeDocument/2006/relationships/themeOverride" Target="../theme/themeOverride43.xml"/></Relationships>
</file>

<file path=ppt/charts/_rels/chart4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3.xlsx"/><Relationship Id="rId1" Type="http://schemas.openxmlformats.org/officeDocument/2006/relationships/themeOverride" Target="../theme/themeOverride44.xml"/></Relationships>
</file>

<file path=ppt/charts/_rels/chart4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4.xlsx"/><Relationship Id="rId1" Type="http://schemas.openxmlformats.org/officeDocument/2006/relationships/themeOverride" Target="../theme/themeOverride45.xml"/></Relationships>
</file>

<file path=ppt/charts/_rels/chart4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5.xlsx"/><Relationship Id="rId1" Type="http://schemas.openxmlformats.org/officeDocument/2006/relationships/themeOverride" Target="../theme/themeOverride46.xml"/></Relationships>
</file>

<file path=ppt/charts/_rels/chart4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6.xlsx"/><Relationship Id="rId1" Type="http://schemas.openxmlformats.org/officeDocument/2006/relationships/themeOverride" Target="../theme/themeOverride47.xml"/></Relationships>
</file>

<file path=ppt/charts/_rels/chart4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7.xlsx"/><Relationship Id="rId1" Type="http://schemas.openxmlformats.org/officeDocument/2006/relationships/themeOverride" Target="../theme/themeOverride48.xml"/></Relationships>
</file>

<file path=ppt/charts/_rels/chart4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8.xlsx"/><Relationship Id="rId1" Type="http://schemas.openxmlformats.org/officeDocument/2006/relationships/themeOverride" Target="../theme/themeOverride49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5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9.xlsx"/><Relationship Id="rId1" Type="http://schemas.openxmlformats.org/officeDocument/2006/relationships/themeOverride" Target="../theme/themeOverride50.xml"/></Relationships>
</file>

<file path=ppt/charts/_rels/chart5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0.xlsx"/><Relationship Id="rId1" Type="http://schemas.openxmlformats.org/officeDocument/2006/relationships/themeOverride" Target="../theme/themeOverride51.xml"/></Relationships>
</file>

<file path=ppt/charts/_rels/chart5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1.xlsx"/><Relationship Id="rId1" Type="http://schemas.openxmlformats.org/officeDocument/2006/relationships/themeOverride" Target="../theme/themeOverride52.xml"/></Relationships>
</file>

<file path=ppt/charts/_rels/chart5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2.xlsx"/><Relationship Id="rId1" Type="http://schemas.openxmlformats.org/officeDocument/2006/relationships/themeOverride" Target="../theme/themeOverride53.xml"/></Relationships>
</file>

<file path=ppt/charts/_rels/chart5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3.xlsx"/><Relationship Id="rId1" Type="http://schemas.openxmlformats.org/officeDocument/2006/relationships/themeOverride" Target="../theme/themeOverride54.xml"/></Relationships>
</file>

<file path=ppt/charts/_rels/chart5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4.xlsx"/><Relationship Id="rId1" Type="http://schemas.openxmlformats.org/officeDocument/2006/relationships/themeOverride" Target="../theme/themeOverride55.xml"/></Relationships>
</file>

<file path=ppt/charts/_rels/chart5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5.xlsx"/><Relationship Id="rId1" Type="http://schemas.openxmlformats.org/officeDocument/2006/relationships/themeOverride" Target="../theme/themeOverride56.xml"/></Relationships>
</file>

<file path=ppt/charts/_rels/chart5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6.xlsx"/><Relationship Id="rId1" Type="http://schemas.openxmlformats.org/officeDocument/2006/relationships/themeOverride" Target="../theme/themeOverride57.xml"/></Relationships>
</file>

<file path=ppt/charts/_rels/chart5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7.xlsx"/><Relationship Id="rId1" Type="http://schemas.openxmlformats.org/officeDocument/2006/relationships/themeOverride" Target="../theme/themeOverride58.xml"/></Relationships>
</file>

<file path=ppt/charts/_rels/chart5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8.xlsx"/><Relationship Id="rId1" Type="http://schemas.openxmlformats.org/officeDocument/2006/relationships/themeOverride" Target="../theme/themeOverride59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CR_testu_7dni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560.07520993943297</c:v>
                </c:pt>
                <c:pt idx="1">
                  <c:v>587.40711939708694</c:v>
                </c:pt>
                <c:pt idx="2">
                  <c:v>609.30067969085803</c:v>
                </c:pt>
                <c:pt idx="3">
                  <c:v>635.70750913609902</c:v>
                </c:pt>
                <c:pt idx="4">
                  <c:v>644.07060621801395</c:v>
                </c:pt>
                <c:pt idx="5">
                  <c:v>649.59305356484197</c:v>
                </c:pt>
                <c:pt idx="6">
                  <c:v>670.45874717815502</c:v>
                </c:pt>
                <c:pt idx="7">
                  <c:v>716.97438659018906</c:v>
                </c:pt>
                <c:pt idx="8">
                  <c:v>751.52005129615304</c:v>
                </c:pt>
                <c:pt idx="9">
                  <c:v>797.97962525288995</c:v>
                </c:pt>
                <c:pt idx="10">
                  <c:v>849.96164655645498</c:v>
                </c:pt>
                <c:pt idx="11">
                  <c:v>904.61612122921201</c:v>
                </c:pt>
                <c:pt idx="12">
                  <c:v>928.47197245840505</c:v>
                </c:pt>
                <c:pt idx="13">
                  <c:v>983.74316713943801</c:v>
                </c:pt>
                <c:pt idx="14">
                  <c:v>1024.3532452601</c:v>
                </c:pt>
                <c:pt idx="15">
                  <c:v>1071.8219974122001</c:v>
                </c:pt>
                <c:pt idx="16">
                  <c:v>1137.97923466355</c:v>
                </c:pt>
                <c:pt idx="17">
                  <c:v>1160.05967980831</c:v>
                </c:pt>
                <c:pt idx="18">
                  <c:v>1177.94456004829</c:v>
                </c:pt>
                <c:pt idx="19">
                  <c:v>1210.37842593804</c:v>
                </c:pt>
                <c:pt idx="20">
                  <c:v>1228.0483885993799</c:v>
                </c:pt>
                <c:pt idx="21">
                  <c:v>1246.1668749031101</c:v>
                </c:pt>
                <c:pt idx="22">
                  <c:v>1263.52847756031</c:v>
                </c:pt>
                <c:pt idx="23">
                  <c:v>1259.51045326397</c:v>
                </c:pt>
                <c:pt idx="24">
                  <c:v>1274.0127177009899</c:v>
                </c:pt>
                <c:pt idx="25">
                  <c:v>1275.4797637812801</c:v>
                </c:pt>
                <c:pt idx="26">
                  <c:v>1274.6107492241699</c:v>
                </c:pt>
                <c:pt idx="27">
                  <c:v>1207.40695680726</c:v>
                </c:pt>
                <c:pt idx="28">
                  <c:v>1169.3011356898901</c:v>
                </c:pt>
                <c:pt idx="29">
                  <c:v>1156.65837552025</c:v>
                </c:pt>
                <c:pt idx="30">
                  <c:v>1163.7413113728601</c:v>
                </c:pt>
                <c:pt idx="31">
                  <c:v>1168.47884234552</c:v>
                </c:pt>
                <c:pt idx="32">
                  <c:v>1166.7314689887401</c:v>
                </c:pt>
                <c:pt idx="33">
                  <c:v>1141.5767680451499</c:v>
                </c:pt>
                <c:pt idx="34">
                  <c:v>1193.43731419557</c:v>
                </c:pt>
                <c:pt idx="35">
                  <c:v>1237.6449256978501</c:v>
                </c:pt>
                <c:pt idx="36">
                  <c:v>1265.2945394021899</c:v>
                </c:pt>
                <c:pt idx="37">
                  <c:v>1276.0591068193601</c:v>
                </c:pt>
                <c:pt idx="38">
                  <c:v>1314.4078782430199</c:v>
                </c:pt>
                <c:pt idx="39">
                  <c:v>1341.7210992155699</c:v>
                </c:pt>
                <c:pt idx="40">
                  <c:v>1376.5564354405799</c:v>
                </c:pt>
                <c:pt idx="41">
                  <c:v>1416.54979355297</c:v>
                </c:pt>
                <c:pt idx="42">
                  <c:v>1496.7701158415</c:v>
                </c:pt>
                <c:pt idx="43">
                  <c:v>1597.7626893178499</c:v>
                </c:pt>
                <c:pt idx="44">
                  <c:v>1688.71020205335</c:v>
                </c:pt>
                <c:pt idx="45">
                  <c:v>1791.3099852482401</c:v>
                </c:pt>
                <c:pt idx="46">
                  <c:v>1895.5450108893101</c:v>
                </c:pt>
                <c:pt idx="47">
                  <c:v>1949.1435861539601</c:v>
                </c:pt>
                <c:pt idx="48">
                  <c:v>2034.3350454788899</c:v>
                </c:pt>
                <c:pt idx="49">
                  <c:v>2118.05945872353</c:v>
                </c:pt>
                <c:pt idx="50">
                  <c:v>2215.1087618439401</c:v>
                </c:pt>
                <c:pt idx="51">
                  <c:v>2323.6795160280299</c:v>
                </c:pt>
                <c:pt idx="52">
                  <c:v>2384.6880756345399</c:v>
                </c:pt>
                <c:pt idx="53">
                  <c:v>2477.3175520289701</c:v>
                </c:pt>
                <c:pt idx="54">
                  <c:v>2517.9930398474899</c:v>
                </c:pt>
                <c:pt idx="55">
                  <c:v>2559.4067228274298</c:v>
                </c:pt>
                <c:pt idx="56">
                  <c:v>2623.8819964198401</c:v>
                </c:pt>
                <c:pt idx="57">
                  <c:v>2576.0207860806599</c:v>
                </c:pt>
                <c:pt idx="58">
                  <c:v>2540.0641407497001</c:v>
                </c:pt>
                <c:pt idx="59">
                  <c:v>2554.73460155262</c:v>
                </c:pt>
                <c:pt idx="60">
                  <c:v>2527.6736751289</c:v>
                </c:pt>
                <c:pt idx="61">
                  <c:v>2518.7966447067602</c:v>
                </c:pt>
                <c:pt idx="62">
                  <c:v>2491.98801283188</c:v>
                </c:pt>
                <c:pt idx="63">
                  <c:v>2453.0131771574002</c:v>
                </c:pt>
                <c:pt idx="64">
                  <c:v>2503.1076614659401</c:v>
                </c:pt>
                <c:pt idx="65">
                  <c:v>2509.2374845784898</c:v>
                </c:pt>
                <c:pt idx="66">
                  <c:v>2448.5279407335802</c:v>
                </c:pt>
                <c:pt idx="67">
                  <c:v>2354.5902703821898</c:v>
                </c:pt>
                <c:pt idx="68">
                  <c:v>2289.9654889089902</c:v>
                </c:pt>
                <c:pt idx="69">
                  <c:v>2268.8381565042801</c:v>
                </c:pt>
                <c:pt idx="70">
                  <c:v>2212.2774563513999</c:v>
                </c:pt>
                <c:pt idx="71">
                  <c:v>2095.0445893238102</c:v>
                </c:pt>
                <c:pt idx="72">
                  <c:v>1982.3623684178799</c:v>
                </c:pt>
                <c:pt idx="73">
                  <c:v>1898.00254667986</c:v>
                </c:pt>
                <c:pt idx="74">
                  <c:v>1804.0929090561301</c:v>
                </c:pt>
                <c:pt idx="75">
                  <c:v>1760.1189036175899</c:v>
                </c:pt>
                <c:pt idx="76">
                  <c:v>1719.00423639924</c:v>
                </c:pt>
                <c:pt idx="77">
                  <c:v>1535.07216605242</c:v>
                </c:pt>
                <c:pt idx="78">
                  <c:v>1456.52446318027</c:v>
                </c:pt>
                <c:pt idx="79">
                  <c:v>1414.75569898344</c:v>
                </c:pt>
                <c:pt idx="80">
                  <c:v>1363.89498678583</c:v>
                </c:pt>
                <c:pt idx="81">
                  <c:v>1348.86010052349</c:v>
                </c:pt>
                <c:pt idx="82">
                  <c:v>1332.1245621171099</c:v>
                </c:pt>
                <c:pt idx="83">
                  <c:v>1309.63297030016</c:v>
                </c:pt>
                <c:pt idx="84">
                  <c:v>1375.42578209207</c:v>
                </c:pt>
                <c:pt idx="85">
                  <c:v>1357.83991761368</c:v>
                </c:pt>
                <c:pt idx="86">
                  <c:v>1300.37282593348</c:v>
                </c:pt>
                <c:pt idx="87">
                  <c:v>1277.39533350395</c:v>
                </c:pt>
                <c:pt idx="88">
                  <c:v>1256.2586568567001</c:v>
                </c:pt>
                <c:pt idx="89">
                  <c:v>1248.97014766799</c:v>
                </c:pt>
                <c:pt idx="90">
                  <c:v>1235.94427355382</c:v>
                </c:pt>
                <c:pt idx="91">
                  <c:v>1222.42315458451</c:v>
                </c:pt>
                <c:pt idx="92">
                  <c:v>1222.6193836780501</c:v>
                </c:pt>
                <c:pt idx="93">
                  <c:v>1224.22659339659</c:v>
                </c:pt>
                <c:pt idx="94">
                  <c:v>1218.4518515009199</c:v>
                </c:pt>
                <c:pt idx="95">
                  <c:v>1224.63774006877</c:v>
                </c:pt>
                <c:pt idx="96">
                  <c:v>1226.92707949343</c:v>
                </c:pt>
                <c:pt idx="97">
                  <c:v>1232.9728044230401</c:v>
                </c:pt>
                <c:pt idx="98">
                  <c:v>1261.1083187399599</c:v>
                </c:pt>
                <c:pt idx="99">
                  <c:v>1285.3753166413301</c:v>
                </c:pt>
                <c:pt idx="100">
                  <c:v>1330.64817179427</c:v>
                </c:pt>
                <c:pt idx="101">
                  <c:v>1383.7982234165399</c:v>
                </c:pt>
                <c:pt idx="102">
                  <c:v>1412.79340804802</c:v>
                </c:pt>
                <c:pt idx="103">
                  <c:v>1434.1076253037199</c:v>
                </c:pt>
                <c:pt idx="104">
                  <c:v>1466.4854257381701</c:v>
                </c:pt>
                <c:pt idx="105">
                  <c:v>1522.3639961849301</c:v>
                </c:pt>
                <c:pt idx="106">
                  <c:v>1589.86680436342</c:v>
                </c:pt>
                <c:pt idx="107">
                  <c:v>1643.4280026578699</c:v>
                </c:pt>
                <c:pt idx="108">
                  <c:v>1695.31658153594</c:v>
                </c:pt>
                <c:pt idx="109">
                  <c:v>1744.4486088618701</c:v>
                </c:pt>
                <c:pt idx="110">
                  <c:v>1768.9865897971799</c:v>
                </c:pt>
                <c:pt idx="111">
                  <c:v>1798.4957077689</c:v>
                </c:pt>
                <c:pt idx="112">
                  <c:v>1836.93792161806</c:v>
                </c:pt>
                <c:pt idx="113">
                  <c:v>1924.5495397633399</c:v>
                </c:pt>
                <c:pt idx="114">
                  <c:v>1732.1515856665601</c:v>
                </c:pt>
                <c:pt idx="115">
                  <c:v>1487.3417751089301</c:v>
                </c:pt>
                <c:pt idx="116">
                  <c:v>1369.3239917071701</c:v>
                </c:pt>
                <c:pt idx="117">
                  <c:v>1358.8677842941399</c:v>
                </c:pt>
                <c:pt idx="118">
                  <c:v>1346.4025647329399</c:v>
                </c:pt>
                <c:pt idx="119">
                  <c:v>1344.4028968273201</c:v>
                </c:pt>
                <c:pt idx="120">
                  <c:v>1284.3474499608801</c:v>
                </c:pt>
                <c:pt idx="121">
                  <c:v>1445.0123563591301</c:v>
                </c:pt>
                <c:pt idx="122">
                  <c:v>1433.4815610528899</c:v>
                </c:pt>
                <c:pt idx="123">
                  <c:v>1477.71720528282</c:v>
                </c:pt>
                <c:pt idx="124">
                  <c:v>1522.9339949804501</c:v>
                </c:pt>
                <c:pt idx="125">
                  <c:v>1588.1381194917401</c:v>
                </c:pt>
                <c:pt idx="126">
                  <c:v>1662.3594380634099</c:v>
                </c:pt>
                <c:pt idx="127">
                  <c:v>1696.0921536675601</c:v>
                </c:pt>
                <c:pt idx="128">
                  <c:v>1799.50488596426</c:v>
                </c:pt>
                <c:pt idx="129">
                  <c:v>2100.1839227260998</c:v>
                </c:pt>
                <c:pt idx="130">
                  <c:v>2171.5272145924901</c:v>
                </c:pt>
                <c:pt idx="131">
                  <c:v>2143.4571099734098</c:v>
                </c:pt>
                <c:pt idx="132">
                  <c:v>2132.5243461903501</c:v>
                </c:pt>
                <c:pt idx="133">
                  <c:v>2060.98482523042</c:v>
                </c:pt>
                <c:pt idx="134">
                  <c:v>1998.6026619691199</c:v>
                </c:pt>
                <c:pt idx="135">
                  <c:v>1917.6067675489701</c:v>
                </c:pt>
                <c:pt idx="136">
                  <c:v>1846.9175726610599</c:v>
                </c:pt>
                <c:pt idx="137">
                  <c:v>1812.40928492529</c:v>
                </c:pt>
                <c:pt idx="138">
                  <c:v>1779.8913208526001</c:v>
                </c:pt>
                <c:pt idx="139">
                  <c:v>1740.6922233569201</c:v>
                </c:pt>
                <c:pt idx="140">
                  <c:v>1698.0637888455301</c:v>
                </c:pt>
                <c:pt idx="141">
                  <c:v>1664.1722211180399</c:v>
                </c:pt>
                <c:pt idx="142">
                  <c:v>1615.9465853194199</c:v>
                </c:pt>
                <c:pt idx="143">
                  <c:v>1608.48987976482</c:v>
                </c:pt>
                <c:pt idx="144">
                  <c:v>1578.0930587508899</c:v>
                </c:pt>
                <c:pt idx="145">
                  <c:v>1569.2627495414999</c:v>
                </c:pt>
                <c:pt idx="146">
                  <c:v>1545.4909964952501</c:v>
                </c:pt>
                <c:pt idx="147">
                  <c:v>1523.5413707461801</c:v>
                </c:pt>
                <c:pt idx="148">
                  <c:v>1539.8096970250799</c:v>
                </c:pt>
                <c:pt idx="149">
                  <c:v>1546.1170607460699</c:v>
                </c:pt>
                <c:pt idx="150">
                  <c:v>1554.88196025762</c:v>
                </c:pt>
                <c:pt idx="151">
                  <c:v>1557.61982332466</c:v>
                </c:pt>
                <c:pt idx="152">
                  <c:v>1555.2463857170601</c:v>
                </c:pt>
                <c:pt idx="153">
                  <c:v>1557.46097120132</c:v>
                </c:pt>
                <c:pt idx="154">
                  <c:v>1562.56292763342</c:v>
                </c:pt>
                <c:pt idx="155">
                  <c:v>1574.7945411308699</c:v>
                </c:pt>
                <c:pt idx="156">
                  <c:v>1592.8102407665499</c:v>
                </c:pt>
                <c:pt idx="157">
                  <c:v>1591.51139105215</c:v>
                </c:pt>
                <c:pt idx="158">
                  <c:v>1595.90318505048</c:v>
                </c:pt>
                <c:pt idx="159">
                  <c:v>1597.5944929519601</c:v>
                </c:pt>
                <c:pt idx="160">
                  <c:v>1579.83108786512</c:v>
                </c:pt>
                <c:pt idx="161">
                  <c:v>1592.73548682615</c:v>
                </c:pt>
                <c:pt idx="162">
                  <c:v>1575.28044174345</c:v>
                </c:pt>
                <c:pt idx="163">
                  <c:v>1579.9151860480699</c:v>
                </c:pt>
                <c:pt idx="164">
                  <c:v>1578.6724017889701</c:v>
                </c:pt>
                <c:pt idx="165">
                  <c:v>1593.2400759238301</c:v>
                </c:pt>
                <c:pt idx="166">
                  <c:v>1598.57563841967</c:v>
                </c:pt>
                <c:pt idx="167">
                  <c:v>1631.5327818922001</c:v>
                </c:pt>
                <c:pt idx="168">
                  <c:v>1661.1073095617601</c:v>
                </c:pt>
                <c:pt idx="169">
                  <c:v>1687.80381052604</c:v>
                </c:pt>
                <c:pt idx="170">
                  <c:v>1742.3274658031</c:v>
                </c:pt>
                <c:pt idx="171">
                  <c:v>1802.5604532779901</c:v>
                </c:pt>
                <c:pt idx="172">
                  <c:v>1824.5194232696099</c:v>
                </c:pt>
                <c:pt idx="173">
                  <c:v>1835.6016949334601</c:v>
                </c:pt>
                <c:pt idx="174">
                  <c:v>1880.18307613772</c:v>
                </c:pt>
                <c:pt idx="175">
                  <c:v>1939.7245896639399</c:v>
                </c:pt>
                <c:pt idx="176">
                  <c:v>2008.8065748333099</c:v>
                </c:pt>
                <c:pt idx="177">
                  <c:v>2061.9846591832302</c:v>
                </c:pt>
                <c:pt idx="178">
                  <c:v>2102.8470318527402</c:v>
                </c:pt>
                <c:pt idx="179">
                  <c:v>2142.6161281439499</c:v>
                </c:pt>
                <c:pt idx="180">
                  <c:v>2162.5193647746501</c:v>
                </c:pt>
                <c:pt idx="181">
                  <c:v>2173.89130795754</c:v>
                </c:pt>
                <c:pt idx="182">
                  <c:v>2208.12861265937</c:v>
                </c:pt>
                <c:pt idx="183">
                  <c:v>2217.2766261154502</c:v>
                </c:pt>
                <c:pt idx="184">
                  <c:v>2218.1082637023701</c:v>
                </c:pt>
                <c:pt idx="185">
                  <c:v>2226.6302129076298</c:v>
                </c:pt>
                <c:pt idx="186">
                  <c:v>2216.7440042901198</c:v>
                </c:pt>
                <c:pt idx="187">
                  <c:v>2211.0627048199499</c:v>
                </c:pt>
                <c:pt idx="188">
                  <c:v>2189.4307833175699</c:v>
                </c:pt>
                <c:pt idx="189">
                  <c:v>2147.45644578465</c:v>
                </c:pt>
                <c:pt idx="190">
                  <c:v>2145.8212033384698</c:v>
                </c:pt>
                <c:pt idx="191">
                  <c:v>2103.0526051888301</c:v>
                </c:pt>
                <c:pt idx="192">
                  <c:v>2074.6741405656198</c:v>
                </c:pt>
                <c:pt idx="193">
                  <c:v>2035.70864913369</c:v>
                </c:pt>
                <c:pt idx="194">
                  <c:v>2009.43263908414</c:v>
                </c:pt>
                <c:pt idx="195">
                  <c:v>2015.6932815923899</c:v>
                </c:pt>
                <c:pt idx="196">
                  <c:v>1990.24890912976</c:v>
                </c:pt>
                <c:pt idx="197">
                  <c:v>1928.18445011515</c:v>
                </c:pt>
                <c:pt idx="198">
                  <c:v>1886.76142289266</c:v>
                </c:pt>
                <c:pt idx="199">
                  <c:v>1815.11911526468</c:v>
                </c:pt>
                <c:pt idx="200">
                  <c:v>1808.2884739609101</c:v>
                </c:pt>
                <c:pt idx="201">
                  <c:v>1805.1674969493299</c:v>
                </c:pt>
                <c:pt idx="202">
                  <c:v>1768.91183585679</c:v>
                </c:pt>
                <c:pt idx="203">
                  <c:v>1733.1981408321201</c:v>
                </c:pt>
                <c:pt idx="204">
                  <c:v>1675.95531097312</c:v>
                </c:pt>
                <c:pt idx="205">
                  <c:v>1646.81061846084</c:v>
                </c:pt>
                <c:pt idx="206">
                  <c:v>1600.1921923807599</c:v>
                </c:pt>
                <c:pt idx="207">
                  <c:v>1558.32064151589</c:v>
                </c:pt>
                <c:pt idx="208">
                  <c:v>1542.9587067642999</c:v>
                </c:pt>
                <c:pt idx="209">
                  <c:v>1518.69170886292</c:v>
                </c:pt>
                <c:pt idx="210">
                  <c:v>1475.9885204111399</c:v>
                </c:pt>
                <c:pt idx="211">
                  <c:v>1455.33774437647</c:v>
                </c:pt>
                <c:pt idx="212">
                  <c:v>1428.2861621953</c:v>
                </c:pt>
                <c:pt idx="213">
                  <c:v>1311.6980479036299</c:v>
                </c:pt>
                <c:pt idx="214">
                  <c:v>1271.97567282517</c:v>
                </c:pt>
                <c:pt idx="215">
                  <c:v>1279.32959171173</c:v>
                </c:pt>
                <c:pt idx="216">
                  <c:v>1098.0232535213499</c:v>
                </c:pt>
                <c:pt idx="217">
                  <c:v>1067.26200704798</c:v>
                </c:pt>
                <c:pt idx="218">
                  <c:v>1083.9788569692601</c:v>
                </c:pt>
                <c:pt idx="219">
                  <c:v>1060.66497180795</c:v>
                </c:pt>
                <c:pt idx="220">
                  <c:v>1136.35333645991</c:v>
                </c:pt>
                <c:pt idx="221">
                  <c:v>1162.02197074373</c:v>
                </c:pt>
                <c:pt idx="222">
                  <c:v>1150.5285524076901</c:v>
                </c:pt>
                <c:pt idx="223">
                  <c:v>1280.5723759708301</c:v>
                </c:pt>
                <c:pt idx="224">
                  <c:v>1267.4156824609499</c:v>
                </c:pt>
                <c:pt idx="225">
                  <c:v>1204.08975070214</c:v>
                </c:pt>
                <c:pt idx="226">
                  <c:v>1158.6954203960699</c:v>
                </c:pt>
                <c:pt idx="227">
                  <c:v>1125.6261460129399</c:v>
                </c:pt>
                <c:pt idx="228">
                  <c:v>1112.8805991752499</c:v>
                </c:pt>
                <c:pt idx="229">
                  <c:v>1115.8987895187799</c:v>
                </c:pt>
                <c:pt idx="230">
                  <c:v>1116.7397713482501</c:v>
                </c:pt>
                <c:pt idx="231">
                  <c:v>1098.36899049569</c:v>
                </c:pt>
                <c:pt idx="232">
                  <c:v>1081.5773866340101</c:v>
                </c:pt>
                <c:pt idx="233">
                  <c:v>1087.8940945975601</c:v>
                </c:pt>
                <c:pt idx="234">
                  <c:v>1078.8862447797201</c:v>
                </c:pt>
                <c:pt idx="235">
                  <c:v>1073.87773077312</c:v>
                </c:pt>
                <c:pt idx="236">
                  <c:v>1066.53315612911</c:v>
                </c:pt>
                <c:pt idx="237">
                  <c:v>1061.1975936332799</c:v>
                </c:pt>
                <c:pt idx="238">
                  <c:v>1040.52812911351</c:v>
                </c:pt>
                <c:pt idx="239">
                  <c:v>1045.4432006946099</c:v>
                </c:pt>
                <c:pt idx="240">
                  <c:v>1052.40466139408</c:v>
                </c:pt>
                <c:pt idx="241">
                  <c:v>1063.1038191134</c:v>
                </c:pt>
                <c:pt idx="242">
                  <c:v>1073.42920713074</c:v>
                </c:pt>
                <c:pt idx="243">
                  <c:v>1076.9613308144901</c:v>
                </c:pt>
                <c:pt idx="244">
                  <c:v>1064.4213573129</c:v>
                </c:pt>
                <c:pt idx="245">
                  <c:v>1061.3097245438701</c:v>
                </c:pt>
                <c:pt idx="246">
                  <c:v>1032.6883096143699</c:v>
                </c:pt>
                <c:pt idx="247">
                  <c:v>1004.80508984629</c:v>
                </c:pt>
                <c:pt idx="248">
                  <c:v>991.85396967251302</c:v>
                </c:pt>
                <c:pt idx="249">
                  <c:v>1008.76704868733</c:v>
                </c:pt>
                <c:pt idx="250">
                  <c:v>1009.71081718484</c:v>
                </c:pt>
                <c:pt idx="251">
                  <c:v>1033.3891278055901</c:v>
                </c:pt>
                <c:pt idx="252">
                  <c:v>1011.8880256989</c:v>
                </c:pt>
                <c:pt idx="253">
                  <c:v>998.67526673373902</c:v>
                </c:pt>
                <c:pt idx="254">
                  <c:v>983.68710168413998</c:v>
                </c:pt>
                <c:pt idx="255">
                  <c:v>978.13662160966305</c:v>
                </c:pt>
                <c:pt idx="256">
                  <c:v>1005.5152522800601</c:v>
                </c:pt>
                <c:pt idx="257">
                  <c:v>1017.0834245564999</c:v>
                </c:pt>
                <c:pt idx="258">
                  <c:v>1150.3790445269001</c:v>
                </c:pt>
                <c:pt idx="259">
                  <c:v>1217.90988543304</c:v>
                </c:pt>
                <c:pt idx="260">
                  <c:v>1311.5298515377301</c:v>
                </c:pt>
                <c:pt idx="261">
                  <c:v>1358.47532610705</c:v>
                </c:pt>
                <c:pt idx="262">
                  <c:v>1454.6462704277899</c:v>
                </c:pt>
                <c:pt idx="263">
                  <c:v>1406.39260190153</c:v>
                </c:pt>
                <c:pt idx="264">
                  <c:v>1381.57429368973</c:v>
                </c:pt>
                <c:pt idx="265">
                  <c:v>1323.6493341246</c:v>
                </c:pt>
                <c:pt idx="266">
                  <c:v>1292.7198912853401</c:v>
                </c:pt>
                <c:pt idx="267">
                  <c:v>1260.23930418284</c:v>
                </c:pt>
                <c:pt idx="268">
                  <c:v>1241.33590150495</c:v>
                </c:pt>
                <c:pt idx="269">
                  <c:v>1188.02699775934</c:v>
                </c:pt>
                <c:pt idx="270">
                  <c:v>1179.29013097544</c:v>
                </c:pt>
                <c:pt idx="271">
                  <c:v>1179.6545564348701</c:v>
                </c:pt>
                <c:pt idx="272">
                  <c:v>1161.72295498214</c:v>
                </c:pt>
                <c:pt idx="273">
                  <c:v>1202.54795068146</c:v>
                </c:pt>
                <c:pt idx="274">
                  <c:v>1244.2139282102401</c:v>
                </c:pt>
                <c:pt idx="275">
                  <c:v>1327.09735962541</c:v>
                </c:pt>
                <c:pt idx="276">
                  <c:v>1370.62284142156</c:v>
                </c:pt>
                <c:pt idx="277">
                  <c:v>1399.5245836275601</c:v>
                </c:pt>
                <c:pt idx="278">
                  <c:v>1412.8775062309701</c:v>
                </c:pt>
                <c:pt idx="279">
                  <c:v>1445.38612606112</c:v>
                </c:pt>
                <c:pt idx="280">
                  <c:v>1424.97830033273</c:v>
                </c:pt>
                <c:pt idx="281">
                  <c:v>1464.29887298156</c:v>
                </c:pt>
                <c:pt idx="282">
                  <c:v>1414.5594698898999</c:v>
                </c:pt>
                <c:pt idx="283">
                  <c:v>1428.14599855706</c:v>
                </c:pt>
                <c:pt idx="284">
                  <c:v>1430.6969767731</c:v>
                </c:pt>
                <c:pt idx="285">
                  <c:v>1436.5090956389699</c:v>
                </c:pt>
                <c:pt idx="286">
                  <c:v>1454.5341395171999</c:v>
                </c:pt>
                <c:pt idx="287">
                  <c:v>1493.63045034483</c:v>
                </c:pt>
                <c:pt idx="288">
                  <c:v>1497.1812625136899</c:v>
                </c:pt>
                <c:pt idx="289">
                  <c:v>1573.06585625919</c:v>
                </c:pt>
                <c:pt idx="290">
                  <c:v>1659.3132149922301</c:v>
                </c:pt>
                <c:pt idx="291">
                  <c:v>1670.51696180923</c:v>
                </c:pt>
                <c:pt idx="292">
                  <c:v>1674.41351095243</c:v>
                </c:pt>
                <c:pt idx="293">
                  <c:v>1648.2309433283799</c:v>
                </c:pt>
                <c:pt idx="294">
                  <c:v>1624.70214058842</c:v>
                </c:pt>
                <c:pt idx="295">
                  <c:v>1562.2919445994801</c:v>
                </c:pt>
                <c:pt idx="296">
                  <c:v>1569.5617653030799</c:v>
                </c:pt>
                <c:pt idx="297">
                  <c:v>1483.5106356635899</c:v>
                </c:pt>
                <c:pt idx="298">
                  <c:v>1580.5319060563399</c:v>
                </c:pt>
                <c:pt idx="299">
                  <c:v>1587.0635315985301</c:v>
                </c:pt>
                <c:pt idx="300">
                  <c:v>1601.1826820910201</c:v>
                </c:pt>
                <c:pt idx="301">
                  <c:v>1777.71411233853</c:v>
                </c:pt>
                <c:pt idx="302">
                  <c:v>1917.86840634036</c:v>
                </c:pt>
                <c:pt idx="303">
                  <c:v>2096.2967178254598</c:v>
                </c:pt>
                <c:pt idx="304">
                  <c:v>2298.5715362971901</c:v>
                </c:pt>
                <c:pt idx="305">
                  <c:v>2428.87699865171</c:v>
                </c:pt>
                <c:pt idx="306">
                  <c:v>2476.8970611142399</c:v>
                </c:pt>
                <c:pt idx="307">
                  <c:v>2291.94646832951</c:v>
                </c:pt>
                <c:pt idx="308">
                  <c:v>1970.0746894651199</c:v>
                </c:pt>
                <c:pt idx="309">
                  <c:v>1825.0894220651301</c:v>
                </c:pt>
                <c:pt idx="310">
                  <c:v>1664.1254999052901</c:v>
                </c:pt>
                <c:pt idx="311">
                  <c:v>1551.26573839092</c:v>
                </c:pt>
                <c:pt idx="312">
                  <c:v>1438.0976168724101</c:v>
                </c:pt>
                <c:pt idx="313">
                  <c:v>1451.5252934162199</c:v>
                </c:pt>
                <c:pt idx="314">
                  <c:v>1616.5633053276999</c:v>
                </c:pt>
                <c:pt idx="315">
                  <c:v>1814.66124737975</c:v>
                </c:pt>
                <c:pt idx="316">
                  <c:v>1866.7460553513599</c:v>
                </c:pt>
                <c:pt idx="317">
                  <c:v>1919.6998778800901</c:v>
                </c:pt>
                <c:pt idx="318">
                  <c:v>2004.6857638689301</c:v>
                </c:pt>
                <c:pt idx="319">
                  <c:v>2066.7595671260901</c:v>
                </c:pt>
                <c:pt idx="320">
                  <c:v>2064.7598992204698</c:v>
                </c:pt>
                <c:pt idx="321">
                  <c:v>2066.6380919729399</c:v>
                </c:pt>
                <c:pt idx="322">
                  <c:v>2064.55432588438</c:v>
                </c:pt>
                <c:pt idx="323">
                  <c:v>2066.4979283347002</c:v>
                </c:pt>
                <c:pt idx="324">
                  <c:v>2074.7395502634699</c:v>
                </c:pt>
                <c:pt idx="325">
                  <c:v>2077.5615115134601</c:v>
                </c:pt>
                <c:pt idx="326">
                  <c:v>2063.69465556981</c:v>
                </c:pt>
                <c:pt idx="327">
                  <c:v>2077.3372496922698</c:v>
                </c:pt>
                <c:pt idx="328">
                  <c:v>2090.8209916913702</c:v>
                </c:pt>
                <c:pt idx="329">
                  <c:v>2135.0379474361998</c:v>
                </c:pt>
                <c:pt idx="330">
                  <c:v>2168.2567297001201</c:v>
                </c:pt>
                <c:pt idx="331">
                  <c:v>2181.8152256396202</c:v>
                </c:pt>
                <c:pt idx="332">
                  <c:v>2222.82710618993</c:v>
                </c:pt>
                <c:pt idx="333">
                  <c:v>2283.6020597326901</c:v>
                </c:pt>
                <c:pt idx="334">
                  <c:v>2280.5932136317101</c:v>
                </c:pt>
                <c:pt idx="335">
                  <c:v>2301.4308745173798</c:v>
                </c:pt>
                <c:pt idx="336">
                  <c:v>2342.2558702166898</c:v>
                </c:pt>
                <c:pt idx="337">
                  <c:v>2325.7352493889498</c:v>
                </c:pt>
                <c:pt idx="338">
                  <c:v>2333.95818283262</c:v>
                </c:pt>
                <c:pt idx="339">
                  <c:v>2350.9366715452902</c:v>
                </c:pt>
                <c:pt idx="340">
                  <c:v>2362.4674668515299</c:v>
                </c:pt>
                <c:pt idx="341">
                  <c:v>2403.2177086104398</c:v>
                </c:pt>
                <c:pt idx="342">
                  <c:v>2400.3023049349599</c:v>
                </c:pt>
                <c:pt idx="343">
                  <c:v>2387.10823445489</c:v>
                </c:pt>
                <c:pt idx="344">
                  <c:v>2401.7319740450498</c:v>
                </c:pt>
                <c:pt idx="345">
                  <c:v>2388.7901981138202</c:v>
                </c:pt>
                <c:pt idx="346">
                  <c:v>2394.95739819657</c:v>
                </c:pt>
                <c:pt idx="347">
                  <c:v>2408.0673704936999</c:v>
                </c:pt>
                <c:pt idx="348">
                  <c:v>2379.0721858622101</c:v>
                </c:pt>
                <c:pt idx="349">
                  <c:v>2394.5836284945899</c:v>
                </c:pt>
                <c:pt idx="350">
                  <c:v>2353.4035515783899</c:v>
                </c:pt>
                <c:pt idx="351">
                  <c:v>2345.8440593557398</c:v>
                </c:pt>
                <c:pt idx="352">
                  <c:v>2323.2683693558502</c:v>
                </c:pt>
                <c:pt idx="353">
                  <c:v>2261.61505701342</c:v>
                </c:pt>
                <c:pt idx="354">
                  <c:v>2168.3408278830698</c:v>
                </c:pt>
                <c:pt idx="355">
                  <c:v>2166.7523066496301</c:v>
                </c:pt>
                <c:pt idx="356">
                  <c:v>2131.1787752632099</c:v>
                </c:pt>
                <c:pt idx="357">
                  <c:v>2089.8491904662101</c:v>
                </c:pt>
                <c:pt idx="358">
                  <c:v>2038.41847947308</c:v>
                </c:pt>
                <c:pt idx="359">
                  <c:v>1970.8969828094901</c:v>
                </c:pt>
                <c:pt idx="360">
                  <c:v>1816.79173468107</c:v>
                </c:pt>
                <c:pt idx="361">
                  <c:v>1702.7452543628899</c:v>
                </c:pt>
                <c:pt idx="362">
                  <c:v>1642.7832499219501</c:v>
                </c:pt>
                <c:pt idx="363">
                  <c:v>1609.4803694750799</c:v>
                </c:pt>
                <c:pt idx="364">
                  <c:v>1700.4839476658799</c:v>
                </c:pt>
                <c:pt idx="365">
                  <c:v>1909.7015383519899</c:v>
                </c:pt>
                <c:pt idx="366">
                  <c:v>2205.11042231584</c:v>
                </c:pt>
                <c:pt idx="367">
                  <c:v>2140.28941174909</c:v>
                </c:pt>
                <c:pt idx="368">
                  <c:v>2133.1223777135301</c:v>
                </c:pt>
                <c:pt idx="369">
                  <c:v>2122.20830241557</c:v>
                </c:pt>
                <c:pt idx="370">
                  <c:v>2305.8880782135502</c:v>
                </c:pt>
                <c:pt idx="371">
                  <c:v>2346.1991405726299</c:v>
                </c:pt>
                <c:pt idx="372">
                  <c:v>2153.13774525483</c:v>
                </c:pt>
                <c:pt idx="373">
                  <c:v>1843.1238101859101</c:v>
                </c:pt>
                <c:pt idx="374">
                  <c:v>1893.6107526815399</c:v>
                </c:pt>
                <c:pt idx="375">
                  <c:v>1894.6386193619901</c:v>
                </c:pt>
                <c:pt idx="376">
                  <c:v>1891.42419992492</c:v>
                </c:pt>
                <c:pt idx="377">
                  <c:v>1650.41749608499</c:v>
                </c:pt>
                <c:pt idx="378">
                  <c:v>1457.8233128946699</c:v>
                </c:pt>
                <c:pt idx="379">
                  <c:v>1414.4286504942099</c:v>
                </c:pt>
                <c:pt idx="380">
                  <c:v>1390.12427562263</c:v>
                </c:pt>
                <c:pt idx="381">
                  <c:v>1389.3487034910099</c:v>
                </c:pt>
                <c:pt idx="382">
                  <c:v>1387.9657555936701</c:v>
                </c:pt>
                <c:pt idx="383">
                  <c:v>1385.1437943436799</c:v>
                </c:pt>
                <c:pt idx="384">
                  <c:v>1407.59800919043</c:v>
                </c:pt>
                <c:pt idx="385">
                  <c:v>1418.83913297763</c:v>
                </c:pt>
                <c:pt idx="386">
                  <c:v>1442.6108860238801</c:v>
                </c:pt>
                <c:pt idx="387">
                  <c:v>1514.5335209283401</c:v>
                </c:pt>
                <c:pt idx="388">
                  <c:v>1578.1958454189401</c:v>
                </c:pt>
                <c:pt idx="389">
                  <c:v>1595.5107268633899</c:v>
                </c:pt>
                <c:pt idx="390">
                  <c:v>1597.3141656754699</c:v>
                </c:pt>
                <c:pt idx="391">
                  <c:v>1595.5481038335899</c:v>
                </c:pt>
                <c:pt idx="392">
                  <c:v>1506.36665293997</c:v>
                </c:pt>
                <c:pt idx="393">
                  <c:v>1463.9437917646701</c:v>
                </c:pt>
                <c:pt idx="394">
                  <c:v>1432.9956604403101</c:v>
                </c:pt>
                <c:pt idx="395">
                  <c:v>1366.5207189422799</c:v>
                </c:pt>
                <c:pt idx="396">
                  <c:v>1325.28457657078</c:v>
                </c:pt>
                <c:pt idx="397">
                  <c:v>1323.00458138867</c:v>
                </c:pt>
                <c:pt idx="398">
                  <c:v>1300.16725259739</c:v>
                </c:pt>
                <c:pt idx="399">
                  <c:v>1374.06152267983</c:v>
                </c:pt>
                <c:pt idx="400">
                  <c:v>1386.53608648358</c:v>
                </c:pt>
                <c:pt idx="401">
                  <c:v>1337.8432385574799</c:v>
                </c:pt>
                <c:pt idx="402">
                  <c:v>1322.7990080525799</c:v>
                </c:pt>
                <c:pt idx="403">
                  <c:v>1330.3211233050299</c:v>
                </c:pt>
                <c:pt idx="404">
                  <c:v>1329.7885014797</c:v>
                </c:pt>
                <c:pt idx="405">
                  <c:v>1325.99473900455</c:v>
                </c:pt>
                <c:pt idx="406">
                  <c:v>1346.9445308008101</c:v>
                </c:pt>
                <c:pt idx="407">
                  <c:v>1428.56648947179</c:v>
                </c:pt>
                <c:pt idx="408">
                  <c:v>1472.5218064252299</c:v>
                </c:pt>
                <c:pt idx="409">
                  <c:v>1516.60794277436</c:v>
                </c:pt>
                <c:pt idx="410">
                  <c:v>1538.7351091318701</c:v>
                </c:pt>
                <c:pt idx="411">
                  <c:v>1560.60063669799</c:v>
                </c:pt>
                <c:pt idx="412">
                  <c:v>1614.8533089411201</c:v>
                </c:pt>
                <c:pt idx="413">
                  <c:v>1699.36263855993</c:v>
                </c:pt>
                <c:pt idx="414">
                  <c:v>1725.49848497123</c:v>
                </c:pt>
                <c:pt idx="415">
                  <c:v>1843.83397261968</c:v>
                </c:pt>
                <c:pt idx="416">
                  <c:v>1968.5609221720799</c:v>
                </c:pt>
                <c:pt idx="417">
                  <c:v>2084.4762510001801</c:v>
                </c:pt>
                <c:pt idx="418">
                  <c:v>2148.9048033798399</c:v>
                </c:pt>
                <c:pt idx="419">
                  <c:v>2272.0992971541</c:v>
                </c:pt>
                <c:pt idx="420">
                  <c:v>2532.4485830717599</c:v>
                </c:pt>
                <c:pt idx="421">
                  <c:v>2811.0471746888302</c:v>
                </c:pt>
                <c:pt idx="422">
                  <c:v>2814.53257715984</c:v>
                </c:pt>
                <c:pt idx="423">
                  <c:v>2810.4491431656602</c:v>
                </c:pt>
                <c:pt idx="424">
                  <c:v>2884.9601332563702</c:v>
                </c:pt>
                <c:pt idx="425">
                  <c:v>2955.1821160168001</c:v>
                </c:pt>
                <c:pt idx="426">
                  <c:v>3177.6124656680799</c:v>
                </c:pt>
                <c:pt idx="427">
                  <c:v>3163.0915127459598</c:v>
                </c:pt>
                <c:pt idx="428">
                  <c:v>2963.0125912733902</c:v>
                </c:pt>
                <c:pt idx="429">
                  <c:v>2976.6178084256399</c:v>
                </c:pt>
                <c:pt idx="430">
                  <c:v>3027.49720910835</c:v>
                </c:pt>
                <c:pt idx="431">
                  <c:v>3000.0251360124498</c:v>
                </c:pt>
                <c:pt idx="432">
                  <c:v>2940.4275570309401</c:v>
                </c:pt>
                <c:pt idx="433">
                  <c:v>2806.0666934098799</c:v>
                </c:pt>
                <c:pt idx="434">
                  <c:v>2891.8281515303402</c:v>
                </c:pt>
                <c:pt idx="435">
                  <c:v>3090.9259275352101</c:v>
                </c:pt>
                <c:pt idx="436">
                  <c:v>3282.7165058662599</c:v>
                </c:pt>
                <c:pt idx="437">
                  <c:v>3495.12048326179</c:v>
                </c:pt>
                <c:pt idx="438">
                  <c:v>3597.0568252356502</c:v>
                </c:pt>
                <c:pt idx="439">
                  <c:v>3691.25613437843</c:v>
                </c:pt>
                <c:pt idx="440">
                  <c:v>3850.2857983304998</c:v>
                </c:pt>
                <c:pt idx="441">
                  <c:v>4096.5065895131202</c:v>
                </c:pt>
                <c:pt idx="442">
                  <c:v>4075.40728983607</c:v>
                </c:pt>
                <c:pt idx="443">
                  <c:v>4076.7808934908599</c:v>
                </c:pt>
                <c:pt idx="444">
                  <c:v>4249.9951176332597</c:v>
                </c:pt>
                <c:pt idx="445">
                  <c:v>4435.0952182987903</c:v>
                </c:pt>
                <c:pt idx="446">
                  <c:v>4507.4476883605403</c:v>
                </c:pt>
                <c:pt idx="447">
                  <c:v>4612.9254982606999</c:v>
                </c:pt>
                <c:pt idx="448">
                  <c:v>4698.2851539515304</c:v>
                </c:pt>
                <c:pt idx="449">
                  <c:v>5068.1489625507902</c:v>
                </c:pt>
                <c:pt idx="450">
                  <c:v>5411.1293853347897</c:v>
                </c:pt>
                <c:pt idx="451">
                  <c:v>5488.5931560711797</c:v>
                </c:pt>
                <c:pt idx="452">
                  <c:v>5569.1031498787497</c:v>
                </c:pt>
                <c:pt idx="453">
                  <c:v>5697.84812372748</c:v>
                </c:pt>
                <c:pt idx="454">
                  <c:v>5781.8902412188099</c:v>
                </c:pt>
                <c:pt idx="455">
                  <c:v>5869.0066145089704</c:v>
                </c:pt>
                <c:pt idx="456">
                  <c:v>5861.1667950098299</c:v>
                </c:pt>
                <c:pt idx="457">
                  <c:v>5862.8954798815103</c:v>
                </c:pt>
                <c:pt idx="458">
                  <c:v>5862.5030216944297</c:v>
                </c:pt>
                <c:pt idx="459">
                  <c:v>5838.4789740993401</c:v>
                </c:pt>
                <c:pt idx="460">
                  <c:v>5739.2898394350696</c:v>
                </c:pt>
                <c:pt idx="461">
                  <c:v>5740.2990176304302</c:v>
                </c:pt>
                <c:pt idx="462">
                  <c:v>5648.0246224528801</c:v>
                </c:pt>
                <c:pt idx="463">
                  <c:v>5537.3981349078704</c:v>
                </c:pt>
                <c:pt idx="464">
                  <c:v>5409.8492241054901</c:v>
                </c:pt>
                <c:pt idx="465">
                  <c:v>5291.2240649380001</c:v>
                </c:pt>
                <c:pt idx="466">
                  <c:v>5205.3130989367401</c:v>
                </c:pt>
                <c:pt idx="467">
                  <c:v>5103.4982321160296</c:v>
                </c:pt>
                <c:pt idx="468">
                  <c:v>5063.23389096969</c:v>
                </c:pt>
                <c:pt idx="469">
                  <c:v>4993.6660051877298</c:v>
                </c:pt>
                <c:pt idx="470">
                  <c:v>4869.2661041245701</c:v>
                </c:pt>
                <c:pt idx="471">
                  <c:v>4784.0839890421903</c:v>
                </c:pt>
                <c:pt idx="472">
                  <c:v>4687.8943562363502</c:v>
                </c:pt>
                <c:pt idx="473">
                  <c:v>4567.3723158312796</c:v>
                </c:pt>
                <c:pt idx="474">
                  <c:v>4579.9122893328804</c:v>
                </c:pt>
                <c:pt idx="475">
                  <c:v>4490.5719863159102</c:v>
                </c:pt>
                <c:pt idx="476">
                  <c:v>4357.7062015027896</c:v>
                </c:pt>
                <c:pt idx="477">
                  <c:v>4388.2805631251704</c:v>
                </c:pt>
                <c:pt idx="478">
                  <c:v>4489.9365778225401</c:v>
                </c:pt>
                <c:pt idx="479">
                  <c:v>3965.1826047206901</c:v>
                </c:pt>
                <c:pt idx="480">
                  <c:v>3627.24807291349</c:v>
                </c:pt>
                <c:pt idx="481">
                  <c:v>3546.2988997060902</c:v>
                </c:pt>
                <c:pt idx="482">
                  <c:v>3382.3167872027202</c:v>
                </c:pt>
                <c:pt idx="483">
                  <c:v>3166.1751127873399</c:v>
                </c:pt>
                <c:pt idx="484">
                  <c:v>2841.87383086005</c:v>
                </c:pt>
                <c:pt idx="485">
                  <c:v>2376.60530582911</c:v>
                </c:pt>
                <c:pt idx="486">
                  <c:v>2514.3394410105898</c:v>
                </c:pt>
                <c:pt idx="487">
                  <c:v>2468.4311773642798</c:v>
                </c:pt>
                <c:pt idx="488">
                  <c:v>2454.6764523312299</c:v>
                </c:pt>
                <c:pt idx="489">
                  <c:v>2619.1351212046302</c:v>
                </c:pt>
                <c:pt idx="490">
                  <c:v>2732.1630790848999</c:v>
                </c:pt>
                <c:pt idx="491">
                  <c:v>2821.2323990679301</c:v>
                </c:pt>
                <c:pt idx="492">
                  <c:v>2986.5227055282498</c:v>
                </c:pt>
                <c:pt idx="493">
                  <c:v>3293.1820575218399</c:v>
                </c:pt>
                <c:pt idx="494">
                  <c:v>3589.0861863408199</c:v>
                </c:pt>
                <c:pt idx="495">
                  <c:v>3628.9767577851699</c:v>
                </c:pt>
                <c:pt idx="496">
                  <c:v>3612.2412193788</c:v>
                </c:pt>
                <c:pt idx="497">
                  <c:v>3673.0535498917602</c:v>
                </c:pt>
                <c:pt idx="498">
                  <c:v>3783.0633174284899</c:v>
                </c:pt>
                <c:pt idx="499">
                  <c:v>3902.69765479134</c:v>
                </c:pt>
                <c:pt idx="500">
                  <c:v>4027.2844407054999</c:v>
                </c:pt>
                <c:pt idx="501">
                  <c:v>4220.2430493552602</c:v>
                </c:pt>
                <c:pt idx="502">
                  <c:v>4255.4521552822398</c:v>
                </c:pt>
                <c:pt idx="503">
                  <c:v>3585.9184881165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Z_indik_testu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1.4189059288700001</c:v>
                </c:pt>
                <c:pt idx="1">
                  <c:v>3.0283915324400001</c:v>
                </c:pt>
                <c:pt idx="2">
                  <c:v>4.4704065910599997</c:v>
                </c:pt>
                <c:pt idx="3">
                  <c:v>5.8654141000199997</c:v>
                </c:pt>
                <c:pt idx="4">
                  <c:v>5.8031476739599999</c:v>
                </c:pt>
                <c:pt idx="5">
                  <c:v>6.8880482860600001</c:v>
                </c:pt>
                <c:pt idx="6">
                  <c:v>3.7789737368899998</c:v>
                </c:pt>
                <c:pt idx="7">
                  <c:v>2.0036193795899999</c:v>
                </c:pt>
                <c:pt idx="8">
                  <c:v>1.2529980177</c:v>
                </c:pt>
                <c:pt idx="9">
                  <c:v>0.83687762977000002</c:v>
                </c:pt>
                <c:pt idx="10">
                  <c:v>0.56195162027000001</c:v>
                </c:pt>
                <c:pt idx="11">
                  <c:v>0.53479945957999997</c:v>
                </c:pt>
                <c:pt idx="12">
                  <c:v>0.55155735015999996</c:v>
                </c:pt>
                <c:pt idx="13">
                  <c:v>0.33990459792</c:v>
                </c:pt>
                <c:pt idx="14">
                  <c:v>0.2328545216</c:v>
                </c:pt>
                <c:pt idx="15">
                  <c:v>0.21714402689000001</c:v>
                </c:pt>
                <c:pt idx="16">
                  <c:v>0.35760720950000002</c:v>
                </c:pt>
                <c:pt idx="17">
                  <c:v>0.30307996573000001</c:v>
                </c:pt>
                <c:pt idx="18">
                  <c:v>0.24429478123000001</c:v>
                </c:pt>
                <c:pt idx="19">
                  <c:v>0.28284869370999999</c:v>
                </c:pt>
                <c:pt idx="20">
                  <c:v>0.27935062097000002</c:v>
                </c:pt>
                <c:pt idx="21">
                  <c:v>0.26284493575000001</c:v>
                </c:pt>
                <c:pt idx="22">
                  <c:v>0.12844651686</c:v>
                </c:pt>
                <c:pt idx="23">
                  <c:v>7.3342004200000005E-2</c:v>
                </c:pt>
                <c:pt idx="24">
                  <c:v>5.3908715459999999E-2</c:v>
                </c:pt>
                <c:pt idx="25">
                  <c:v>9.7499664969999997E-2</c:v>
                </c:pt>
                <c:pt idx="26">
                  <c:v>0.16275110136000001</c:v>
                </c:pt>
                <c:pt idx="27">
                  <c:v>0.14383757790999999</c:v>
                </c:pt>
                <c:pt idx="28">
                  <c:v>0.11582009739</c:v>
                </c:pt>
                <c:pt idx="29">
                  <c:v>0.13858681002000001</c:v>
                </c:pt>
                <c:pt idx="30">
                  <c:v>0.21347003128</c:v>
                </c:pt>
                <c:pt idx="31">
                  <c:v>0.25466455474999999</c:v>
                </c:pt>
                <c:pt idx="32">
                  <c:v>0.30601585024</c:v>
                </c:pt>
                <c:pt idx="33">
                  <c:v>0.35536592387999999</c:v>
                </c:pt>
                <c:pt idx="34">
                  <c:v>0.38613388622</c:v>
                </c:pt>
                <c:pt idx="35">
                  <c:v>0.42424337850999999</c:v>
                </c:pt>
                <c:pt idx="36">
                  <c:v>0.43781872184999998</c:v>
                </c:pt>
                <c:pt idx="37">
                  <c:v>0.44394683470000001</c:v>
                </c:pt>
                <c:pt idx="38">
                  <c:v>0.57990409013999999</c:v>
                </c:pt>
                <c:pt idx="39">
                  <c:v>0.57720169802999999</c:v>
                </c:pt>
                <c:pt idx="40">
                  <c:v>0.52358088119000001</c:v>
                </c:pt>
                <c:pt idx="41">
                  <c:v>0.44610249085999998</c:v>
                </c:pt>
                <c:pt idx="42">
                  <c:v>0.39060438661000002</c:v>
                </c:pt>
                <c:pt idx="43">
                  <c:v>0.35005402692999998</c:v>
                </c:pt>
                <c:pt idx="44">
                  <c:v>0.23067506541999999</c:v>
                </c:pt>
                <c:pt idx="45">
                  <c:v>0.15252285783</c:v>
                </c:pt>
                <c:pt idx="46">
                  <c:v>0.13045307990999999</c:v>
                </c:pt>
                <c:pt idx="47">
                  <c:v>0.15118374303000001</c:v>
                </c:pt>
                <c:pt idx="48">
                  <c:v>0.13701955767999999</c:v>
                </c:pt>
                <c:pt idx="49">
                  <c:v>9.953641329E-2</c:v>
                </c:pt>
                <c:pt idx="50">
                  <c:v>0.10016345511999999</c:v>
                </c:pt>
                <c:pt idx="51">
                  <c:v>8.2076369129999993E-2</c:v>
                </c:pt>
                <c:pt idx="52">
                  <c:v>0.11492427697</c:v>
                </c:pt>
                <c:pt idx="53">
                  <c:v>0.11264698187</c:v>
                </c:pt>
                <c:pt idx="54">
                  <c:v>0.12040551602000001</c:v>
                </c:pt>
                <c:pt idx="55">
                  <c:v>9.6876314359999993E-2</c:v>
                </c:pt>
                <c:pt idx="56">
                  <c:v>7.1827785059999996E-2</c:v>
                </c:pt>
                <c:pt idx="57">
                  <c:v>4.8393940140000001E-2</c:v>
                </c:pt>
                <c:pt idx="58">
                  <c:v>1.9392794870000001E-2</c:v>
                </c:pt>
                <c:pt idx="59">
                  <c:v>-1.3233647980000001E-2</c:v>
                </c:pt>
                <c:pt idx="60">
                  <c:v>-2.5105290400000001E-2</c:v>
                </c:pt>
                <c:pt idx="61">
                  <c:v>-2.7263292179999999E-2</c:v>
                </c:pt>
                <c:pt idx="62">
                  <c:v>-3.7537229399999997E-2</c:v>
                </c:pt>
                <c:pt idx="63">
                  <c:v>-6.4906735539999996E-2</c:v>
                </c:pt>
                <c:pt idx="64">
                  <c:v>-4.0270787070000001E-2</c:v>
                </c:pt>
                <c:pt idx="65">
                  <c:v>-2.2437029970000001E-2</c:v>
                </c:pt>
                <c:pt idx="66">
                  <c:v>-1.039064621E-2</c:v>
                </c:pt>
                <c:pt idx="67">
                  <c:v>-1.5354675890000001E-2</c:v>
                </c:pt>
                <c:pt idx="68">
                  <c:v>-1.6688763129999999E-2</c:v>
                </c:pt>
                <c:pt idx="69">
                  <c:v>-4.2833908249999997E-2</c:v>
                </c:pt>
                <c:pt idx="70">
                  <c:v>-6.9934748709999994E-2</c:v>
                </c:pt>
                <c:pt idx="71">
                  <c:v>-0.11481798318</c:v>
                </c:pt>
                <c:pt idx="72">
                  <c:v>-0.1426851807</c:v>
                </c:pt>
                <c:pt idx="73">
                  <c:v>-0.17942723892000001</c:v>
                </c:pt>
                <c:pt idx="74">
                  <c:v>-0.18858141053999999</c:v>
                </c:pt>
                <c:pt idx="75">
                  <c:v>-0.16475592301</c:v>
                </c:pt>
                <c:pt idx="76">
                  <c:v>-0.15120888512</c:v>
                </c:pt>
                <c:pt idx="77">
                  <c:v>-0.14239793884999999</c:v>
                </c:pt>
                <c:pt idx="78">
                  <c:v>-0.13081252936000001</c:v>
                </c:pt>
                <c:pt idx="79">
                  <c:v>-0.10265579679</c:v>
                </c:pt>
                <c:pt idx="80">
                  <c:v>-9.0717853710000004E-2</c:v>
                </c:pt>
                <c:pt idx="81">
                  <c:v>-8.3978946210000002E-2</c:v>
                </c:pt>
                <c:pt idx="82">
                  <c:v>-5.7503606589999999E-2</c:v>
                </c:pt>
                <c:pt idx="83">
                  <c:v>-9.6383196810000002E-2</c:v>
                </c:pt>
                <c:pt idx="84">
                  <c:v>-8.6156244100000001E-2</c:v>
                </c:pt>
                <c:pt idx="85">
                  <c:v>-7.4272928010000003E-2</c:v>
                </c:pt>
                <c:pt idx="86">
                  <c:v>-8.5640286740000002E-2</c:v>
                </c:pt>
                <c:pt idx="87">
                  <c:v>-0.10341010145</c:v>
                </c:pt>
                <c:pt idx="88">
                  <c:v>-8.7660138279999994E-2</c:v>
                </c:pt>
                <c:pt idx="89">
                  <c:v>-5.4415064819999998E-2</c:v>
                </c:pt>
                <c:pt idx="90">
                  <c:v>-0.10238939869999999</c:v>
                </c:pt>
                <c:pt idx="91">
                  <c:v>-9.6213447369999996E-2</c:v>
                </c:pt>
                <c:pt idx="92">
                  <c:v>-0.10310026073</c:v>
                </c:pt>
                <c:pt idx="93">
                  <c:v>-5.866224556E-2</c:v>
                </c:pt>
                <c:pt idx="94">
                  <c:v>-3.5946846759999998E-2</c:v>
                </c:pt>
                <c:pt idx="95">
                  <c:v>-3.25762187E-3</c:v>
                </c:pt>
                <c:pt idx="96">
                  <c:v>4.7666894270000003E-2</c:v>
                </c:pt>
                <c:pt idx="97">
                  <c:v>1.4680065920000001E-2</c:v>
                </c:pt>
                <c:pt idx="98">
                  <c:v>4.1067903590000003E-2</c:v>
                </c:pt>
                <c:pt idx="99">
                  <c:v>7.6287420450000004E-2</c:v>
                </c:pt>
                <c:pt idx="100">
                  <c:v>7.3043838520000001E-2</c:v>
                </c:pt>
                <c:pt idx="101">
                  <c:v>3.8835377990000003E-2</c:v>
                </c:pt>
                <c:pt idx="102">
                  <c:v>4.7595410960000001E-2</c:v>
                </c:pt>
                <c:pt idx="103">
                  <c:v>0.10173440588</c:v>
                </c:pt>
                <c:pt idx="104">
                  <c:v>3.9381205939999997E-2</c:v>
                </c:pt>
                <c:pt idx="105">
                  <c:v>3.7934842230000002E-2</c:v>
                </c:pt>
                <c:pt idx="106">
                  <c:v>1.4265233130000001E-2</c:v>
                </c:pt>
                <c:pt idx="107">
                  <c:v>1.691540792E-2</c:v>
                </c:pt>
                <c:pt idx="108">
                  <c:v>2.051988045E-2</c:v>
                </c:pt>
                <c:pt idx="109">
                  <c:v>2.226567644E-2</c:v>
                </c:pt>
                <c:pt idx="110">
                  <c:v>5.1430259460000002E-2</c:v>
                </c:pt>
                <c:pt idx="111">
                  <c:v>1.7762889000000001E-3</c:v>
                </c:pt>
                <c:pt idx="112">
                  <c:v>-1.35289587E-2</c:v>
                </c:pt>
                <c:pt idx="113">
                  <c:v>2.5190992089999999E-2</c:v>
                </c:pt>
                <c:pt idx="114">
                  <c:v>4.2896666280000002E-2</c:v>
                </c:pt>
                <c:pt idx="115">
                  <c:v>4.9689898699999999E-2</c:v>
                </c:pt>
                <c:pt idx="116">
                  <c:v>6.4466599289999996E-2</c:v>
                </c:pt>
                <c:pt idx="117">
                  <c:v>9.4382191800000001E-2</c:v>
                </c:pt>
                <c:pt idx="118">
                  <c:v>0.13214330262999999</c:v>
                </c:pt>
                <c:pt idx="119">
                  <c:v>0.24869183595</c:v>
                </c:pt>
                <c:pt idx="120">
                  <c:v>0.34733534257999998</c:v>
                </c:pt>
                <c:pt idx="121">
                  <c:v>0.38064647599000001</c:v>
                </c:pt>
                <c:pt idx="122">
                  <c:v>0.39751406531</c:v>
                </c:pt>
                <c:pt idx="123">
                  <c:v>0.37537977548000001</c:v>
                </c:pt>
                <c:pt idx="124">
                  <c:v>0.36415588565000001</c:v>
                </c:pt>
                <c:pt idx="125">
                  <c:v>0.18318881970000001</c:v>
                </c:pt>
                <c:pt idx="126">
                  <c:v>4.9319945400000002E-2</c:v>
                </c:pt>
                <c:pt idx="127">
                  <c:v>-1.7665498929999999E-2</c:v>
                </c:pt>
                <c:pt idx="128">
                  <c:v>-5.7951328509999997E-2</c:v>
                </c:pt>
                <c:pt idx="129">
                  <c:v>-7.6005729630000005E-2</c:v>
                </c:pt>
                <c:pt idx="130">
                  <c:v>-6.5955416919999996E-2</c:v>
                </c:pt>
                <c:pt idx="131">
                  <c:v>-4.254190243E-2</c:v>
                </c:pt>
                <c:pt idx="132">
                  <c:v>-8.8801056040000007E-2</c:v>
                </c:pt>
                <c:pt idx="133">
                  <c:v>-0.13378022412999999</c:v>
                </c:pt>
                <c:pt idx="134">
                  <c:v>-0.16931316089000001</c:v>
                </c:pt>
                <c:pt idx="135">
                  <c:v>-0.18592667730000001</c:v>
                </c:pt>
                <c:pt idx="136">
                  <c:v>-0.20763989535999999</c:v>
                </c:pt>
                <c:pt idx="137">
                  <c:v>-0.23710001744</c:v>
                </c:pt>
                <c:pt idx="138">
                  <c:v>-0.20193172364</c:v>
                </c:pt>
                <c:pt idx="139">
                  <c:v>-0.19488613725000001</c:v>
                </c:pt>
                <c:pt idx="140">
                  <c:v>-0.16277781094999999</c:v>
                </c:pt>
                <c:pt idx="141">
                  <c:v>-0.11159125615</c:v>
                </c:pt>
                <c:pt idx="142">
                  <c:v>-4.9719636960000001E-2</c:v>
                </c:pt>
                <c:pt idx="143">
                  <c:v>-4.6316487890000001E-2</c:v>
                </c:pt>
                <c:pt idx="144">
                  <c:v>-1.470437562E-2</c:v>
                </c:pt>
                <c:pt idx="145">
                  <c:v>1.41824434E-2</c:v>
                </c:pt>
                <c:pt idx="146">
                  <c:v>-4.0179030650000003E-2</c:v>
                </c:pt>
                <c:pt idx="147">
                  <c:v>-4.7724770780000002E-2</c:v>
                </c:pt>
                <c:pt idx="148">
                  <c:v>-4.1543317539999999E-2</c:v>
                </c:pt>
                <c:pt idx="149">
                  <c:v>-4.4404315909999999E-2</c:v>
                </c:pt>
                <c:pt idx="150">
                  <c:v>-4.9788243519999997E-2</c:v>
                </c:pt>
                <c:pt idx="151">
                  <c:v>-4.4914269270000001E-2</c:v>
                </c:pt>
                <c:pt idx="152">
                  <c:v>-3.5810909100000001E-3</c:v>
                </c:pt>
                <c:pt idx="153">
                  <c:v>-4.0570702620000003E-2</c:v>
                </c:pt>
                <c:pt idx="154">
                  <c:v>-2.9436106229999998E-2</c:v>
                </c:pt>
                <c:pt idx="155">
                  <c:v>-1.488286711E-2</c:v>
                </c:pt>
                <c:pt idx="156">
                  <c:v>-1.3119681940000001E-2</c:v>
                </c:pt>
                <c:pt idx="157">
                  <c:v>-1.122873401E-2</c:v>
                </c:pt>
                <c:pt idx="158">
                  <c:v>6.5261035599999996E-3</c:v>
                </c:pt>
                <c:pt idx="159">
                  <c:v>3.108688595E-2</c:v>
                </c:pt>
                <c:pt idx="160">
                  <c:v>2.4453771199999998E-3</c:v>
                </c:pt>
                <c:pt idx="161">
                  <c:v>2.0490251269999999E-2</c:v>
                </c:pt>
                <c:pt idx="162">
                  <c:v>1.8280970949999999E-2</c:v>
                </c:pt>
                <c:pt idx="163">
                  <c:v>4.9059479910000002E-2</c:v>
                </c:pt>
                <c:pt idx="164">
                  <c:v>3.5051140969999998E-2</c:v>
                </c:pt>
                <c:pt idx="165">
                  <c:v>3.5385627359999998E-2</c:v>
                </c:pt>
                <c:pt idx="166">
                  <c:v>6.0417021190000003E-2</c:v>
                </c:pt>
                <c:pt idx="167">
                  <c:v>8.1995123300000004E-3</c:v>
                </c:pt>
                <c:pt idx="168">
                  <c:v>2.2317278879999999E-2</c:v>
                </c:pt>
                <c:pt idx="169">
                  <c:v>2.880511861E-2</c:v>
                </c:pt>
                <c:pt idx="170">
                  <c:v>4.4591175130000001E-2</c:v>
                </c:pt>
                <c:pt idx="171">
                  <c:v>3.6114787600000003E-2</c:v>
                </c:pt>
                <c:pt idx="172">
                  <c:v>6.1485893370000003E-2</c:v>
                </c:pt>
                <c:pt idx="173">
                  <c:v>8.7719393140000004E-2</c:v>
                </c:pt>
                <c:pt idx="174">
                  <c:v>3.463967909E-2</c:v>
                </c:pt>
                <c:pt idx="175">
                  <c:v>5.0672028969999998E-2</c:v>
                </c:pt>
                <c:pt idx="176">
                  <c:v>5.1001056060000001E-2</c:v>
                </c:pt>
                <c:pt idx="177">
                  <c:v>7.0167615690000004E-2</c:v>
                </c:pt>
                <c:pt idx="178">
                  <c:v>6.043733968E-2</c:v>
                </c:pt>
                <c:pt idx="179">
                  <c:v>4.7943923159999999E-2</c:v>
                </c:pt>
                <c:pt idx="180">
                  <c:v>6.0764592489999998E-2</c:v>
                </c:pt>
                <c:pt idx="181">
                  <c:v>3.38217779E-3</c:v>
                </c:pt>
                <c:pt idx="182">
                  <c:v>3.1272262800000001E-3</c:v>
                </c:pt>
                <c:pt idx="183">
                  <c:v>-7.3852654400000002E-3</c:v>
                </c:pt>
                <c:pt idx="184">
                  <c:v>-1.5070978909999999E-2</c:v>
                </c:pt>
                <c:pt idx="185">
                  <c:v>-5.7566875609999998E-2</c:v>
                </c:pt>
                <c:pt idx="186">
                  <c:v>-3.2419441100000002E-2</c:v>
                </c:pt>
                <c:pt idx="187">
                  <c:v>-1.3054446500000001E-2</c:v>
                </c:pt>
                <c:pt idx="188">
                  <c:v>-7.6845943740000006E-2</c:v>
                </c:pt>
                <c:pt idx="189">
                  <c:v>-9.57708798E-2</c:v>
                </c:pt>
                <c:pt idx="190">
                  <c:v>-0.12334146003</c:v>
                </c:pt>
                <c:pt idx="191">
                  <c:v>-0.14419414797999999</c:v>
                </c:pt>
                <c:pt idx="192">
                  <c:v>-0.14508445637</c:v>
                </c:pt>
                <c:pt idx="193">
                  <c:v>-0.15649711576</c:v>
                </c:pt>
                <c:pt idx="194">
                  <c:v>-0.11929573541999999</c:v>
                </c:pt>
                <c:pt idx="195">
                  <c:v>-0.14192063763000001</c:v>
                </c:pt>
                <c:pt idx="196">
                  <c:v>-0.12622170965000001</c:v>
                </c:pt>
                <c:pt idx="197">
                  <c:v>-9.4763325600000003E-2</c:v>
                </c:pt>
                <c:pt idx="198">
                  <c:v>-7.7936383050000002E-2</c:v>
                </c:pt>
                <c:pt idx="199">
                  <c:v>-0.13402698334999999</c:v>
                </c:pt>
                <c:pt idx="200">
                  <c:v>-0.11168609090999999</c:v>
                </c:pt>
                <c:pt idx="201">
                  <c:v>-8.0405341840000005E-2</c:v>
                </c:pt>
                <c:pt idx="202">
                  <c:v>-0.13306175347999999</c:v>
                </c:pt>
                <c:pt idx="203">
                  <c:v>-0.14379242735</c:v>
                </c:pt>
                <c:pt idx="204">
                  <c:v>-0.15372920884999999</c:v>
                </c:pt>
                <c:pt idx="205">
                  <c:v>-0.19109990440999999</c:v>
                </c:pt>
                <c:pt idx="206">
                  <c:v>-0.18832422176999999</c:v>
                </c:pt>
                <c:pt idx="207">
                  <c:v>-0.17303096268000001</c:v>
                </c:pt>
                <c:pt idx="208">
                  <c:v>-0.13178433899</c:v>
                </c:pt>
                <c:pt idx="209">
                  <c:v>-0.16275984038999999</c:v>
                </c:pt>
                <c:pt idx="210">
                  <c:v>-0.15622535101000001</c:v>
                </c:pt>
                <c:pt idx="211">
                  <c:v>-0.14181429825</c:v>
                </c:pt>
                <c:pt idx="212">
                  <c:v>-0.15826053434000001</c:v>
                </c:pt>
                <c:pt idx="213">
                  <c:v>-0.16470510479</c:v>
                </c:pt>
                <c:pt idx="214">
                  <c:v>-0.15234810558</c:v>
                </c:pt>
                <c:pt idx="215">
                  <c:v>-0.10130483799999999</c:v>
                </c:pt>
                <c:pt idx="216">
                  <c:v>-0.1031822469</c:v>
                </c:pt>
                <c:pt idx="217">
                  <c:v>-0.21967798613</c:v>
                </c:pt>
                <c:pt idx="218">
                  <c:v>-0.19694763968000001</c:v>
                </c:pt>
                <c:pt idx="219">
                  <c:v>-0.21144919462</c:v>
                </c:pt>
                <c:pt idx="220">
                  <c:v>-0.22999883247</c:v>
                </c:pt>
                <c:pt idx="221">
                  <c:v>-0.21450916346000001</c:v>
                </c:pt>
                <c:pt idx="222">
                  <c:v>-0.22726263729000001</c:v>
                </c:pt>
                <c:pt idx="223">
                  <c:v>-0.21344125520000001</c:v>
                </c:pt>
                <c:pt idx="224">
                  <c:v>-0.12663541548999999</c:v>
                </c:pt>
                <c:pt idx="225">
                  <c:v>-0.16568296972999999</c:v>
                </c:pt>
                <c:pt idx="226">
                  <c:v>-0.2276754251</c:v>
                </c:pt>
                <c:pt idx="227">
                  <c:v>-0.24259014364000001</c:v>
                </c:pt>
                <c:pt idx="228">
                  <c:v>-0.23201683483999999</c:v>
                </c:pt>
                <c:pt idx="229">
                  <c:v>-0.16495129189999999</c:v>
                </c:pt>
                <c:pt idx="230">
                  <c:v>-0.18004311449999999</c:v>
                </c:pt>
                <c:pt idx="231">
                  <c:v>-0.24509161074999999</c:v>
                </c:pt>
                <c:pt idx="232">
                  <c:v>-0.20520561977999999</c:v>
                </c:pt>
                <c:pt idx="233">
                  <c:v>-0.20707978646</c:v>
                </c:pt>
                <c:pt idx="234">
                  <c:v>-0.20417472373000001</c:v>
                </c:pt>
                <c:pt idx="235">
                  <c:v>-0.17721900571999999</c:v>
                </c:pt>
                <c:pt idx="236">
                  <c:v>-0.12799574644</c:v>
                </c:pt>
                <c:pt idx="237">
                  <c:v>-0.17953521741</c:v>
                </c:pt>
                <c:pt idx="238">
                  <c:v>-0.14685619233</c:v>
                </c:pt>
                <c:pt idx="239">
                  <c:v>-0.14039297933</c:v>
                </c:pt>
                <c:pt idx="240">
                  <c:v>-0.16730298043</c:v>
                </c:pt>
                <c:pt idx="241">
                  <c:v>-0.17593542049999999</c:v>
                </c:pt>
                <c:pt idx="242">
                  <c:v>-0.14979520003999999</c:v>
                </c:pt>
                <c:pt idx="243">
                  <c:v>-0.11914760701</c:v>
                </c:pt>
                <c:pt idx="244">
                  <c:v>-0.1799255548</c:v>
                </c:pt>
                <c:pt idx="245">
                  <c:v>-0.18869528857000001</c:v>
                </c:pt>
                <c:pt idx="246">
                  <c:v>-0.19310017293000001</c:v>
                </c:pt>
                <c:pt idx="247">
                  <c:v>-0.22918057164</c:v>
                </c:pt>
                <c:pt idx="248">
                  <c:v>-0.25763611415999998</c:v>
                </c:pt>
                <c:pt idx="249">
                  <c:v>-0.26100555910000001</c:v>
                </c:pt>
                <c:pt idx="250">
                  <c:v>-0.19675234844</c:v>
                </c:pt>
                <c:pt idx="251">
                  <c:v>-0.24991129309999999</c:v>
                </c:pt>
                <c:pt idx="252">
                  <c:v>-0.25417769977999999</c:v>
                </c:pt>
                <c:pt idx="253">
                  <c:v>-0.26414440069</c:v>
                </c:pt>
                <c:pt idx="254">
                  <c:v>-0.29452948175999999</c:v>
                </c:pt>
                <c:pt idx="255">
                  <c:v>-0.32715467906000001</c:v>
                </c:pt>
                <c:pt idx="256">
                  <c:v>-0.29241151071999999</c:v>
                </c:pt>
                <c:pt idx="257">
                  <c:v>-0.24513276143000001</c:v>
                </c:pt>
                <c:pt idx="258">
                  <c:v>-0.32721188036999999</c:v>
                </c:pt>
                <c:pt idx="259">
                  <c:v>-0.32795023721</c:v>
                </c:pt>
                <c:pt idx="260">
                  <c:v>-0.34334004928</c:v>
                </c:pt>
                <c:pt idx="261">
                  <c:v>-0.38870029887000002</c:v>
                </c:pt>
                <c:pt idx="262">
                  <c:v>-0.42131993128</c:v>
                </c:pt>
                <c:pt idx="263">
                  <c:v>-0.41629119580000001</c:v>
                </c:pt>
                <c:pt idx="264">
                  <c:v>-0.34475551422</c:v>
                </c:pt>
                <c:pt idx="265">
                  <c:v>-0.36919540115999999</c:v>
                </c:pt>
                <c:pt idx="266">
                  <c:v>-0.36144710042</c:v>
                </c:pt>
                <c:pt idx="267">
                  <c:v>-0.32829083864000003</c:v>
                </c:pt>
                <c:pt idx="268">
                  <c:v>-0.29371973205000002</c:v>
                </c:pt>
                <c:pt idx="269">
                  <c:v>-0.28259011026999997</c:v>
                </c:pt>
                <c:pt idx="270">
                  <c:v>-0.24842389759</c:v>
                </c:pt>
                <c:pt idx="271">
                  <c:v>-0.2035054644</c:v>
                </c:pt>
                <c:pt idx="272">
                  <c:v>-0.22710482728</c:v>
                </c:pt>
                <c:pt idx="273">
                  <c:v>-0.18141479111</c:v>
                </c:pt>
                <c:pt idx="274">
                  <c:v>-0.20641446076</c:v>
                </c:pt>
                <c:pt idx="275">
                  <c:v>-0.24282025496000001</c:v>
                </c:pt>
                <c:pt idx="276">
                  <c:v>-0.28335512864000001</c:v>
                </c:pt>
                <c:pt idx="277">
                  <c:v>-0.27890048111999999</c:v>
                </c:pt>
                <c:pt idx="278">
                  <c:v>-0.22820778041000001</c:v>
                </c:pt>
                <c:pt idx="279">
                  <c:v>-0.31189184847000001</c:v>
                </c:pt>
                <c:pt idx="280">
                  <c:v>-0.31397368842000001</c:v>
                </c:pt>
                <c:pt idx="281">
                  <c:v>-0.29471736400999998</c:v>
                </c:pt>
                <c:pt idx="282">
                  <c:v>-0.29545321810000003</c:v>
                </c:pt>
                <c:pt idx="283">
                  <c:v>-0.33581834728999999</c:v>
                </c:pt>
                <c:pt idx="284">
                  <c:v>-0.33452334513999998</c:v>
                </c:pt>
                <c:pt idx="285">
                  <c:v>-0.29524607492999999</c:v>
                </c:pt>
                <c:pt idx="286">
                  <c:v>-0.33238624173999998</c:v>
                </c:pt>
                <c:pt idx="287">
                  <c:v>-0.36820396821000001</c:v>
                </c:pt>
                <c:pt idx="288">
                  <c:v>-0.39804716847999999</c:v>
                </c:pt>
                <c:pt idx="289">
                  <c:v>-0.42026262709000001</c:v>
                </c:pt>
                <c:pt idx="290">
                  <c:v>-0.44398429527</c:v>
                </c:pt>
                <c:pt idx="291">
                  <c:v>-0.42994317305000002</c:v>
                </c:pt>
                <c:pt idx="292">
                  <c:v>-0.35874064705999997</c:v>
                </c:pt>
                <c:pt idx="293">
                  <c:v>-0.41374489790000002</c:v>
                </c:pt>
                <c:pt idx="294">
                  <c:v>-0.37764848661</c:v>
                </c:pt>
                <c:pt idx="295">
                  <c:v>-0.28296658861000001</c:v>
                </c:pt>
                <c:pt idx="296">
                  <c:v>-0.24565029962000001</c:v>
                </c:pt>
                <c:pt idx="297">
                  <c:v>-0.17531024814999999</c:v>
                </c:pt>
                <c:pt idx="298">
                  <c:v>-0.17234588648999999</c:v>
                </c:pt>
                <c:pt idx="299">
                  <c:v>-0.11792997316000001</c:v>
                </c:pt>
                <c:pt idx="300">
                  <c:v>-6.3381183159999993E-2</c:v>
                </c:pt>
                <c:pt idx="301">
                  <c:v>7.8421052860000007E-2</c:v>
                </c:pt>
                <c:pt idx="302">
                  <c:v>0.12573209846</c:v>
                </c:pt>
                <c:pt idx="303">
                  <c:v>0.16814504496999999</c:v>
                </c:pt>
                <c:pt idx="304">
                  <c:v>0.16812790781</c:v>
                </c:pt>
                <c:pt idx="305">
                  <c:v>0.21720146243999999</c:v>
                </c:pt>
                <c:pt idx="306">
                  <c:v>0.34638041138999998</c:v>
                </c:pt>
                <c:pt idx="307">
                  <c:v>0.41192582049999998</c:v>
                </c:pt>
                <c:pt idx="308">
                  <c:v>0.49078435689</c:v>
                </c:pt>
                <c:pt idx="309">
                  <c:v>0.72426080866999998</c:v>
                </c:pt>
                <c:pt idx="310">
                  <c:v>0.77901699431000004</c:v>
                </c:pt>
                <c:pt idx="311">
                  <c:v>0.94488577486000003</c:v>
                </c:pt>
                <c:pt idx="312">
                  <c:v>0.90465768874999997</c:v>
                </c:pt>
                <c:pt idx="313">
                  <c:v>0.78890436195000002</c:v>
                </c:pt>
                <c:pt idx="314">
                  <c:v>0.48950233977000002</c:v>
                </c:pt>
                <c:pt idx="315">
                  <c:v>0.42451613854999998</c:v>
                </c:pt>
                <c:pt idx="316">
                  <c:v>0.28968298835</c:v>
                </c:pt>
                <c:pt idx="317">
                  <c:v>0.16684446989999999</c:v>
                </c:pt>
                <c:pt idx="318">
                  <c:v>-2.914204863E-2</c:v>
                </c:pt>
                <c:pt idx="319">
                  <c:v>-4.7385654940000001E-2</c:v>
                </c:pt>
                <c:pt idx="320">
                  <c:v>-3.6859411760000002E-2</c:v>
                </c:pt>
                <c:pt idx="321">
                  <c:v>-8.0670814770000002E-2</c:v>
                </c:pt>
                <c:pt idx="322">
                  <c:v>-0.10512443193</c:v>
                </c:pt>
                <c:pt idx="323">
                  <c:v>-7.0310781409999995E-2</c:v>
                </c:pt>
                <c:pt idx="324">
                  <c:v>-1.9334433700000001E-2</c:v>
                </c:pt>
                <c:pt idx="325">
                  <c:v>-3.6918881600000002E-2</c:v>
                </c:pt>
                <c:pt idx="326">
                  <c:v>-8.6789524709999996E-2</c:v>
                </c:pt>
                <c:pt idx="327">
                  <c:v>-0.12301748785</c:v>
                </c:pt>
                <c:pt idx="328">
                  <c:v>-0.21175026578</c:v>
                </c:pt>
                <c:pt idx="329">
                  <c:v>-0.22648992719</c:v>
                </c:pt>
                <c:pt idx="330">
                  <c:v>-0.22165162768999999</c:v>
                </c:pt>
                <c:pt idx="331">
                  <c:v>-0.14054729777</c:v>
                </c:pt>
                <c:pt idx="332">
                  <c:v>-0.18238309738</c:v>
                </c:pt>
                <c:pt idx="333">
                  <c:v>-0.14098296293000001</c:v>
                </c:pt>
                <c:pt idx="334">
                  <c:v>-0.12190426408</c:v>
                </c:pt>
                <c:pt idx="335">
                  <c:v>-0.20952843692000001</c:v>
                </c:pt>
                <c:pt idx="336">
                  <c:v>-0.14244205430000001</c:v>
                </c:pt>
                <c:pt idx="337">
                  <c:v>-1.4030824189999999E-2</c:v>
                </c:pt>
                <c:pt idx="338">
                  <c:v>2.2400998209999998E-2</c:v>
                </c:pt>
                <c:pt idx="339">
                  <c:v>3.1847577689999997E-2</c:v>
                </c:pt>
                <c:pt idx="340">
                  <c:v>5.6780476500000003E-2</c:v>
                </c:pt>
                <c:pt idx="341">
                  <c:v>9.589921085E-2</c:v>
                </c:pt>
                <c:pt idx="342">
                  <c:v>8.3670416309999995E-2</c:v>
                </c:pt>
                <c:pt idx="343">
                  <c:v>7.79363483E-2</c:v>
                </c:pt>
                <c:pt idx="344">
                  <c:v>0.11690928532</c:v>
                </c:pt>
                <c:pt idx="345">
                  <c:v>0.24351924821000001</c:v>
                </c:pt>
                <c:pt idx="346">
                  <c:v>0.16158374482000001</c:v>
                </c:pt>
                <c:pt idx="347">
                  <c:v>9.5910596959999997E-2</c:v>
                </c:pt>
                <c:pt idx="348">
                  <c:v>3.8665982520000003E-2</c:v>
                </c:pt>
                <c:pt idx="349">
                  <c:v>-5.4539780240000002E-2</c:v>
                </c:pt>
                <c:pt idx="350">
                  <c:v>-5.8212369999999999E-3</c:v>
                </c:pt>
                <c:pt idx="351">
                  <c:v>4.4171297159999998E-2</c:v>
                </c:pt>
                <c:pt idx="352">
                  <c:v>6.0011381129999999E-2</c:v>
                </c:pt>
                <c:pt idx="353">
                  <c:v>9.7900581899999992E-3</c:v>
                </c:pt>
                <c:pt idx="354">
                  <c:v>4.18045872E-2</c:v>
                </c:pt>
                <c:pt idx="355">
                  <c:v>4.6129516180000003E-2</c:v>
                </c:pt>
                <c:pt idx="356">
                  <c:v>-5.9682991630000001E-2</c:v>
                </c:pt>
                <c:pt idx="357">
                  <c:v>-7.9951416469999995E-2</c:v>
                </c:pt>
                <c:pt idx="358">
                  <c:v>2.1964789509999999E-2</c:v>
                </c:pt>
                <c:pt idx="359">
                  <c:v>0.16255980263</c:v>
                </c:pt>
                <c:pt idx="360">
                  <c:v>0.18337633475000001</c:v>
                </c:pt>
                <c:pt idx="361">
                  <c:v>0.26676207548999997</c:v>
                </c:pt>
                <c:pt idx="362">
                  <c:v>0.25065384028999999</c:v>
                </c:pt>
                <c:pt idx="363">
                  <c:v>0.23263982959000001</c:v>
                </c:pt>
                <c:pt idx="364">
                  <c:v>0.25709372987000001</c:v>
                </c:pt>
                <c:pt idx="365">
                  <c:v>0.25626687732999998</c:v>
                </c:pt>
                <c:pt idx="366">
                  <c:v>0.33423741065000001</c:v>
                </c:pt>
                <c:pt idx="367">
                  <c:v>0.36397771838999998</c:v>
                </c:pt>
                <c:pt idx="368">
                  <c:v>0.39548729278</c:v>
                </c:pt>
                <c:pt idx="369">
                  <c:v>0.33022281313000001</c:v>
                </c:pt>
                <c:pt idx="370">
                  <c:v>0.33310297412000001</c:v>
                </c:pt>
                <c:pt idx="371">
                  <c:v>0.59477528145000003</c:v>
                </c:pt>
                <c:pt idx="372">
                  <c:v>0.75173366414999998</c:v>
                </c:pt>
                <c:pt idx="373">
                  <c:v>0.78012582563999999</c:v>
                </c:pt>
                <c:pt idx="374">
                  <c:v>0.60258051378999999</c:v>
                </c:pt>
                <c:pt idx="375">
                  <c:v>0.56413805515000004</c:v>
                </c:pt>
                <c:pt idx="376">
                  <c:v>0.45853109112000001</c:v>
                </c:pt>
                <c:pt idx="377">
                  <c:v>0.38837653792999999</c:v>
                </c:pt>
                <c:pt idx="378">
                  <c:v>0.33702337779000002</c:v>
                </c:pt>
                <c:pt idx="379">
                  <c:v>0.31384929413000001</c:v>
                </c:pt>
                <c:pt idx="380">
                  <c:v>0.30420471503000002</c:v>
                </c:pt>
                <c:pt idx="381">
                  <c:v>0.21072117436999999</c:v>
                </c:pt>
                <c:pt idx="382">
                  <c:v>0.21949626259999999</c:v>
                </c:pt>
                <c:pt idx="383">
                  <c:v>0.15923193792000001</c:v>
                </c:pt>
                <c:pt idx="384">
                  <c:v>5.6169608019999998E-2</c:v>
                </c:pt>
                <c:pt idx="385">
                  <c:v>4.3347032760000001E-2</c:v>
                </c:pt>
                <c:pt idx="386">
                  <c:v>1.7254132790000001E-2</c:v>
                </c:pt>
                <c:pt idx="387">
                  <c:v>3.3777918699999999E-2</c:v>
                </c:pt>
                <c:pt idx="388">
                  <c:v>-7.2343138899999999E-3</c:v>
                </c:pt>
                <c:pt idx="389">
                  <c:v>3.3783282159999997E-2</c:v>
                </c:pt>
                <c:pt idx="390">
                  <c:v>-6.1452146600000004E-3</c:v>
                </c:pt>
                <c:pt idx="391">
                  <c:v>-2.0426747160000001E-2</c:v>
                </c:pt>
                <c:pt idx="392">
                  <c:v>1.11531585E-2</c:v>
                </c:pt>
                <c:pt idx="393">
                  <c:v>9.084716189E-2</c:v>
                </c:pt>
                <c:pt idx="394">
                  <c:v>0.3447419451</c:v>
                </c:pt>
                <c:pt idx="395">
                  <c:v>0.37952040409999999</c:v>
                </c:pt>
                <c:pt idx="396">
                  <c:v>0.42737695368</c:v>
                </c:pt>
                <c:pt idx="397">
                  <c:v>0.35998379434</c:v>
                </c:pt>
                <c:pt idx="398">
                  <c:v>0.36931892704000002</c:v>
                </c:pt>
                <c:pt idx="399">
                  <c:v>0.48394856582000001</c:v>
                </c:pt>
                <c:pt idx="400">
                  <c:v>0.49031621447000001</c:v>
                </c:pt>
                <c:pt idx="401">
                  <c:v>0.45843247446000002</c:v>
                </c:pt>
                <c:pt idx="402">
                  <c:v>0.29568379406</c:v>
                </c:pt>
                <c:pt idx="403">
                  <c:v>0.2766555926</c:v>
                </c:pt>
                <c:pt idx="404">
                  <c:v>0.22289037897</c:v>
                </c:pt>
                <c:pt idx="405">
                  <c:v>0.2006593367</c:v>
                </c:pt>
                <c:pt idx="406">
                  <c:v>0.20557004145999999</c:v>
                </c:pt>
                <c:pt idx="407">
                  <c:v>0.20897493529</c:v>
                </c:pt>
                <c:pt idx="408">
                  <c:v>0.33741672432999997</c:v>
                </c:pt>
                <c:pt idx="409">
                  <c:v>0.30504297852000001</c:v>
                </c:pt>
                <c:pt idx="410">
                  <c:v>0.35224964165</c:v>
                </c:pt>
                <c:pt idx="411">
                  <c:v>0.28783155462999999</c:v>
                </c:pt>
                <c:pt idx="412">
                  <c:v>0.27048166769999998</c:v>
                </c:pt>
                <c:pt idx="413">
                  <c:v>0.39682462027999998</c:v>
                </c:pt>
                <c:pt idx="414">
                  <c:v>0.49600120408999998</c:v>
                </c:pt>
                <c:pt idx="415">
                  <c:v>0.60218196591999995</c:v>
                </c:pt>
                <c:pt idx="416">
                  <c:v>0.5923257623</c:v>
                </c:pt>
                <c:pt idx="417">
                  <c:v>0.61445082456</c:v>
                </c:pt>
                <c:pt idx="418">
                  <c:v>0.48385716818000002</c:v>
                </c:pt>
                <c:pt idx="419">
                  <c:v>0.36434182574000001</c:v>
                </c:pt>
                <c:pt idx="420">
                  <c:v>0.31576694518999998</c:v>
                </c:pt>
                <c:pt idx="421">
                  <c:v>0.23063432546000001</c:v>
                </c:pt>
                <c:pt idx="422">
                  <c:v>0.23402098971999999</c:v>
                </c:pt>
                <c:pt idx="423">
                  <c:v>0.19357930602000001</c:v>
                </c:pt>
                <c:pt idx="424">
                  <c:v>0.23277407173</c:v>
                </c:pt>
                <c:pt idx="425">
                  <c:v>0.18284974862</c:v>
                </c:pt>
                <c:pt idx="426">
                  <c:v>0.19644057265000001</c:v>
                </c:pt>
                <c:pt idx="427">
                  <c:v>0.36942281048999998</c:v>
                </c:pt>
                <c:pt idx="428">
                  <c:v>0.58144593391999999</c:v>
                </c:pt>
                <c:pt idx="429">
                  <c:v>0.67421718804999997</c:v>
                </c:pt>
                <c:pt idx="430">
                  <c:v>0.68253808666000004</c:v>
                </c:pt>
                <c:pt idx="431">
                  <c:v>0.69551054141000002</c:v>
                </c:pt>
                <c:pt idx="432">
                  <c:v>0.63066889037999996</c:v>
                </c:pt>
                <c:pt idx="433">
                  <c:v>0.50520575083999997</c:v>
                </c:pt>
                <c:pt idx="434">
                  <c:v>0.39778668292000002</c:v>
                </c:pt>
                <c:pt idx="435">
                  <c:v>0.25180232120000001</c:v>
                </c:pt>
                <c:pt idx="436">
                  <c:v>0.17335351277</c:v>
                </c:pt>
                <c:pt idx="437">
                  <c:v>0.11912963102</c:v>
                </c:pt>
                <c:pt idx="438">
                  <c:v>0.13774667230000001</c:v>
                </c:pt>
                <c:pt idx="439">
                  <c:v>0.11097545775999999</c:v>
                </c:pt>
                <c:pt idx="440">
                  <c:v>1.576504477E-2</c:v>
                </c:pt>
                <c:pt idx="441">
                  <c:v>1.52690585E-2</c:v>
                </c:pt>
                <c:pt idx="442">
                  <c:v>6.201270239E-2</c:v>
                </c:pt>
                <c:pt idx="443">
                  <c:v>0.10016262929</c:v>
                </c:pt>
                <c:pt idx="444">
                  <c:v>0.15373530105</c:v>
                </c:pt>
                <c:pt idx="445">
                  <c:v>0.16934786629000001</c:v>
                </c:pt>
                <c:pt idx="446">
                  <c:v>0.18249859299999999</c:v>
                </c:pt>
                <c:pt idx="447">
                  <c:v>0.13552909116</c:v>
                </c:pt>
                <c:pt idx="448">
                  <c:v>0.16354655710999999</c:v>
                </c:pt>
                <c:pt idx="449">
                  <c:v>0.14284336723999999</c:v>
                </c:pt>
                <c:pt idx="450">
                  <c:v>0.13631849942999999</c:v>
                </c:pt>
                <c:pt idx="451">
                  <c:v>9.563524139E-2</c:v>
                </c:pt>
                <c:pt idx="452">
                  <c:v>7.7234809609999996E-2</c:v>
                </c:pt>
                <c:pt idx="453">
                  <c:v>8.2479644000000005E-2</c:v>
                </c:pt>
                <c:pt idx="454">
                  <c:v>2.396687003E-2</c:v>
                </c:pt>
                <c:pt idx="455">
                  <c:v>2.5651858279999998E-2</c:v>
                </c:pt>
                <c:pt idx="456">
                  <c:v>3.9321891150000003E-2</c:v>
                </c:pt>
                <c:pt idx="457">
                  <c:v>-1.5847111109999999E-2</c:v>
                </c:pt>
                <c:pt idx="458">
                  <c:v>-2.1301164359999999E-2</c:v>
                </c:pt>
                <c:pt idx="459">
                  <c:v>-2.104058449E-2</c:v>
                </c:pt>
                <c:pt idx="460">
                  <c:v>-2.7530194290000001E-2</c:v>
                </c:pt>
                <c:pt idx="461">
                  <c:v>-6.7016036340000001E-2</c:v>
                </c:pt>
                <c:pt idx="462">
                  <c:v>-5.8607272449999998E-2</c:v>
                </c:pt>
                <c:pt idx="463">
                  <c:v>-9.6828680959999996E-2</c:v>
                </c:pt>
                <c:pt idx="464">
                  <c:v>-8.6969958779999995E-2</c:v>
                </c:pt>
                <c:pt idx="465">
                  <c:v>-9.5965239120000004E-2</c:v>
                </c:pt>
                <c:pt idx="466">
                  <c:v>-9.5298033719999994E-2</c:v>
                </c:pt>
                <c:pt idx="467">
                  <c:v>-8.6268348349999996E-2</c:v>
                </c:pt>
                <c:pt idx="468">
                  <c:v>-0.11556937963</c:v>
                </c:pt>
                <c:pt idx="469">
                  <c:v>-0.118504122</c:v>
                </c:pt>
                <c:pt idx="470">
                  <c:v>-0.11535276546000001</c:v>
                </c:pt>
                <c:pt idx="471">
                  <c:v>-0.12293423923000001</c:v>
                </c:pt>
                <c:pt idx="472">
                  <c:v>-0.12638103771</c:v>
                </c:pt>
                <c:pt idx="473">
                  <c:v>-0.13277917275000001</c:v>
                </c:pt>
                <c:pt idx="474">
                  <c:v>-0.1197600143</c:v>
                </c:pt>
                <c:pt idx="475">
                  <c:v>-0.14626180320000001</c:v>
                </c:pt>
                <c:pt idx="476">
                  <c:v>-0.14504621850999999</c:v>
                </c:pt>
                <c:pt idx="477">
                  <c:v>-0.14330147173999999</c:v>
                </c:pt>
                <c:pt idx="478">
                  <c:v>-0.13429079851</c:v>
                </c:pt>
                <c:pt idx="479">
                  <c:v>-0.12418637095</c:v>
                </c:pt>
                <c:pt idx="480">
                  <c:v>-0.12236948384</c:v>
                </c:pt>
                <c:pt idx="481">
                  <c:v>-0.1141429878</c:v>
                </c:pt>
                <c:pt idx="482">
                  <c:v>-0.12529777069</c:v>
                </c:pt>
                <c:pt idx="483">
                  <c:v>-8.082000215E-2</c:v>
                </c:pt>
                <c:pt idx="484">
                  <c:v>1.0423923200000001E-2</c:v>
                </c:pt>
                <c:pt idx="485">
                  <c:v>9.9315454149999996E-2</c:v>
                </c:pt>
                <c:pt idx="486">
                  <c:v>0.13620169237999999</c:v>
                </c:pt>
                <c:pt idx="487">
                  <c:v>0.17194632123</c:v>
                </c:pt>
                <c:pt idx="488">
                  <c:v>0.16840517064999999</c:v>
                </c:pt>
                <c:pt idx="489">
                  <c:v>8.0770281139999997E-2</c:v>
                </c:pt>
                <c:pt idx="490">
                  <c:v>9.9688183080000006E-2</c:v>
                </c:pt>
                <c:pt idx="491">
                  <c:v>4.8487329830000002E-2</c:v>
                </c:pt>
                <c:pt idx="492">
                  <c:v>-6.6447614459999998E-2</c:v>
                </c:pt>
                <c:pt idx="493">
                  <c:v>-0.12795379928</c:v>
                </c:pt>
                <c:pt idx="494">
                  <c:v>-0.13282507456000001</c:v>
                </c:pt>
                <c:pt idx="495">
                  <c:v>-0.10856554384</c:v>
                </c:pt>
                <c:pt idx="496">
                  <c:v>-0.16951466979999999</c:v>
                </c:pt>
                <c:pt idx="497">
                  <c:v>-0.13918497778</c:v>
                </c:pt>
                <c:pt idx="498">
                  <c:v>-7.3807398829999996E-2</c:v>
                </c:pt>
                <c:pt idx="499">
                  <c:v>4.0983190799999999E-2</c:v>
                </c:pt>
                <c:pt idx="500">
                  <c:v>0.16523224818999999</c:v>
                </c:pt>
                <c:pt idx="501">
                  <c:v>0.22136128668999999</c:v>
                </c:pt>
                <c:pt idx="502">
                  <c:v>0.32265939581999997</c:v>
                </c:pt>
                <c:pt idx="503">
                  <c:v>0.35643226624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1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Z_indik_testu_65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1.3173188686E-2</c:v>
                </c:pt>
                <c:pt idx="1">
                  <c:v>2.2382671480000001E-2</c:v>
                </c:pt>
                <c:pt idx="2">
                  <c:v>3.1992084432000002E-2</c:v>
                </c:pt>
                <c:pt idx="3">
                  <c:v>4.2370279397999998E-2</c:v>
                </c:pt>
                <c:pt idx="4">
                  <c:v>4.9746797735999999E-2</c:v>
                </c:pt>
                <c:pt idx="5">
                  <c:v>5.3348796752000001E-2</c:v>
                </c:pt>
                <c:pt idx="6">
                  <c:v>6.0120240480000003E-2</c:v>
                </c:pt>
                <c:pt idx="7">
                  <c:v>6.6720691518000003E-2</c:v>
                </c:pt>
                <c:pt idx="8">
                  <c:v>7.2200263503999995E-2</c:v>
                </c:pt>
                <c:pt idx="9">
                  <c:v>7.7059120768000006E-2</c:v>
                </c:pt>
                <c:pt idx="10">
                  <c:v>7.9605414085000006E-2</c:v>
                </c:pt>
                <c:pt idx="11">
                  <c:v>9.7085342839E-2</c:v>
                </c:pt>
                <c:pt idx="12">
                  <c:v>0.100224078223</c:v>
                </c:pt>
                <c:pt idx="13">
                  <c:v>9.9980472562999995E-2</c:v>
                </c:pt>
                <c:pt idx="14">
                  <c:v>0.102381398837</c:v>
                </c:pt>
                <c:pt idx="15">
                  <c:v>0.107541427122</c:v>
                </c:pt>
                <c:pt idx="16">
                  <c:v>0.116071428571</c:v>
                </c:pt>
                <c:pt idx="17">
                  <c:v>0.122629969418</c:v>
                </c:pt>
                <c:pt idx="18">
                  <c:v>0.11622125543800001</c:v>
                </c:pt>
                <c:pt idx="19">
                  <c:v>0.11477652782</c:v>
                </c:pt>
                <c:pt idx="20">
                  <c:v>0.116051902609</c:v>
                </c:pt>
                <c:pt idx="21">
                  <c:v>0.122344944774</c:v>
                </c:pt>
                <c:pt idx="22">
                  <c:v>0.12366560376999999</c:v>
                </c:pt>
                <c:pt idx="23">
                  <c:v>0.130281211791</c:v>
                </c:pt>
                <c:pt idx="24">
                  <c:v>0.14078110808300001</c:v>
                </c:pt>
                <c:pt idx="25">
                  <c:v>0.14407209951700001</c:v>
                </c:pt>
                <c:pt idx="26">
                  <c:v>0.146060378303</c:v>
                </c:pt>
                <c:pt idx="27">
                  <c:v>0.156983606557</c:v>
                </c:pt>
                <c:pt idx="28">
                  <c:v>0.16034571723400001</c:v>
                </c:pt>
                <c:pt idx="29">
                  <c:v>0.16682738669200001</c:v>
                </c:pt>
                <c:pt idx="30">
                  <c:v>0.17779069767399999</c:v>
                </c:pt>
                <c:pt idx="31">
                  <c:v>0.18621603711000001</c:v>
                </c:pt>
                <c:pt idx="32">
                  <c:v>0.194694960212</c:v>
                </c:pt>
                <c:pt idx="33">
                  <c:v>0.20254605671699999</c:v>
                </c:pt>
                <c:pt idx="34">
                  <c:v>0.21259988849600001</c:v>
                </c:pt>
                <c:pt idx="35">
                  <c:v>0.222019147084</c:v>
                </c:pt>
                <c:pt idx="36">
                  <c:v>0.239334290783</c:v>
                </c:pt>
                <c:pt idx="37">
                  <c:v>0.25448680836900001</c:v>
                </c:pt>
                <c:pt idx="38">
                  <c:v>0.287648323644</c:v>
                </c:pt>
                <c:pt idx="39">
                  <c:v>0.29792219965599998</c:v>
                </c:pt>
                <c:pt idx="40">
                  <c:v>0.30487246066899998</c:v>
                </c:pt>
                <c:pt idx="41">
                  <c:v>0.30794474547799999</c:v>
                </c:pt>
                <c:pt idx="42">
                  <c:v>0.31860248224400001</c:v>
                </c:pt>
                <c:pt idx="43">
                  <c:v>0.32557826788499999</c:v>
                </c:pt>
                <c:pt idx="44">
                  <c:v>0.33374004623600001</c:v>
                </c:pt>
                <c:pt idx="45">
                  <c:v>0.32429365031899998</c:v>
                </c:pt>
                <c:pt idx="46">
                  <c:v>0.333835930083</c:v>
                </c:pt>
                <c:pt idx="47">
                  <c:v>0.33923639317600002</c:v>
                </c:pt>
                <c:pt idx="48">
                  <c:v>0.34646801952200001</c:v>
                </c:pt>
                <c:pt idx="49">
                  <c:v>0.35447852162400001</c:v>
                </c:pt>
                <c:pt idx="50">
                  <c:v>0.36672349444699998</c:v>
                </c:pt>
                <c:pt idx="51">
                  <c:v>0.369977678571</c:v>
                </c:pt>
                <c:pt idx="52">
                  <c:v>0.38683416670100002</c:v>
                </c:pt>
                <c:pt idx="53">
                  <c:v>0.39261704920599999</c:v>
                </c:pt>
                <c:pt idx="54">
                  <c:v>0.39581299066499998</c:v>
                </c:pt>
                <c:pt idx="55">
                  <c:v>0.39486739527699999</c:v>
                </c:pt>
                <c:pt idx="56">
                  <c:v>0.39848237713599999</c:v>
                </c:pt>
                <c:pt idx="57">
                  <c:v>0.40264825229500001</c:v>
                </c:pt>
                <c:pt idx="58">
                  <c:v>0.40501944149800001</c:v>
                </c:pt>
                <c:pt idx="59">
                  <c:v>0.39465247936699999</c:v>
                </c:pt>
                <c:pt idx="60">
                  <c:v>0.38924284085499999</c:v>
                </c:pt>
                <c:pt idx="61">
                  <c:v>0.388030823631</c:v>
                </c:pt>
                <c:pt idx="62">
                  <c:v>0.39471555675300002</c:v>
                </c:pt>
                <c:pt idx="63">
                  <c:v>0.386629281805</c:v>
                </c:pt>
                <c:pt idx="64">
                  <c:v>0.38894360186400001</c:v>
                </c:pt>
                <c:pt idx="65">
                  <c:v>0.38689338937700002</c:v>
                </c:pt>
                <c:pt idx="66">
                  <c:v>0.382804013035</c:v>
                </c:pt>
                <c:pt idx="67">
                  <c:v>0.38046029469199999</c:v>
                </c:pt>
                <c:pt idx="68">
                  <c:v>0.37622214832</c:v>
                </c:pt>
                <c:pt idx="69">
                  <c:v>0.35846046465199999</c:v>
                </c:pt>
                <c:pt idx="70">
                  <c:v>0.34730677607100002</c:v>
                </c:pt>
                <c:pt idx="71">
                  <c:v>0.32751695529000002</c:v>
                </c:pt>
                <c:pt idx="72">
                  <c:v>0.317669302165</c:v>
                </c:pt>
                <c:pt idx="73">
                  <c:v>0.30982753705799998</c:v>
                </c:pt>
                <c:pt idx="74">
                  <c:v>0.30532725642500003</c:v>
                </c:pt>
                <c:pt idx="75">
                  <c:v>0.29828301671200003</c:v>
                </c:pt>
                <c:pt idx="76">
                  <c:v>0.29032016756399998</c:v>
                </c:pt>
                <c:pt idx="77">
                  <c:v>0.29043698543300001</c:v>
                </c:pt>
                <c:pt idx="78">
                  <c:v>0.27553315936200001</c:v>
                </c:pt>
                <c:pt idx="79">
                  <c:v>0.26439729540599999</c:v>
                </c:pt>
                <c:pt idx="80">
                  <c:v>0.25834235653100002</c:v>
                </c:pt>
                <c:pt idx="81">
                  <c:v>0.247086131963</c:v>
                </c:pt>
                <c:pt idx="82">
                  <c:v>0.24750161587</c:v>
                </c:pt>
                <c:pt idx="83">
                  <c:v>0.23999802185800001</c:v>
                </c:pt>
                <c:pt idx="84">
                  <c:v>0.23992879894999999</c:v>
                </c:pt>
                <c:pt idx="85">
                  <c:v>0.24094754653100001</c:v>
                </c:pt>
                <c:pt idx="86">
                  <c:v>0.237246161466</c:v>
                </c:pt>
                <c:pt idx="87">
                  <c:v>0.22850406340900001</c:v>
                </c:pt>
                <c:pt idx="88">
                  <c:v>0.225278356805</c:v>
                </c:pt>
                <c:pt idx="89">
                  <c:v>0.22455120359</c:v>
                </c:pt>
                <c:pt idx="90">
                  <c:v>0.21959777940700001</c:v>
                </c:pt>
                <c:pt idx="91">
                  <c:v>0.215793963954</c:v>
                </c:pt>
                <c:pt idx="92">
                  <c:v>0.21387868136499999</c:v>
                </c:pt>
                <c:pt idx="93">
                  <c:v>0.211420582858</c:v>
                </c:pt>
                <c:pt idx="94">
                  <c:v>0.21382113821099999</c:v>
                </c:pt>
                <c:pt idx="95">
                  <c:v>0.22452892199800001</c:v>
                </c:pt>
                <c:pt idx="96">
                  <c:v>0.223210364514</c:v>
                </c:pt>
                <c:pt idx="97">
                  <c:v>0.236315999316</c:v>
                </c:pt>
                <c:pt idx="98">
                  <c:v>0.24147262784000001</c:v>
                </c:pt>
                <c:pt idx="99">
                  <c:v>0.25576836917500001</c:v>
                </c:pt>
                <c:pt idx="100">
                  <c:v>0.26356632115700002</c:v>
                </c:pt>
                <c:pt idx="101">
                  <c:v>0.263889628722</c:v>
                </c:pt>
                <c:pt idx="102">
                  <c:v>0.260622931876</c:v>
                </c:pt>
                <c:pt idx="103">
                  <c:v>0.26483470643399998</c:v>
                </c:pt>
                <c:pt idx="104">
                  <c:v>0.26636545669200001</c:v>
                </c:pt>
                <c:pt idx="105">
                  <c:v>0.26948480845400002</c:v>
                </c:pt>
                <c:pt idx="106">
                  <c:v>0.26813349814499998</c:v>
                </c:pt>
                <c:pt idx="107">
                  <c:v>0.26951448821099999</c:v>
                </c:pt>
                <c:pt idx="108">
                  <c:v>0.27930494231500003</c:v>
                </c:pt>
                <c:pt idx="109">
                  <c:v>0.27669117307000002</c:v>
                </c:pt>
                <c:pt idx="110">
                  <c:v>0.27869450268899998</c:v>
                </c:pt>
                <c:pt idx="111">
                  <c:v>0.28292317191400002</c:v>
                </c:pt>
                <c:pt idx="112">
                  <c:v>0.285768357305</c:v>
                </c:pt>
                <c:pt idx="113">
                  <c:v>0.299548018079</c:v>
                </c:pt>
                <c:pt idx="114">
                  <c:v>0.30522912935199997</c:v>
                </c:pt>
                <c:pt idx="115">
                  <c:v>0.30575486894100001</c:v>
                </c:pt>
                <c:pt idx="116">
                  <c:v>0.31006534623300003</c:v>
                </c:pt>
                <c:pt idx="117">
                  <c:v>0.30630719762500003</c:v>
                </c:pt>
                <c:pt idx="118">
                  <c:v>0.31734458940900001</c:v>
                </c:pt>
                <c:pt idx="119">
                  <c:v>0.33884789881299998</c:v>
                </c:pt>
                <c:pt idx="120">
                  <c:v>0.34945740521000002</c:v>
                </c:pt>
                <c:pt idx="121">
                  <c:v>0.36118088025</c:v>
                </c:pt>
                <c:pt idx="122">
                  <c:v>0.36733749710800001</c:v>
                </c:pt>
                <c:pt idx="123">
                  <c:v>0.36924803591400002</c:v>
                </c:pt>
                <c:pt idx="124">
                  <c:v>0.37762545361200001</c:v>
                </c:pt>
                <c:pt idx="125">
                  <c:v>0.37508749824999998</c:v>
                </c:pt>
                <c:pt idx="126">
                  <c:v>0.37512193481099998</c:v>
                </c:pt>
                <c:pt idx="127">
                  <c:v>0.381261873812</c:v>
                </c:pt>
                <c:pt idx="128">
                  <c:v>0.37771533215399999</c:v>
                </c:pt>
                <c:pt idx="129">
                  <c:v>0.37305656859199998</c:v>
                </c:pt>
                <c:pt idx="130">
                  <c:v>0.38269905532999998</c:v>
                </c:pt>
                <c:pt idx="131">
                  <c:v>0.38014607325499999</c:v>
                </c:pt>
                <c:pt idx="132">
                  <c:v>0.375013908979</c:v>
                </c:pt>
                <c:pt idx="133">
                  <c:v>0.36395881996700002</c:v>
                </c:pt>
                <c:pt idx="134">
                  <c:v>0.34947104177799998</c:v>
                </c:pt>
                <c:pt idx="135">
                  <c:v>0.32935897838099998</c:v>
                </c:pt>
                <c:pt idx="136">
                  <c:v>0.32457398205799998</c:v>
                </c:pt>
                <c:pt idx="137">
                  <c:v>0.31073736026999998</c:v>
                </c:pt>
                <c:pt idx="138">
                  <c:v>0.30917453569800002</c:v>
                </c:pt>
                <c:pt idx="139">
                  <c:v>0.30707890826000001</c:v>
                </c:pt>
                <c:pt idx="140">
                  <c:v>0.30413935193800001</c:v>
                </c:pt>
                <c:pt idx="141">
                  <c:v>0.29513125939599999</c:v>
                </c:pt>
                <c:pt idx="142">
                  <c:v>0.30151521241099999</c:v>
                </c:pt>
                <c:pt idx="143">
                  <c:v>0.29297574474999999</c:v>
                </c:pt>
                <c:pt idx="144">
                  <c:v>0.28867465908599999</c:v>
                </c:pt>
                <c:pt idx="145">
                  <c:v>0.28512447875800001</c:v>
                </c:pt>
                <c:pt idx="146">
                  <c:v>0.28091850742500002</c:v>
                </c:pt>
                <c:pt idx="147">
                  <c:v>0.27677741144599999</c:v>
                </c:pt>
                <c:pt idx="148">
                  <c:v>0.271711528694</c:v>
                </c:pt>
                <c:pt idx="149">
                  <c:v>0.27137343736800001</c:v>
                </c:pt>
                <c:pt idx="150">
                  <c:v>0.269618384988</c:v>
                </c:pt>
                <c:pt idx="151">
                  <c:v>0.26914929672900001</c:v>
                </c:pt>
                <c:pt idx="152">
                  <c:v>0.27142187566499998</c:v>
                </c:pt>
                <c:pt idx="153">
                  <c:v>0.27157885842200002</c:v>
                </c:pt>
                <c:pt idx="154">
                  <c:v>0.27004449668300001</c:v>
                </c:pt>
                <c:pt idx="155">
                  <c:v>0.27360641891800003</c:v>
                </c:pt>
                <c:pt idx="156">
                  <c:v>0.27015706806200002</c:v>
                </c:pt>
                <c:pt idx="157">
                  <c:v>0.27227180868900003</c:v>
                </c:pt>
                <c:pt idx="158">
                  <c:v>0.27697025709899997</c:v>
                </c:pt>
                <c:pt idx="159">
                  <c:v>0.27617290679599998</c:v>
                </c:pt>
                <c:pt idx="160">
                  <c:v>0.27853900830599998</c:v>
                </c:pt>
                <c:pt idx="161">
                  <c:v>0.27977484968600003</c:v>
                </c:pt>
                <c:pt idx="162">
                  <c:v>0.28241240765499998</c:v>
                </c:pt>
                <c:pt idx="163">
                  <c:v>0.28892710676</c:v>
                </c:pt>
                <c:pt idx="164">
                  <c:v>0.28667166350599999</c:v>
                </c:pt>
                <c:pt idx="165">
                  <c:v>0.28344131517400001</c:v>
                </c:pt>
                <c:pt idx="166">
                  <c:v>0.28462420606900002</c:v>
                </c:pt>
                <c:pt idx="167">
                  <c:v>0.28624292555500003</c:v>
                </c:pt>
                <c:pt idx="168">
                  <c:v>0.29827019925499998</c:v>
                </c:pt>
                <c:pt idx="169">
                  <c:v>0.29695058742199998</c:v>
                </c:pt>
                <c:pt idx="170">
                  <c:v>0.29796072507499999</c:v>
                </c:pt>
                <c:pt idx="171">
                  <c:v>0.30446858916699998</c:v>
                </c:pt>
                <c:pt idx="172">
                  <c:v>0.30995099428900003</c:v>
                </c:pt>
                <c:pt idx="173">
                  <c:v>0.31172130156</c:v>
                </c:pt>
                <c:pt idx="174">
                  <c:v>0.31532064167700002</c:v>
                </c:pt>
                <c:pt idx="175">
                  <c:v>0.31752340913400001</c:v>
                </c:pt>
                <c:pt idx="176">
                  <c:v>0.32492924176900001</c:v>
                </c:pt>
                <c:pt idx="177">
                  <c:v>0.330979473857</c:v>
                </c:pt>
                <c:pt idx="178">
                  <c:v>0.33431190032899999</c:v>
                </c:pt>
                <c:pt idx="179">
                  <c:v>0.33364199729299998</c:v>
                </c:pt>
                <c:pt idx="180">
                  <c:v>0.33408994183500001</c:v>
                </c:pt>
                <c:pt idx="181">
                  <c:v>0.33809992270299999</c:v>
                </c:pt>
                <c:pt idx="182">
                  <c:v>0.336567471201</c:v>
                </c:pt>
                <c:pt idx="183">
                  <c:v>0.33728510149599999</c:v>
                </c:pt>
                <c:pt idx="184">
                  <c:v>0.33722177527399999</c:v>
                </c:pt>
                <c:pt idx="185">
                  <c:v>0.32889289529900001</c:v>
                </c:pt>
                <c:pt idx="186">
                  <c:v>0.33647882627499998</c:v>
                </c:pt>
                <c:pt idx="187">
                  <c:v>0.33490362604899998</c:v>
                </c:pt>
                <c:pt idx="188">
                  <c:v>0.33116621983900002</c:v>
                </c:pt>
                <c:pt idx="189">
                  <c:v>0.32337517339299998</c:v>
                </c:pt>
                <c:pt idx="190">
                  <c:v>0.32047377326499998</c:v>
                </c:pt>
                <c:pt idx="191">
                  <c:v>0.30820918315399998</c:v>
                </c:pt>
                <c:pt idx="192">
                  <c:v>0.32274156074799998</c:v>
                </c:pt>
                <c:pt idx="193">
                  <c:v>0.31396105007300001</c:v>
                </c:pt>
                <c:pt idx="194">
                  <c:v>0.31228106325900001</c:v>
                </c:pt>
                <c:pt idx="195">
                  <c:v>0.30809567306000002</c:v>
                </c:pt>
                <c:pt idx="196">
                  <c:v>0.311347349115</c:v>
                </c:pt>
                <c:pt idx="197">
                  <c:v>0.30680764873400002</c:v>
                </c:pt>
                <c:pt idx="198">
                  <c:v>0.310026798454</c:v>
                </c:pt>
                <c:pt idx="199">
                  <c:v>0.28871919963199999</c:v>
                </c:pt>
                <c:pt idx="200">
                  <c:v>0.284985112717</c:v>
                </c:pt>
                <c:pt idx="201">
                  <c:v>0.28345364674000001</c:v>
                </c:pt>
                <c:pt idx="202">
                  <c:v>0.27644717800200003</c:v>
                </c:pt>
                <c:pt idx="203">
                  <c:v>0.26876379690899999</c:v>
                </c:pt>
                <c:pt idx="204">
                  <c:v>0.26283748014800001</c:v>
                </c:pt>
                <c:pt idx="205">
                  <c:v>0.25542959654899999</c:v>
                </c:pt>
                <c:pt idx="206">
                  <c:v>0.25526078608000002</c:v>
                </c:pt>
                <c:pt idx="207">
                  <c:v>0.253438035635</c:v>
                </c:pt>
                <c:pt idx="208">
                  <c:v>0.25253054805000003</c:v>
                </c:pt>
                <c:pt idx="209">
                  <c:v>0.25005034030000001</c:v>
                </c:pt>
                <c:pt idx="210">
                  <c:v>0.243309801346</c:v>
                </c:pt>
                <c:pt idx="211">
                  <c:v>0.24310474127100001</c:v>
                </c:pt>
                <c:pt idx="212">
                  <c:v>0.23716453978800001</c:v>
                </c:pt>
                <c:pt idx="213">
                  <c:v>0.235365398956</c:v>
                </c:pt>
                <c:pt idx="214">
                  <c:v>0.230846197827</c:v>
                </c:pt>
                <c:pt idx="215">
                  <c:v>0.22958989937300001</c:v>
                </c:pt>
                <c:pt idx="216">
                  <c:v>0.23227990970599999</c:v>
                </c:pt>
                <c:pt idx="217">
                  <c:v>0.20906079829300001</c:v>
                </c:pt>
                <c:pt idx="218">
                  <c:v>0.196455358631</c:v>
                </c:pt>
                <c:pt idx="219">
                  <c:v>0.19047348699800001</c:v>
                </c:pt>
                <c:pt idx="220">
                  <c:v>0.184536949437</c:v>
                </c:pt>
                <c:pt idx="221">
                  <c:v>0.182620963528</c:v>
                </c:pt>
                <c:pt idx="222">
                  <c:v>0.180692283264</c:v>
                </c:pt>
                <c:pt idx="223">
                  <c:v>0.17169687908799999</c:v>
                </c:pt>
                <c:pt idx="224">
                  <c:v>0.17382452738699999</c:v>
                </c:pt>
                <c:pt idx="225">
                  <c:v>0.162867924528</c:v>
                </c:pt>
                <c:pt idx="226">
                  <c:v>0.15293572788500001</c:v>
                </c:pt>
                <c:pt idx="227">
                  <c:v>0.147508270755</c:v>
                </c:pt>
                <c:pt idx="228">
                  <c:v>0.14550420392999999</c:v>
                </c:pt>
                <c:pt idx="229">
                  <c:v>0.14249853121799999</c:v>
                </c:pt>
                <c:pt idx="230">
                  <c:v>0.14022040062900001</c:v>
                </c:pt>
                <c:pt idx="231">
                  <c:v>0.13360481981399999</c:v>
                </c:pt>
                <c:pt idx="232">
                  <c:v>0.128388425025</c:v>
                </c:pt>
                <c:pt idx="233">
                  <c:v>0.12747098956200001</c:v>
                </c:pt>
                <c:pt idx="234">
                  <c:v>0.121087706771</c:v>
                </c:pt>
                <c:pt idx="235">
                  <c:v>0.116317693813</c:v>
                </c:pt>
                <c:pt idx="236">
                  <c:v>0.117044975615</c:v>
                </c:pt>
                <c:pt idx="237">
                  <c:v>0.114112829289</c:v>
                </c:pt>
                <c:pt idx="238">
                  <c:v>0.110888861107</c:v>
                </c:pt>
                <c:pt idx="239">
                  <c:v>0.107396915328</c:v>
                </c:pt>
                <c:pt idx="240">
                  <c:v>0.103504790721</c:v>
                </c:pt>
                <c:pt idx="241">
                  <c:v>0.100707709651</c:v>
                </c:pt>
                <c:pt idx="242">
                  <c:v>0.10287547977</c:v>
                </c:pt>
                <c:pt idx="243">
                  <c:v>0.10023702594800001</c:v>
                </c:pt>
                <c:pt idx="244">
                  <c:v>9.3400953933000005E-2</c:v>
                </c:pt>
                <c:pt idx="245">
                  <c:v>8.8276836157999999E-2</c:v>
                </c:pt>
                <c:pt idx="246">
                  <c:v>8.4062026348999994E-2</c:v>
                </c:pt>
                <c:pt idx="247">
                  <c:v>8.0265009380000002E-2</c:v>
                </c:pt>
                <c:pt idx="248">
                  <c:v>7.6503387492999994E-2</c:v>
                </c:pt>
                <c:pt idx="249">
                  <c:v>7.2117703810000003E-2</c:v>
                </c:pt>
                <c:pt idx="250">
                  <c:v>7.0841889116999998E-2</c:v>
                </c:pt>
                <c:pt idx="251">
                  <c:v>6.8339100346000006E-2</c:v>
                </c:pt>
                <c:pt idx="252">
                  <c:v>6.3821607074000003E-2</c:v>
                </c:pt>
                <c:pt idx="253">
                  <c:v>5.8439416925000001E-2</c:v>
                </c:pt>
                <c:pt idx="254">
                  <c:v>5.4773602443000002E-2</c:v>
                </c:pt>
                <c:pt idx="255">
                  <c:v>5.2649251224999999E-2</c:v>
                </c:pt>
                <c:pt idx="256">
                  <c:v>5.1811716898000001E-2</c:v>
                </c:pt>
                <c:pt idx="257">
                  <c:v>5.0834752981E-2</c:v>
                </c:pt>
                <c:pt idx="258">
                  <c:v>4.5545373112999998E-2</c:v>
                </c:pt>
                <c:pt idx="259">
                  <c:v>4.2943928495999997E-2</c:v>
                </c:pt>
                <c:pt idx="260">
                  <c:v>4.0792134438999997E-2</c:v>
                </c:pt>
                <c:pt idx="261">
                  <c:v>3.7978257799999998E-2</c:v>
                </c:pt>
                <c:pt idx="262">
                  <c:v>3.4358938252000003E-2</c:v>
                </c:pt>
                <c:pt idx="263">
                  <c:v>3.2037259190999999E-2</c:v>
                </c:pt>
                <c:pt idx="264">
                  <c:v>3.1504424778000001E-2</c:v>
                </c:pt>
                <c:pt idx="265">
                  <c:v>3.1172163935999999E-2</c:v>
                </c:pt>
                <c:pt idx="266">
                  <c:v>2.8391663389E-2</c:v>
                </c:pt>
                <c:pt idx="267">
                  <c:v>2.8280447773000001E-2</c:v>
                </c:pt>
                <c:pt idx="268">
                  <c:v>2.6447911062999999E-2</c:v>
                </c:pt>
                <c:pt idx="269">
                  <c:v>2.6566179934000001E-2</c:v>
                </c:pt>
                <c:pt idx="270">
                  <c:v>2.6465758717E-2</c:v>
                </c:pt>
                <c:pt idx="271">
                  <c:v>2.6529400118E-2</c:v>
                </c:pt>
                <c:pt idx="272">
                  <c:v>2.5298231179999998E-2</c:v>
                </c:pt>
                <c:pt idx="273">
                  <c:v>2.3909985934999999E-2</c:v>
                </c:pt>
                <c:pt idx="274">
                  <c:v>2.2169969768000002E-2</c:v>
                </c:pt>
                <c:pt idx="275">
                  <c:v>2.1659826720999999E-2</c:v>
                </c:pt>
                <c:pt idx="276">
                  <c:v>1.9978594363E-2</c:v>
                </c:pt>
                <c:pt idx="277">
                  <c:v>1.9188993482E-2</c:v>
                </c:pt>
                <c:pt idx="278">
                  <c:v>1.8387725279999999E-2</c:v>
                </c:pt>
                <c:pt idx="279">
                  <c:v>1.7634187153999999E-2</c:v>
                </c:pt>
                <c:pt idx="280">
                  <c:v>1.5423147904E-2</c:v>
                </c:pt>
                <c:pt idx="281">
                  <c:v>1.3791238507E-2</c:v>
                </c:pt>
                <c:pt idx="282">
                  <c:v>1.3248766737E-2</c:v>
                </c:pt>
                <c:pt idx="283">
                  <c:v>1.0577472841E-2</c:v>
                </c:pt>
                <c:pt idx="284">
                  <c:v>9.8740698340000002E-3</c:v>
                </c:pt>
                <c:pt idx="285">
                  <c:v>1.0626076967000001E-2</c:v>
                </c:pt>
                <c:pt idx="286">
                  <c:v>9.438202247E-3</c:v>
                </c:pt>
                <c:pt idx="287">
                  <c:v>9.4128193629999992E-3</c:v>
                </c:pt>
                <c:pt idx="288">
                  <c:v>1.0695187165E-2</c:v>
                </c:pt>
                <c:pt idx="289">
                  <c:v>8.7062776840000008E-3</c:v>
                </c:pt>
                <c:pt idx="290">
                  <c:v>8.8286299849999993E-3</c:v>
                </c:pt>
                <c:pt idx="291">
                  <c:v>9.3354430370000008E-3</c:v>
                </c:pt>
                <c:pt idx="292">
                  <c:v>9.1127098320000002E-3</c:v>
                </c:pt>
                <c:pt idx="293">
                  <c:v>8.6760925439999994E-3</c:v>
                </c:pt>
                <c:pt idx="294">
                  <c:v>7.975564228E-3</c:v>
                </c:pt>
                <c:pt idx="295">
                  <c:v>6.2728698370000001E-3</c:v>
                </c:pt>
                <c:pt idx="296">
                  <c:v>5.7616132509999999E-3</c:v>
                </c:pt>
                <c:pt idx="297">
                  <c:v>5.457522284E-3</c:v>
                </c:pt>
                <c:pt idx="298">
                  <c:v>5.1784723500000003E-3</c:v>
                </c:pt>
                <c:pt idx="299">
                  <c:v>4.4485634839999998E-3</c:v>
                </c:pt>
                <c:pt idx="300">
                  <c:v>4.0291634680000004E-3</c:v>
                </c:pt>
                <c:pt idx="301">
                  <c:v>3.0870152420000001E-3</c:v>
                </c:pt>
                <c:pt idx="302">
                  <c:v>2.1700532640000002E-3</c:v>
                </c:pt>
                <c:pt idx="303">
                  <c:v>3.0549898159999999E-3</c:v>
                </c:pt>
                <c:pt idx="304">
                  <c:v>2.9356259170000001E-3</c:v>
                </c:pt>
                <c:pt idx="305">
                  <c:v>3.807106598E-3</c:v>
                </c:pt>
                <c:pt idx="306">
                  <c:v>3.890209639E-3</c:v>
                </c:pt>
                <c:pt idx="307">
                  <c:v>3.836317135E-3</c:v>
                </c:pt>
                <c:pt idx="308">
                  <c:v>4.3750000000000004E-3</c:v>
                </c:pt>
                <c:pt idx="309">
                  <c:v>6.3946406819999999E-3</c:v>
                </c:pt>
                <c:pt idx="310">
                  <c:v>5.5882352940000001E-3</c:v>
                </c:pt>
                <c:pt idx="311">
                  <c:v>6.624423963E-3</c:v>
                </c:pt>
                <c:pt idx="312">
                  <c:v>5.7045065600000002E-3</c:v>
                </c:pt>
                <c:pt idx="313">
                  <c:v>6.4461883399999998E-3</c:v>
                </c:pt>
                <c:pt idx="314">
                  <c:v>9.2054263559999995E-3</c:v>
                </c:pt>
                <c:pt idx="315">
                  <c:v>1.0159965412E-2</c:v>
                </c:pt>
                <c:pt idx="316">
                  <c:v>9.6788385389999995E-3</c:v>
                </c:pt>
                <c:pt idx="317">
                  <c:v>9.9818511790000005E-3</c:v>
                </c:pt>
                <c:pt idx="318">
                  <c:v>1.0562571756E-2</c:v>
                </c:pt>
                <c:pt idx="319">
                  <c:v>1.0978956999000001E-2</c:v>
                </c:pt>
                <c:pt idx="320">
                  <c:v>1.1272141705999999E-2</c:v>
                </c:pt>
                <c:pt idx="321">
                  <c:v>9.2285849500000003E-3</c:v>
                </c:pt>
                <c:pt idx="322">
                  <c:v>8.4786821699999997E-3</c:v>
                </c:pt>
                <c:pt idx="323">
                  <c:v>9.0553108169999993E-3</c:v>
                </c:pt>
                <c:pt idx="324">
                  <c:v>9.2367525520000004E-3</c:v>
                </c:pt>
                <c:pt idx="325">
                  <c:v>9.320578857E-3</c:v>
                </c:pt>
                <c:pt idx="326">
                  <c:v>9.0597453469999992E-3</c:v>
                </c:pt>
                <c:pt idx="327">
                  <c:v>8.30078125E-3</c:v>
                </c:pt>
                <c:pt idx="328">
                  <c:v>1.0236412380999999E-2</c:v>
                </c:pt>
                <c:pt idx="329">
                  <c:v>1.0266438523E-2</c:v>
                </c:pt>
                <c:pt idx="330">
                  <c:v>1.0168650793E-2</c:v>
                </c:pt>
                <c:pt idx="331">
                  <c:v>1.1366506693E-2</c:v>
                </c:pt>
                <c:pt idx="332">
                  <c:v>1.0749936012E-2</c:v>
                </c:pt>
                <c:pt idx="333">
                  <c:v>1.0373443983E-2</c:v>
                </c:pt>
                <c:pt idx="334">
                  <c:v>1.0693792383E-2</c:v>
                </c:pt>
                <c:pt idx="335">
                  <c:v>1.0182207931E-2</c:v>
                </c:pt>
                <c:pt idx="336">
                  <c:v>1.0673234811E-2</c:v>
                </c:pt>
                <c:pt idx="337">
                  <c:v>1.0761589403E-2</c:v>
                </c:pt>
                <c:pt idx="338">
                  <c:v>1.0201190137999999E-2</c:v>
                </c:pt>
                <c:pt idx="339">
                  <c:v>1.1618022101999999E-2</c:v>
                </c:pt>
                <c:pt idx="340">
                  <c:v>1.1704253497E-2</c:v>
                </c:pt>
                <c:pt idx="341">
                  <c:v>1.1458034947E-2</c:v>
                </c:pt>
                <c:pt idx="342">
                  <c:v>1.1085844229E-2</c:v>
                </c:pt>
                <c:pt idx="343">
                  <c:v>1.0608598548E-2</c:v>
                </c:pt>
                <c:pt idx="344">
                  <c:v>1.1624688624E-2</c:v>
                </c:pt>
                <c:pt idx="345">
                  <c:v>1.1372867587000001E-2</c:v>
                </c:pt>
                <c:pt idx="346">
                  <c:v>1.059602649E-2</c:v>
                </c:pt>
                <c:pt idx="347">
                  <c:v>1.0260457774E-2</c:v>
                </c:pt>
                <c:pt idx="348">
                  <c:v>1.1041009463E-2</c:v>
                </c:pt>
                <c:pt idx="349">
                  <c:v>1.1283127787E-2</c:v>
                </c:pt>
                <c:pt idx="350">
                  <c:v>1.1823436678E-2</c:v>
                </c:pt>
                <c:pt idx="351">
                  <c:v>1.1303890641E-2</c:v>
                </c:pt>
                <c:pt idx="352">
                  <c:v>1.0715242432E-2</c:v>
                </c:pt>
                <c:pt idx="353">
                  <c:v>1.0549093859E-2</c:v>
                </c:pt>
                <c:pt idx="354">
                  <c:v>1.1634199134E-2</c:v>
                </c:pt>
                <c:pt idx="355">
                  <c:v>1.1021505375999999E-2</c:v>
                </c:pt>
                <c:pt idx="356">
                  <c:v>9.1719077560000004E-3</c:v>
                </c:pt>
                <c:pt idx="357">
                  <c:v>1.1119936457000001E-2</c:v>
                </c:pt>
                <c:pt idx="358">
                  <c:v>1.2001043568999999E-2</c:v>
                </c:pt>
                <c:pt idx="359">
                  <c:v>1.3154566152000001E-2</c:v>
                </c:pt>
                <c:pt idx="360">
                  <c:v>1.2999999999999999E-2</c:v>
                </c:pt>
                <c:pt idx="361">
                  <c:v>1.3052208835000001E-2</c:v>
                </c:pt>
                <c:pt idx="362">
                  <c:v>1.2740444666E-2</c:v>
                </c:pt>
                <c:pt idx="363">
                  <c:v>1.3151239251000001E-2</c:v>
                </c:pt>
                <c:pt idx="364">
                  <c:v>1.1653313911E-2</c:v>
                </c:pt>
                <c:pt idx="365">
                  <c:v>1.3759213758999999E-2</c:v>
                </c:pt>
                <c:pt idx="366">
                  <c:v>1.5228426394999999E-2</c:v>
                </c:pt>
                <c:pt idx="367">
                  <c:v>1.9443110897000002E-2</c:v>
                </c:pt>
                <c:pt idx="368">
                  <c:v>2.0510374432999998E-2</c:v>
                </c:pt>
                <c:pt idx="369">
                  <c:v>2.1827776444999999E-2</c:v>
                </c:pt>
                <c:pt idx="370">
                  <c:v>2.5035427491E-2</c:v>
                </c:pt>
                <c:pt idx="371">
                  <c:v>2.9404790135000001E-2</c:v>
                </c:pt>
                <c:pt idx="372">
                  <c:v>2.7681660899E-2</c:v>
                </c:pt>
                <c:pt idx="373">
                  <c:v>2.7415730337E-2</c:v>
                </c:pt>
                <c:pt idx="374">
                  <c:v>2.6379424049000001E-2</c:v>
                </c:pt>
                <c:pt idx="375">
                  <c:v>2.5495750708E-2</c:v>
                </c:pt>
                <c:pt idx="376">
                  <c:v>2.5233848161000001E-2</c:v>
                </c:pt>
                <c:pt idx="377">
                  <c:v>2.3599425404999999E-2</c:v>
                </c:pt>
                <c:pt idx="378">
                  <c:v>2.3246245628000001E-2</c:v>
                </c:pt>
                <c:pt idx="379">
                  <c:v>2.3090945918000001E-2</c:v>
                </c:pt>
                <c:pt idx="380">
                  <c:v>2.4603497355999999E-2</c:v>
                </c:pt>
                <c:pt idx="381">
                  <c:v>2.8072989773E-2</c:v>
                </c:pt>
                <c:pt idx="382">
                  <c:v>2.8444623764000001E-2</c:v>
                </c:pt>
                <c:pt idx="383">
                  <c:v>2.9500909273999999E-2</c:v>
                </c:pt>
                <c:pt idx="384">
                  <c:v>3.1093716024999999E-2</c:v>
                </c:pt>
                <c:pt idx="385">
                  <c:v>2.9320669006E-2</c:v>
                </c:pt>
                <c:pt idx="386">
                  <c:v>3.0662305805000001E-2</c:v>
                </c:pt>
                <c:pt idx="387">
                  <c:v>2.8918099089000001E-2</c:v>
                </c:pt>
                <c:pt idx="388">
                  <c:v>2.5641025641000001E-2</c:v>
                </c:pt>
                <c:pt idx="389">
                  <c:v>2.692003167E-2</c:v>
                </c:pt>
                <c:pt idx="390">
                  <c:v>2.7875932469000001E-2</c:v>
                </c:pt>
                <c:pt idx="391">
                  <c:v>2.9238690695E-2</c:v>
                </c:pt>
                <c:pt idx="392">
                  <c:v>3.1135531134999998E-2</c:v>
                </c:pt>
                <c:pt idx="393">
                  <c:v>3.0717399919999999E-2</c:v>
                </c:pt>
                <c:pt idx="394">
                  <c:v>3.6290322579999999E-2</c:v>
                </c:pt>
                <c:pt idx="395">
                  <c:v>4.0334855402999997E-2</c:v>
                </c:pt>
                <c:pt idx="396">
                  <c:v>4.1682384006000002E-2</c:v>
                </c:pt>
                <c:pt idx="397">
                  <c:v>4.1988326115000002E-2</c:v>
                </c:pt>
                <c:pt idx="398">
                  <c:v>4.2851865533000001E-2</c:v>
                </c:pt>
                <c:pt idx="399">
                  <c:v>4.7405189620000003E-2</c:v>
                </c:pt>
                <c:pt idx="400">
                  <c:v>5.4835002462000001E-2</c:v>
                </c:pt>
                <c:pt idx="401">
                  <c:v>5.6254029657999999E-2</c:v>
                </c:pt>
                <c:pt idx="402">
                  <c:v>5.9000793021000003E-2</c:v>
                </c:pt>
                <c:pt idx="403">
                  <c:v>5.8767471410000001E-2</c:v>
                </c:pt>
                <c:pt idx="404">
                  <c:v>5.8312262958000002E-2</c:v>
                </c:pt>
                <c:pt idx="405">
                  <c:v>6.1989205859000002E-2</c:v>
                </c:pt>
                <c:pt idx="406">
                  <c:v>6.2108957728999999E-2</c:v>
                </c:pt>
                <c:pt idx="407">
                  <c:v>6.0980934361000001E-2</c:v>
                </c:pt>
                <c:pt idx="408">
                  <c:v>6.2217029355000002E-2</c:v>
                </c:pt>
                <c:pt idx="409">
                  <c:v>6.5780265919999997E-2</c:v>
                </c:pt>
                <c:pt idx="410">
                  <c:v>7.0187440141999999E-2</c:v>
                </c:pt>
                <c:pt idx="411">
                  <c:v>7.1360994728999996E-2</c:v>
                </c:pt>
                <c:pt idx="412">
                  <c:v>7.7546882918999999E-2</c:v>
                </c:pt>
                <c:pt idx="413">
                  <c:v>8.7706771390999999E-2</c:v>
                </c:pt>
                <c:pt idx="414">
                  <c:v>9.4799815922E-2</c:v>
                </c:pt>
                <c:pt idx="415">
                  <c:v>0.100842127704</c:v>
                </c:pt>
                <c:pt idx="416">
                  <c:v>0.10988126383500001</c:v>
                </c:pt>
                <c:pt idx="417">
                  <c:v>0.112387122104</c:v>
                </c:pt>
                <c:pt idx="418">
                  <c:v>0.115458937198</c:v>
                </c:pt>
                <c:pt idx="419">
                  <c:v>0.12231343971899999</c:v>
                </c:pt>
                <c:pt idx="420">
                  <c:v>0.129394361294</c:v>
                </c:pt>
                <c:pt idx="421">
                  <c:v>0.13585837793300001</c:v>
                </c:pt>
                <c:pt idx="422">
                  <c:v>0.14511545293</c:v>
                </c:pt>
                <c:pt idx="423">
                  <c:v>0.15165023574700001</c:v>
                </c:pt>
                <c:pt idx="424">
                  <c:v>0.15704061251599999</c:v>
                </c:pt>
                <c:pt idx="425">
                  <c:v>0.158364850728</c:v>
                </c:pt>
                <c:pt idx="426">
                  <c:v>0.17242680350100001</c:v>
                </c:pt>
                <c:pt idx="427">
                  <c:v>0.18410398465799999</c:v>
                </c:pt>
                <c:pt idx="428">
                  <c:v>0.201718466805</c:v>
                </c:pt>
                <c:pt idx="429">
                  <c:v>0.209329446064</c:v>
                </c:pt>
                <c:pt idx="430">
                  <c:v>0.22311066688799999</c:v>
                </c:pt>
                <c:pt idx="431">
                  <c:v>0.22782400609100001</c:v>
                </c:pt>
                <c:pt idx="432">
                  <c:v>0.23121512541299999</c:v>
                </c:pt>
                <c:pt idx="433">
                  <c:v>0.23676703645</c:v>
                </c:pt>
                <c:pt idx="434">
                  <c:v>0.244041033893</c:v>
                </c:pt>
                <c:pt idx="435">
                  <c:v>0.24485125858099999</c:v>
                </c:pt>
                <c:pt idx="436">
                  <c:v>0.245352802728</c:v>
                </c:pt>
                <c:pt idx="437">
                  <c:v>0.247005988023</c:v>
                </c:pt>
                <c:pt idx="438">
                  <c:v>0.24757997603000001</c:v>
                </c:pt>
                <c:pt idx="439">
                  <c:v>0.24883487160699999</c:v>
                </c:pt>
                <c:pt idx="440">
                  <c:v>0.24798619102399999</c:v>
                </c:pt>
                <c:pt idx="441">
                  <c:v>0.249989243147</c:v>
                </c:pt>
                <c:pt idx="442">
                  <c:v>0.25773812261399998</c:v>
                </c:pt>
                <c:pt idx="443">
                  <c:v>0.256117747058</c:v>
                </c:pt>
                <c:pt idx="444">
                  <c:v>0.26417910447699999</c:v>
                </c:pt>
                <c:pt idx="445">
                  <c:v>0.271742289011</c:v>
                </c:pt>
                <c:pt idx="446">
                  <c:v>0.27186568078700002</c:v>
                </c:pt>
                <c:pt idx="447">
                  <c:v>0.274359181693</c:v>
                </c:pt>
                <c:pt idx="448">
                  <c:v>0.278671384912</c:v>
                </c:pt>
                <c:pt idx="449">
                  <c:v>0.26323518876699997</c:v>
                </c:pt>
                <c:pt idx="450">
                  <c:v>0.27501230401400001</c:v>
                </c:pt>
                <c:pt idx="451">
                  <c:v>0.27494252873500002</c:v>
                </c:pt>
                <c:pt idx="452">
                  <c:v>0.27203781438399999</c:v>
                </c:pt>
                <c:pt idx="453">
                  <c:v>0.27460720073200001</c:v>
                </c:pt>
                <c:pt idx="454">
                  <c:v>0.276079387186</c:v>
                </c:pt>
                <c:pt idx="455">
                  <c:v>0.27473329395000001</c:v>
                </c:pt>
                <c:pt idx="456">
                  <c:v>0.28500615222300002</c:v>
                </c:pt>
                <c:pt idx="457">
                  <c:v>0.28204679794300003</c:v>
                </c:pt>
                <c:pt idx="458">
                  <c:v>0.27899686520299999</c:v>
                </c:pt>
                <c:pt idx="459">
                  <c:v>0.27631578947300001</c:v>
                </c:pt>
                <c:pt idx="460">
                  <c:v>0.27116508591999999</c:v>
                </c:pt>
                <c:pt idx="461">
                  <c:v>0.269456837334</c:v>
                </c:pt>
                <c:pt idx="462">
                  <c:v>0.26591110324</c:v>
                </c:pt>
                <c:pt idx="463">
                  <c:v>0.262557324955</c:v>
                </c:pt>
                <c:pt idx="464">
                  <c:v>0.25790736298200001</c:v>
                </c:pt>
                <c:pt idx="465">
                  <c:v>0.25283821239999998</c:v>
                </c:pt>
                <c:pt idx="466">
                  <c:v>0.24878612716699999</c:v>
                </c:pt>
                <c:pt idx="467">
                  <c:v>0.24895202608200001</c:v>
                </c:pt>
                <c:pt idx="468">
                  <c:v>0.24139283193399999</c:v>
                </c:pt>
                <c:pt idx="469">
                  <c:v>0.23817148346799999</c:v>
                </c:pt>
                <c:pt idx="470">
                  <c:v>0.23250092262200001</c:v>
                </c:pt>
                <c:pt idx="471">
                  <c:v>0.22327189911799999</c:v>
                </c:pt>
                <c:pt idx="472">
                  <c:v>0.21405681621299999</c:v>
                </c:pt>
                <c:pt idx="473">
                  <c:v>0.210854289123</c:v>
                </c:pt>
                <c:pt idx="474">
                  <c:v>0.20886752136699999</c:v>
                </c:pt>
                <c:pt idx="475">
                  <c:v>0.20352205848800001</c:v>
                </c:pt>
                <c:pt idx="476">
                  <c:v>0.19686927090600001</c:v>
                </c:pt>
                <c:pt idx="477">
                  <c:v>0.19108096406399999</c:v>
                </c:pt>
                <c:pt idx="478">
                  <c:v>0.18484380449400001</c:v>
                </c:pt>
                <c:pt idx="479">
                  <c:v>0.180112786281</c:v>
                </c:pt>
                <c:pt idx="480">
                  <c:v>0.17519661221999999</c:v>
                </c:pt>
                <c:pt idx="481">
                  <c:v>0.17224151587100001</c:v>
                </c:pt>
                <c:pt idx="482">
                  <c:v>0.17000500751100001</c:v>
                </c:pt>
                <c:pt idx="483">
                  <c:v>0.16199417287099999</c:v>
                </c:pt>
                <c:pt idx="484">
                  <c:v>0.15852590446600001</c:v>
                </c:pt>
                <c:pt idx="485">
                  <c:v>0.157695939565</c:v>
                </c:pt>
                <c:pt idx="486">
                  <c:v>0.15917232859700001</c:v>
                </c:pt>
                <c:pt idx="487">
                  <c:v>0.16001737295999999</c:v>
                </c:pt>
                <c:pt idx="488">
                  <c:v>0.15830518882399999</c:v>
                </c:pt>
                <c:pt idx="489">
                  <c:v>0.15450542999700001</c:v>
                </c:pt>
                <c:pt idx="490">
                  <c:v>0.15170330592299999</c:v>
                </c:pt>
                <c:pt idx="491">
                  <c:v>0.145312919688</c:v>
                </c:pt>
                <c:pt idx="492">
                  <c:v>0.13943803047</c:v>
                </c:pt>
                <c:pt idx="493">
                  <c:v>0.13503152585100001</c:v>
                </c:pt>
                <c:pt idx="494">
                  <c:v>0.13559821296999999</c:v>
                </c:pt>
                <c:pt idx="495">
                  <c:v>0.13608940757499999</c:v>
                </c:pt>
                <c:pt idx="496">
                  <c:v>0.12883372123</c:v>
                </c:pt>
                <c:pt idx="497">
                  <c:v>0.120802113093</c:v>
                </c:pt>
                <c:pt idx="498">
                  <c:v>0.12052920731</c:v>
                </c:pt>
                <c:pt idx="499">
                  <c:v>0.120533892871</c:v>
                </c:pt>
                <c:pt idx="500">
                  <c:v>0.12202862103999999</c:v>
                </c:pt>
                <c:pt idx="501">
                  <c:v>0.123220773033</c:v>
                </c:pt>
                <c:pt idx="502">
                  <c:v>0.12367597496299999</c:v>
                </c:pt>
                <c:pt idx="503">
                  <c:v>0.131221043192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Z_indik_testu_65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0.84424641625999997</c:v>
                </c:pt>
                <c:pt idx="1">
                  <c:v>2.2691135181000002</c:v>
                </c:pt>
                <c:pt idx="2">
                  <c:v>3.1955333584500001</c:v>
                </c:pt>
                <c:pt idx="3">
                  <c:v>4.9006189104900004</c:v>
                </c:pt>
                <c:pt idx="4">
                  <c:v>5.70534468442</c:v>
                </c:pt>
                <c:pt idx="5">
                  <c:v>5.9789925935300001</c:v>
                </c:pt>
                <c:pt idx="6">
                  <c:v>4.01503006004</c:v>
                </c:pt>
                <c:pt idx="7">
                  <c:v>2.1861696381</c:v>
                </c:pt>
                <c:pt idx="8">
                  <c:v>1.5140131752499999</c:v>
                </c:pt>
                <c:pt idx="9">
                  <c:v>1.01228143738</c:v>
                </c:pt>
                <c:pt idx="10">
                  <c:v>0.69499013266999998</c:v>
                </c:pt>
                <c:pt idx="11">
                  <c:v>0.87400950961000001</c:v>
                </c:pt>
                <c:pt idx="12">
                  <c:v>0.84412303932999999</c:v>
                </c:pt>
                <c:pt idx="13">
                  <c:v>0.60464842415999998</c:v>
                </c:pt>
                <c:pt idx="14">
                  <c:v>0.44945206617</c:v>
                </c:pt>
                <c:pt idx="15">
                  <c:v>0.46419377451999999</c:v>
                </c:pt>
                <c:pt idx="16">
                  <c:v>0.48696108879</c:v>
                </c:pt>
                <c:pt idx="17">
                  <c:v>0.27401659761000002</c:v>
                </c:pt>
                <c:pt idx="18">
                  <c:v>0.16745390512</c:v>
                </c:pt>
                <c:pt idx="19">
                  <c:v>0.18961749277000001</c:v>
                </c:pt>
                <c:pt idx="20">
                  <c:v>0.17313336333000001</c:v>
                </c:pt>
                <c:pt idx="21">
                  <c:v>0.15117073397</c:v>
                </c:pt>
                <c:pt idx="22">
                  <c:v>0.1075810029</c:v>
                </c:pt>
                <c:pt idx="23">
                  <c:v>0.11369896251</c:v>
                </c:pt>
                <c:pt idx="24">
                  <c:v>0.13472398154000001</c:v>
                </c:pt>
                <c:pt idx="25">
                  <c:v>0.2452715634</c:v>
                </c:pt>
                <c:pt idx="26">
                  <c:v>0.30678340825</c:v>
                </c:pt>
                <c:pt idx="27">
                  <c:v>0.31965377048999999</c:v>
                </c:pt>
                <c:pt idx="28">
                  <c:v>0.29664180956000002</c:v>
                </c:pt>
                <c:pt idx="29">
                  <c:v>0.28366832099</c:v>
                </c:pt>
                <c:pt idx="30">
                  <c:v>0.28376843390000001</c:v>
                </c:pt>
                <c:pt idx="31">
                  <c:v>0.29715366337999999</c:v>
                </c:pt>
                <c:pt idx="32">
                  <c:v>0.35312997347000002</c:v>
                </c:pt>
                <c:pt idx="33">
                  <c:v>0.3552829629</c:v>
                </c:pt>
                <c:pt idx="34">
                  <c:v>0.35123436646</c:v>
                </c:pt>
                <c:pt idx="35">
                  <c:v>0.37253375287000001</c:v>
                </c:pt>
                <c:pt idx="36">
                  <c:v>0.36982974617999997</c:v>
                </c:pt>
                <c:pt idx="37">
                  <c:v>0.37247638943</c:v>
                </c:pt>
                <c:pt idx="38">
                  <c:v>0.49431851363000001</c:v>
                </c:pt>
                <c:pt idx="39">
                  <c:v>0.49734355291999999</c:v>
                </c:pt>
                <c:pt idx="40">
                  <c:v>0.44204294544</c:v>
                </c:pt>
                <c:pt idx="41">
                  <c:v>0.42655319388000001</c:v>
                </c:pt>
                <c:pt idx="42">
                  <c:v>0.38860110436</c:v>
                </c:pt>
                <c:pt idx="43">
                  <c:v>0.31130487640999999</c:v>
                </c:pt>
                <c:pt idx="44">
                  <c:v>0.19712364064999999</c:v>
                </c:pt>
                <c:pt idx="45">
                  <c:v>0.10787173529000001</c:v>
                </c:pt>
                <c:pt idx="46">
                  <c:v>0.10764519597</c:v>
                </c:pt>
                <c:pt idx="47">
                  <c:v>0.12184545704999999</c:v>
                </c:pt>
                <c:pt idx="48">
                  <c:v>0.12482001198999999</c:v>
                </c:pt>
                <c:pt idx="49">
                  <c:v>0.11477338421</c:v>
                </c:pt>
                <c:pt idx="50">
                  <c:v>0.11367143389999999</c:v>
                </c:pt>
                <c:pt idx="51">
                  <c:v>0.10755580881</c:v>
                </c:pt>
                <c:pt idx="52">
                  <c:v>0.15823192575</c:v>
                </c:pt>
                <c:pt idx="53">
                  <c:v>0.15706588647</c:v>
                </c:pt>
                <c:pt idx="54">
                  <c:v>0.15972495648999999</c:v>
                </c:pt>
                <c:pt idx="55">
                  <c:v>0.13172032553999999</c:v>
                </c:pt>
                <c:pt idx="56">
                  <c:v>0.10640128711000001</c:v>
                </c:pt>
                <c:pt idx="57">
                  <c:v>9.5235066209999997E-2</c:v>
                </c:pt>
                <c:pt idx="58">
                  <c:v>6.5034053410000001E-2</c:v>
                </c:pt>
                <c:pt idx="59">
                  <c:v>4.5107816500000002E-3</c:v>
                </c:pt>
                <c:pt idx="60">
                  <c:v>-1.686012311E-2</c:v>
                </c:pt>
                <c:pt idx="61">
                  <c:v>-8.0263645600000006E-3</c:v>
                </c:pt>
                <c:pt idx="62">
                  <c:v>1.8332630100000001E-3</c:v>
                </c:pt>
                <c:pt idx="63">
                  <c:v>-3.4690678599999997E-2</c:v>
                </c:pt>
                <c:pt idx="64">
                  <c:v>-2.8945777159999998E-2</c:v>
                </c:pt>
                <c:pt idx="65">
                  <c:v>-3.2479896389999999E-2</c:v>
                </c:pt>
                <c:pt idx="66">
                  <c:v>-2.844795202E-2</c:v>
                </c:pt>
                <c:pt idx="67">
                  <c:v>-2.730891953E-2</c:v>
                </c:pt>
                <c:pt idx="68">
                  <c:v>-3.7213710830000003E-2</c:v>
                </c:pt>
                <c:pt idx="69">
                  <c:v>-7.3906283990000002E-2</c:v>
                </c:pt>
                <c:pt idx="70">
                  <c:v>-0.11406279734999999</c:v>
                </c:pt>
                <c:pt idx="71">
                  <c:v>-0.15372285079</c:v>
                </c:pt>
                <c:pt idx="72">
                  <c:v>-0.16707249443</c:v>
                </c:pt>
                <c:pt idx="73">
                  <c:v>-0.18789719021000001</c:v>
                </c:pt>
                <c:pt idx="74">
                  <c:v>-0.19446051324999999</c:v>
                </c:pt>
                <c:pt idx="75">
                  <c:v>-0.18140794689</c:v>
                </c:pt>
                <c:pt idx="76">
                  <c:v>-0.1626662203</c:v>
                </c:pt>
                <c:pt idx="77">
                  <c:v>-0.14906806281000001</c:v>
                </c:pt>
                <c:pt idx="78">
                  <c:v>-0.15778689527</c:v>
                </c:pt>
                <c:pt idx="79">
                  <c:v>-0.16364274044999999</c:v>
                </c:pt>
                <c:pt idx="80">
                  <c:v>-0.17386743936999999</c:v>
                </c:pt>
                <c:pt idx="81">
                  <c:v>-0.18083156248999999</c:v>
                </c:pt>
                <c:pt idx="82">
                  <c:v>-0.13927866515000001</c:v>
                </c:pt>
                <c:pt idx="83">
                  <c:v>-0.16836427905000001</c:v>
                </c:pt>
                <c:pt idx="84">
                  <c:v>-0.14783588705</c:v>
                </c:pt>
                <c:pt idx="85">
                  <c:v>-0.12213834192</c:v>
                </c:pt>
                <c:pt idx="86">
                  <c:v>-0.11038102733000001</c:v>
                </c:pt>
                <c:pt idx="87">
                  <c:v>-0.11101170401</c:v>
                </c:pt>
                <c:pt idx="88">
                  <c:v>-8.3885209190000004E-2</c:v>
                </c:pt>
                <c:pt idx="89">
                  <c:v>-5.0539356309999998E-2</c:v>
                </c:pt>
                <c:pt idx="90">
                  <c:v>-9.4978197200000003E-2</c:v>
                </c:pt>
                <c:pt idx="91">
                  <c:v>-9.5850606719999995E-2</c:v>
                </c:pt>
                <c:pt idx="92">
                  <c:v>-0.1154335757</c:v>
                </c:pt>
                <c:pt idx="93">
                  <c:v>-0.10381529816</c:v>
                </c:pt>
                <c:pt idx="94">
                  <c:v>-5.8546782909999998E-2</c:v>
                </c:pt>
                <c:pt idx="95">
                  <c:v>1.4790012E-4</c:v>
                </c:pt>
                <c:pt idx="96">
                  <c:v>4.6971444479999999E-2</c:v>
                </c:pt>
                <c:pt idx="97">
                  <c:v>6.2918176000000006E-2</c:v>
                </c:pt>
                <c:pt idx="98">
                  <c:v>0.11683637556</c:v>
                </c:pt>
                <c:pt idx="99">
                  <c:v>0.18146089301000001</c:v>
                </c:pt>
                <c:pt idx="100">
                  <c:v>0.22243590653</c:v>
                </c:pt>
                <c:pt idx="101">
                  <c:v>0.18129865889999999</c:v>
                </c:pt>
                <c:pt idx="102">
                  <c:v>0.17146228966999999</c:v>
                </c:pt>
                <c:pt idx="103">
                  <c:v>0.19399959026999999</c:v>
                </c:pt>
                <c:pt idx="104">
                  <c:v>0.10450043308</c:v>
                </c:pt>
                <c:pt idx="105">
                  <c:v>7.7170741010000002E-2</c:v>
                </c:pt>
                <c:pt idx="106">
                  <c:v>3.3367314129999999E-2</c:v>
                </c:pt>
                <c:pt idx="107">
                  <c:v>3.1720206379999998E-2</c:v>
                </c:pt>
                <c:pt idx="108">
                  <c:v>4.9169637049999999E-2</c:v>
                </c:pt>
                <c:pt idx="109">
                  <c:v>6.0333639260000002E-2</c:v>
                </c:pt>
                <c:pt idx="110">
                  <c:v>7.5386898640000005E-2</c:v>
                </c:pt>
                <c:pt idx="111">
                  <c:v>5.0988508959999998E-2</c:v>
                </c:pt>
                <c:pt idx="112">
                  <c:v>4.9886153949999998E-2</c:v>
                </c:pt>
                <c:pt idx="113">
                  <c:v>0.10528338525</c:v>
                </c:pt>
                <c:pt idx="114">
                  <c:v>0.10995282298</c:v>
                </c:pt>
                <c:pt idx="115">
                  <c:v>0.10102637149</c:v>
                </c:pt>
                <c:pt idx="116">
                  <c:v>0.11489008153999999</c:v>
                </c:pt>
                <c:pt idx="117">
                  <c:v>0.11115282302</c:v>
                </c:pt>
                <c:pt idx="118">
                  <c:v>0.11076727122</c:v>
                </c:pt>
                <c:pt idx="119">
                  <c:v>0.13799215126</c:v>
                </c:pt>
                <c:pt idx="120">
                  <c:v>0.15396428962</c:v>
                </c:pt>
                <c:pt idx="121">
                  <c:v>0.18206858939000001</c:v>
                </c:pt>
                <c:pt idx="122">
                  <c:v>0.20458709366</c:v>
                </c:pt>
                <c:pt idx="123">
                  <c:v>0.20714416093999999</c:v>
                </c:pt>
                <c:pt idx="124">
                  <c:v>0.22676657384999999</c:v>
                </c:pt>
                <c:pt idx="125">
                  <c:v>0.12954627156000001</c:v>
                </c:pt>
                <c:pt idx="126">
                  <c:v>7.0814513209999999E-2</c:v>
                </c:pt>
                <c:pt idx="127">
                  <c:v>5.5840752190000002E-2</c:v>
                </c:pt>
                <c:pt idx="128">
                  <c:v>3.6739447610000003E-2</c:v>
                </c:pt>
                <c:pt idx="129">
                  <c:v>2.2688319179999999E-2</c:v>
                </c:pt>
                <c:pt idx="130">
                  <c:v>3.3893557919999998E-2</c:v>
                </c:pt>
                <c:pt idx="131">
                  <c:v>3.7421654649999997E-2</c:v>
                </c:pt>
                <c:pt idx="132">
                  <c:v>-5.5021608699999999E-3</c:v>
                </c:pt>
                <c:pt idx="133">
                  <c:v>-4.9863975460000001E-2</c:v>
                </c:pt>
                <c:pt idx="134">
                  <c:v>-8.7385941920000001E-2</c:v>
                </c:pt>
                <c:pt idx="135">
                  <c:v>-0.12137009208000001</c:v>
                </c:pt>
                <c:pt idx="136">
                  <c:v>-0.14559878379999999</c:v>
                </c:pt>
                <c:pt idx="137">
                  <c:v>-0.18257460192</c:v>
                </c:pt>
                <c:pt idx="138">
                  <c:v>-0.15643136561000001</c:v>
                </c:pt>
                <c:pt idx="139">
                  <c:v>-0.16432342904</c:v>
                </c:pt>
                <c:pt idx="140">
                  <c:v>-0.15683089438</c:v>
                </c:pt>
                <c:pt idx="141">
                  <c:v>-0.13053336105999999</c:v>
                </c:pt>
                <c:pt idx="142">
                  <c:v>-8.8573779079999998E-2</c:v>
                </c:pt>
                <c:pt idx="143">
                  <c:v>-9.8669066030000002E-2</c:v>
                </c:pt>
                <c:pt idx="144">
                  <c:v>-7.055737258E-2</c:v>
                </c:pt>
                <c:pt idx="145">
                  <c:v>-5.5061811779999997E-2</c:v>
                </c:pt>
                <c:pt idx="146">
                  <c:v>-8.3001321239999995E-2</c:v>
                </c:pt>
                <c:pt idx="147">
                  <c:v>-8.4087220749999997E-2</c:v>
                </c:pt>
                <c:pt idx="148">
                  <c:v>-8.2390818840000005E-2</c:v>
                </c:pt>
                <c:pt idx="149">
                  <c:v>-9.6481319329999995E-2</c:v>
                </c:pt>
                <c:pt idx="150">
                  <c:v>-7.8007597710000001E-2</c:v>
                </c:pt>
                <c:pt idx="151">
                  <c:v>-6.0032596510000001E-2</c:v>
                </c:pt>
                <c:pt idx="152">
                  <c:v>-1.8575051790000002E-2</c:v>
                </c:pt>
                <c:pt idx="153">
                  <c:v>-3.2822194460000002E-2</c:v>
                </c:pt>
                <c:pt idx="154">
                  <c:v>-1.6364593850000001E-2</c:v>
                </c:pt>
                <c:pt idx="155">
                  <c:v>-6.9771003600000003E-3</c:v>
                </c:pt>
                <c:pt idx="156">
                  <c:v>-1.085762344E-2</c:v>
                </c:pt>
                <c:pt idx="157">
                  <c:v>6.5663639000000003E-3</c:v>
                </c:pt>
                <c:pt idx="158">
                  <c:v>2.603480788E-2</c:v>
                </c:pt>
                <c:pt idx="159">
                  <c:v>4.2728074009999999E-2</c:v>
                </c:pt>
                <c:pt idx="160">
                  <c:v>2.582357037E-2</c:v>
                </c:pt>
                <c:pt idx="161">
                  <c:v>2.914283678E-2</c:v>
                </c:pt>
                <c:pt idx="162">
                  <c:v>3.012578544E-2</c:v>
                </c:pt>
                <c:pt idx="163">
                  <c:v>5.4874805890000003E-2</c:v>
                </c:pt>
                <c:pt idx="164">
                  <c:v>3.3840547579999998E-2</c:v>
                </c:pt>
                <c:pt idx="165">
                  <c:v>2.4658143550000001E-2</c:v>
                </c:pt>
                <c:pt idx="166">
                  <c:v>5.0923065490000002E-2</c:v>
                </c:pt>
                <c:pt idx="167">
                  <c:v>2.7961613390000001E-2</c:v>
                </c:pt>
                <c:pt idx="168">
                  <c:v>5.6221944230000001E-2</c:v>
                </c:pt>
                <c:pt idx="169">
                  <c:v>3.393711974E-2</c:v>
                </c:pt>
                <c:pt idx="170">
                  <c:v>3.3963828350000003E-2</c:v>
                </c:pt>
                <c:pt idx="171">
                  <c:v>5.803370394E-2</c:v>
                </c:pt>
                <c:pt idx="172">
                  <c:v>9.1925723360000003E-2</c:v>
                </c:pt>
                <c:pt idx="173">
                  <c:v>0.11613381873</c:v>
                </c:pt>
                <c:pt idx="174">
                  <c:v>6.8846255310000007E-2</c:v>
                </c:pt>
                <c:pt idx="175">
                  <c:v>6.8512220730000004E-2</c:v>
                </c:pt>
                <c:pt idx="176">
                  <c:v>8.0818515339999994E-2</c:v>
                </c:pt>
                <c:pt idx="177">
                  <c:v>9.7266804770000007E-2</c:v>
                </c:pt>
                <c:pt idx="178">
                  <c:v>8.1168573009999995E-2</c:v>
                </c:pt>
                <c:pt idx="179">
                  <c:v>7.362539136E-2</c:v>
                </c:pt>
                <c:pt idx="180">
                  <c:v>9.1182946299999998E-2</c:v>
                </c:pt>
                <c:pt idx="181">
                  <c:v>5.3263342480000003E-2</c:v>
                </c:pt>
                <c:pt idx="182">
                  <c:v>5.0443007800000002E-2</c:v>
                </c:pt>
                <c:pt idx="183">
                  <c:v>2.3181437499999999E-2</c:v>
                </c:pt>
                <c:pt idx="184">
                  <c:v>1.4321845830000001E-2</c:v>
                </c:pt>
                <c:pt idx="185">
                  <c:v>-2.0241970889999999E-2</c:v>
                </c:pt>
                <c:pt idx="186">
                  <c:v>8.3101041799999997E-3</c:v>
                </c:pt>
                <c:pt idx="187">
                  <c:v>1.6635593069999999E-2</c:v>
                </c:pt>
                <c:pt idx="188">
                  <c:v>-2.1631052049999999E-2</c:v>
                </c:pt>
                <c:pt idx="189">
                  <c:v>-4.0739083330000002E-2</c:v>
                </c:pt>
                <c:pt idx="190">
                  <c:v>-5.7050736019999999E-2</c:v>
                </c:pt>
                <c:pt idx="191">
                  <c:v>-6.7637317089999996E-2</c:v>
                </c:pt>
                <c:pt idx="192">
                  <c:v>-4.4037310580000003E-2</c:v>
                </c:pt>
                <c:pt idx="193">
                  <c:v>-6.2536329840000002E-2</c:v>
                </c:pt>
                <c:pt idx="194">
                  <c:v>-4.541325635E-2</c:v>
                </c:pt>
                <c:pt idx="195">
                  <c:v>-5.5349874399999999E-2</c:v>
                </c:pt>
                <c:pt idx="196">
                  <c:v>-3.7397273170000002E-2</c:v>
                </c:pt>
                <c:pt idx="197">
                  <c:v>-2.5834694040000002E-2</c:v>
                </c:pt>
                <c:pt idx="198">
                  <c:v>-2.5621995420000002E-2</c:v>
                </c:pt>
                <c:pt idx="199">
                  <c:v>-0.10892997821</c:v>
                </c:pt>
                <c:pt idx="200">
                  <c:v>-8.6394862389999993E-2</c:v>
                </c:pt>
                <c:pt idx="201">
                  <c:v>-6.712976189E-2</c:v>
                </c:pt>
                <c:pt idx="202">
                  <c:v>-0.10642974392</c:v>
                </c:pt>
                <c:pt idx="203">
                  <c:v>-0.13136753306999999</c:v>
                </c:pt>
                <c:pt idx="204">
                  <c:v>-0.14066845678000001</c:v>
                </c:pt>
                <c:pt idx="205">
                  <c:v>-0.15418445140000001</c:v>
                </c:pt>
                <c:pt idx="206">
                  <c:v>-0.11737352584999999</c:v>
                </c:pt>
                <c:pt idx="207">
                  <c:v>-0.1041864639</c:v>
                </c:pt>
                <c:pt idx="208">
                  <c:v>-7.573875863E-2</c:v>
                </c:pt>
                <c:pt idx="209">
                  <c:v>-9.5988949759999997E-2</c:v>
                </c:pt>
                <c:pt idx="210">
                  <c:v>-9.3335947990000001E-2</c:v>
                </c:pt>
                <c:pt idx="211">
                  <c:v>-7.1459363540000001E-2</c:v>
                </c:pt>
                <c:pt idx="212">
                  <c:v>-6.8962251119999998E-2</c:v>
                </c:pt>
                <c:pt idx="213">
                  <c:v>-8.3882871740000003E-2</c:v>
                </c:pt>
                <c:pt idx="214">
                  <c:v>-8.3777834770000004E-2</c:v>
                </c:pt>
                <c:pt idx="215">
                  <c:v>-5.876129771E-2</c:v>
                </c:pt>
                <c:pt idx="216">
                  <c:v>-6.721311932E-2</c:v>
                </c:pt>
                <c:pt idx="217">
                  <c:v>-0.15182164189</c:v>
                </c:pt>
                <c:pt idx="218">
                  <c:v>-0.18108203208000001</c:v>
                </c:pt>
                <c:pt idx="219">
                  <c:v>-0.19846356009999999</c:v>
                </c:pt>
                <c:pt idx="220">
                  <c:v>-0.21407430897999999</c:v>
                </c:pt>
                <c:pt idx="221">
                  <c:v>-0.20272987137000001</c:v>
                </c:pt>
                <c:pt idx="222">
                  <c:v>-0.19751684715000001</c:v>
                </c:pt>
                <c:pt idx="223">
                  <c:v>-0.20455580063000001</c:v>
                </c:pt>
                <c:pt idx="224">
                  <c:v>-0.16753216256</c:v>
                </c:pt>
                <c:pt idx="225">
                  <c:v>-0.16719162227000001</c:v>
                </c:pt>
                <c:pt idx="226">
                  <c:v>-0.19351298702</c:v>
                </c:pt>
                <c:pt idx="227">
                  <c:v>-0.20494359792</c:v>
                </c:pt>
                <c:pt idx="228">
                  <c:v>-0.19942830614000001</c:v>
                </c:pt>
                <c:pt idx="229">
                  <c:v>-0.16511371250000001</c:v>
                </c:pt>
                <c:pt idx="230">
                  <c:v>-0.17414815342000001</c:v>
                </c:pt>
                <c:pt idx="231">
                  <c:v>-0.21607576888999999</c:v>
                </c:pt>
                <c:pt idx="232">
                  <c:v>-0.19018716869999999</c:v>
                </c:pt>
                <c:pt idx="233">
                  <c:v>-0.16632248725000001</c:v>
                </c:pt>
                <c:pt idx="234">
                  <c:v>-0.18949227881</c:v>
                </c:pt>
                <c:pt idx="235">
                  <c:v>-0.18993034665</c:v>
                </c:pt>
                <c:pt idx="236">
                  <c:v>-0.14533343805999999</c:v>
                </c:pt>
                <c:pt idx="237">
                  <c:v>-0.17288242002000001</c:v>
                </c:pt>
                <c:pt idx="238">
                  <c:v>-0.1577475897</c:v>
                </c:pt>
                <c:pt idx="239">
                  <c:v>-0.15916379975</c:v>
                </c:pt>
                <c:pt idx="240">
                  <c:v>-0.17599432841000001</c:v>
                </c:pt>
                <c:pt idx="241">
                  <c:v>-0.16339071330999999</c:v>
                </c:pt>
                <c:pt idx="242">
                  <c:v>-0.11737343852</c:v>
                </c:pt>
                <c:pt idx="243">
                  <c:v>-0.11237769449</c:v>
                </c:pt>
                <c:pt idx="244">
                  <c:v>-0.17558662587000001</c:v>
                </c:pt>
                <c:pt idx="245">
                  <c:v>-0.19169498432000001</c:v>
                </c:pt>
                <c:pt idx="246">
                  <c:v>-0.20908001711999999</c:v>
                </c:pt>
                <c:pt idx="247">
                  <c:v>-0.21547975454000001</c:v>
                </c:pt>
                <c:pt idx="248">
                  <c:v>-0.25994682302</c:v>
                </c:pt>
                <c:pt idx="249">
                  <c:v>-0.28755679315999999</c:v>
                </c:pt>
                <c:pt idx="250">
                  <c:v>-0.23967639135999999</c:v>
                </c:pt>
                <c:pt idx="251">
                  <c:v>-0.25090847149000001</c:v>
                </c:pt>
                <c:pt idx="252">
                  <c:v>-0.25928933435000001</c:v>
                </c:pt>
                <c:pt idx="253">
                  <c:v>-0.29401588082000002</c:v>
                </c:pt>
                <c:pt idx="254">
                  <c:v>-0.30635718852999999</c:v>
                </c:pt>
                <c:pt idx="255">
                  <c:v>-0.31147084991000001</c:v>
                </c:pt>
                <c:pt idx="256">
                  <c:v>-0.26949242736000001</c:v>
                </c:pt>
                <c:pt idx="257">
                  <c:v>-0.2457435983</c:v>
                </c:pt>
                <c:pt idx="258">
                  <c:v>-0.31732466100000001</c:v>
                </c:pt>
                <c:pt idx="259">
                  <c:v>-0.29468798056000001</c:v>
                </c:pt>
                <c:pt idx="260">
                  <c:v>-0.29022495442000001</c:v>
                </c:pt>
                <c:pt idx="261">
                  <c:v>-0.30607427136999998</c:v>
                </c:pt>
                <c:pt idx="262">
                  <c:v>-0.35584140377000001</c:v>
                </c:pt>
                <c:pt idx="263">
                  <c:v>-0.36818789224999998</c:v>
                </c:pt>
                <c:pt idx="264">
                  <c:v>-0.32308876054000002</c:v>
                </c:pt>
                <c:pt idx="265">
                  <c:v>-0.31053318857000001</c:v>
                </c:pt>
                <c:pt idx="266">
                  <c:v>-0.30733420059</c:v>
                </c:pt>
                <c:pt idx="267">
                  <c:v>-0.29110344247999997</c:v>
                </c:pt>
                <c:pt idx="268">
                  <c:v>-0.28241244648000002</c:v>
                </c:pt>
                <c:pt idx="269">
                  <c:v>-0.21772737871</c:v>
                </c:pt>
                <c:pt idx="270">
                  <c:v>-0.15806157767000001</c:v>
                </c:pt>
                <c:pt idx="271">
                  <c:v>-0.12722501404</c:v>
                </c:pt>
                <c:pt idx="272">
                  <c:v>-0.18062735316</c:v>
                </c:pt>
                <c:pt idx="273">
                  <c:v>-0.16139670355999999</c:v>
                </c:pt>
                <c:pt idx="274">
                  <c:v>-0.19966409133999999</c:v>
                </c:pt>
                <c:pt idx="275">
                  <c:v>-0.19731975475999999</c:v>
                </c:pt>
                <c:pt idx="276">
                  <c:v>-0.24680026569999999</c:v>
                </c:pt>
                <c:pt idx="277">
                  <c:v>-0.26424110148000002</c:v>
                </c:pt>
                <c:pt idx="278">
                  <c:v>-0.26485510215000002</c:v>
                </c:pt>
                <c:pt idx="279">
                  <c:v>-0.28900727132999998</c:v>
                </c:pt>
                <c:pt idx="280">
                  <c:v>-0.33787046740999999</c:v>
                </c:pt>
                <c:pt idx="281">
                  <c:v>-0.36905083829000002</c:v>
                </c:pt>
                <c:pt idx="282">
                  <c:v>-0.38815346543000001</c:v>
                </c:pt>
                <c:pt idx="283">
                  <c:v>-0.46091362552999998</c:v>
                </c:pt>
                <c:pt idx="284">
                  <c:v>-0.46248032339</c:v>
                </c:pt>
                <c:pt idx="285">
                  <c:v>-0.39573454175</c:v>
                </c:pt>
                <c:pt idx="286">
                  <c:v>-0.42672359548</c:v>
                </c:pt>
                <c:pt idx="287">
                  <c:v>-0.35414718164999998</c:v>
                </c:pt>
                <c:pt idx="288">
                  <c:v>-0.25026737971000002</c:v>
                </c:pt>
                <c:pt idx="289">
                  <c:v>-0.28300725291000001</c:v>
                </c:pt>
                <c:pt idx="290">
                  <c:v>-0.12337589996999999</c:v>
                </c:pt>
                <c:pt idx="291">
                  <c:v>-8.039662451E-2</c:v>
                </c:pt>
                <c:pt idx="292">
                  <c:v>-0.10565262069</c:v>
                </c:pt>
                <c:pt idx="293">
                  <c:v>-8.2731531610000006E-2</c:v>
                </c:pt>
                <c:pt idx="294">
                  <c:v>-0.23504369590999999</c:v>
                </c:pt>
                <c:pt idx="295">
                  <c:v>-0.36744380561000001</c:v>
                </c:pt>
                <c:pt idx="296">
                  <c:v>-0.30095574302</c:v>
                </c:pt>
                <c:pt idx="297">
                  <c:v>-0.38411861018999999</c:v>
                </c:pt>
                <c:pt idx="298">
                  <c:v>-0.45297248426999998</c:v>
                </c:pt>
                <c:pt idx="299">
                  <c:v>-0.47840593147999999</c:v>
                </c:pt>
                <c:pt idx="300">
                  <c:v>-0.51294128939000005</c:v>
                </c:pt>
                <c:pt idx="301">
                  <c:v>-0.6086480111</c:v>
                </c:pt>
                <c:pt idx="302">
                  <c:v>-0.61455162022999998</c:v>
                </c:pt>
                <c:pt idx="303">
                  <c:v>-0.42934587281999997</c:v>
                </c:pt>
                <c:pt idx="304">
                  <c:v>-0.46470696165000003</c:v>
                </c:pt>
                <c:pt idx="305">
                  <c:v>-0.22090282822999999</c:v>
                </c:pt>
                <c:pt idx="306">
                  <c:v>-0.10233412568</c:v>
                </c:pt>
                <c:pt idx="307">
                  <c:v>8.3236456690000002E-2</c:v>
                </c:pt>
                <c:pt idx="308">
                  <c:v>0.51709558842000003</c:v>
                </c:pt>
                <c:pt idx="309">
                  <c:v>1.29527634</c:v>
                </c:pt>
                <c:pt idx="310">
                  <c:v>0.94400735354999998</c:v>
                </c:pt>
                <c:pt idx="311">
                  <c:v>0.67796659024000006</c:v>
                </c:pt>
                <c:pt idx="312">
                  <c:v>0.56873930414999996</c:v>
                </c:pt>
                <c:pt idx="313">
                  <c:v>0.68822279905999995</c:v>
                </c:pt>
                <c:pt idx="314">
                  <c:v>1.57751937998</c:v>
                </c:pt>
                <c:pt idx="315">
                  <c:v>0.84541917226999996</c:v>
                </c:pt>
                <c:pt idx="316">
                  <c:v>0.64298284207</c:v>
                </c:pt>
                <c:pt idx="317">
                  <c:v>0.71687840289000004</c:v>
                </c:pt>
                <c:pt idx="318">
                  <c:v>0.54497924574000001</c:v>
                </c:pt>
                <c:pt idx="319">
                  <c:v>0.80914117508000005</c:v>
                </c:pt>
                <c:pt idx="320">
                  <c:v>0.29398406203999999</c:v>
                </c:pt>
                <c:pt idx="321">
                  <c:v>-3.4729284700000002E-2</c:v>
                </c:pt>
                <c:pt idx="322">
                  <c:v>-0.12897845858000001</c:v>
                </c:pt>
                <c:pt idx="323">
                  <c:v>1.4788431600000001E-3</c:v>
                </c:pt>
                <c:pt idx="324">
                  <c:v>-7.9403662309999998E-2</c:v>
                </c:pt>
                <c:pt idx="325">
                  <c:v>-0.14049642413999999</c:v>
                </c:pt>
                <c:pt idx="326">
                  <c:v>-0.19315998643999999</c:v>
                </c:pt>
                <c:pt idx="327">
                  <c:v>-0.22500887782000001</c:v>
                </c:pt>
                <c:pt idx="328">
                  <c:v>0.14368643787999999</c:v>
                </c:pt>
                <c:pt idx="329">
                  <c:v>0.17379613781</c:v>
                </c:pt>
                <c:pt idx="330">
                  <c:v>0.18204365078000001</c:v>
                </c:pt>
                <c:pt idx="331">
                  <c:v>0.20030310686</c:v>
                </c:pt>
                <c:pt idx="332">
                  <c:v>0.13437420012000001</c:v>
                </c:pt>
                <c:pt idx="333">
                  <c:v>0.18885127758</c:v>
                </c:pt>
                <c:pt idx="334">
                  <c:v>8.9652886439999996E-2</c:v>
                </c:pt>
                <c:pt idx="335">
                  <c:v>3.5768853650000001E-2</c:v>
                </c:pt>
                <c:pt idx="336">
                  <c:v>4.6421729629999998E-2</c:v>
                </c:pt>
                <c:pt idx="337">
                  <c:v>1.8837004960000001E-2</c:v>
                </c:pt>
                <c:pt idx="338">
                  <c:v>-5.378756774E-2</c:v>
                </c:pt>
                <c:pt idx="339">
                  <c:v>0.11189752437</c:v>
                </c:pt>
                <c:pt idx="340">
                  <c:v>0.14395144301000001</c:v>
                </c:pt>
                <c:pt idx="341">
                  <c:v>-2.4899191200000001E-3</c:v>
                </c:pt>
                <c:pt idx="342">
                  <c:v>9.1451754630000007E-2</c:v>
                </c:pt>
                <c:pt idx="343">
                  <c:v>-6.7001671000000004E-4</c:v>
                </c:pt>
                <c:pt idx="344">
                  <c:v>9.2720730690000003E-2</c:v>
                </c:pt>
                <c:pt idx="345">
                  <c:v>3.9985558240000003E-2</c:v>
                </c:pt>
                <c:pt idx="346">
                  <c:v>-6.1882026780000002E-2</c:v>
                </c:pt>
                <c:pt idx="347">
                  <c:v>-8.6330664880000005E-2</c:v>
                </c:pt>
                <c:pt idx="348">
                  <c:v>-7.0126182960000005E-2</c:v>
                </c:pt>
                <c:pt idx="349">
                  <c:v>7.2410009250000004E-2</c:v>
                </c:pt>
                <c:pt idx="350">
                  <c:v>3.4058066140000003E-2</c:v>
                </c:pt>
                <c:pt idx="351">
                  <c:v>1.1337449960000001E-2</c:v>
                </c:pt>
                <c:pt idx="352">
                  <c:v>-4.6343423529999997E-2</c:v>
                </c:pt>
                <c:pt idx="353">
                  <c:v>4.9506191550000002E-2</c:v>
                </c:pt>
                <c:pt idx="354">
                  <c:v>9.3344155900000003E-2</c:v>
                </c:pt>
                <c:pt idx="355">
                  <c:v>-5.7765266750000002E-2</c:v>
                </c:pt>
                <c:pt idx="356">
                  <c:v>-0.18003144656</c:v>
                </c:pt>
                <c:pt idx="357">
                  <c:v>-7.2639261489999996E-2</c:v>
                </c:pt>
                <c:pt idx="358">
                  <c:v>0.15343363196000001</c:v>
                </c:pt>
                <c:pt idx="359">
                  <c:v>0.24825394040000001</c:v>
                </c:pt>
                <c:pt idx="360">
                  <c:v>0.18181818181000001</c:v>
                </c:pt>
                <c:pt idx="361">
                  <c:v>0.14859437753999999</c:v>
                </c:pt>
                <c:pt idx="362">
                  <c:v>0.25825739393000002</c:v>
                </c:pt>
                <c:pt idx="363">
                  <c:v>0.19058974116999999</c:v>
                </c:pt>
                <c:pt idx="364">
                  <c:v>-4.0328019149999998E-2</c:v>
                </c:pt>
                <c:pt idx="365">
                  <c:v>0.13997634004000001</c:v>
                </c:pt>
                <c:pt idx="366">
                  <c:v>0.21617363903</c:v>
                </c:pt>
                <c:pt idx="367">
                  <c:v>0.46232660385000002</c:v>
                </c:pt>
                <c:pt idx="368">
                  <c:v>0.65127863606000003</c:v>
                </c:pt>
                <c:pt idx="369">
                  <c:v>0.82932084350000002</c:v>
                </c:pt>
                <c:pt idx="370">
                  <c:v>0.91359501433000001</c:v>
                </c:pt>
                <c:pt idx="371">
                  <c:v>1.04968684178</c:v>
                </c:pt>
                <c:pt idx="372">
                  <c:v>0.86285881372999995</c:v>
                </c:pt>
                <c:pt idx="373">
                  <c:v>0.52677256883000001</c:v>
                </c:pt>
                <c:pt idx="374">
                  <c:v>0.29867933779</c:v>
                </c:pt>
                <c:pt idx="375">
                  <c:v>0.23377263210999999</c:v>
                </c:pt>
                <c:pt idx="376">
                  <c:v>0.12831349636</c:v>
                </c:pt>
                <c:pt idx="377">
                  <c:v>-0.11907219494</c:v>
                </c:pt>
                <c:pt idx="378">
                  <c:v>-0.17708290474999999</c:v>
                </c:pt>
                <c:pt idx="379">
                  <c:v>-0.13063431352999999</c:v>
                </c:pt>
                <c:pt idx="380">
                  <c:v>-0.10180148885</c:v>
                </c:pt>
                <c:pt idx="381">
                  <c:v>8.3794242970000002E-2</c:v>
                </c:pt>
                <c:pt idx="382">
                  <c:v>0.13218928688000001</c:v>
                </c:pt>
                <c:pt idx="383">
                  <c:v>0.23903818953</c:v>
                </c:pt>
                <c:pt idx="384">
                  <c:v>0.24132289010999999</c:v>
                </c:pt>
                <c:pt idx="385">
                  <c:v>0.28018551751999998</c:v>
                </c:pt>
                <c:pt idx="386">
                  <c:v>0.27559635962000001</c:v>
                </c:pt>
                <c:pt idx="387">
                  <c:v>3.4268309419999997E-2</c:v>
                </c:pt>
                <c:pt idx="388">
                  <c:v>-7.9868329840000002E-2</c:v>
                </c:pt>
                <c:pt idx="389">
                  <c:v>-7.0100098070000005E-2</c:v>
                </c:pt>
                <c:pt idx="390">
                  <c:v>-2.280320165E-2</c:v>
                </c:pt>
                <c:pt idx="391">
                  <c:v>-2.5551016629999999E-2</c:v>
                </c:pt>
                <c:pt idx="392">
                  <c:v>6.4014827479999994E-2</c:v>
                </c:pt>
                <c:pt idx="393">
                  <c:v>5.7451090660000002E-2</c:v>
                </c:pt>
                <c:pt idx="394">
                  <c:v>0.26098197342000001</c:v>
                </c:pt>
                <c:pt idx="395">
                  <c:v>0.50583460174999995</c:v>
                </c:pt>
                <c:pt idx="396">
                  <c:v>0.46793290518000002</c:v>
                </c:pt>
                <c:pt idx="397">
                  <c:v>0.47984992553</c:v>
                </c:pt>
                <c:pt idx="398">
                  <c:v>0.42374119531999999</c:v>
                </c:pt>
                <c:pt idx="399">
                  <c:v>0.55647039255999997</c:v>
                </c:pt>
                <c:pt idx="400">
                  <c:v>0.61443830064000005</c:v>
                </c:pt>
                <c:pt idx="401">
                  <c:v>0.46354626115999997</c:v>
                </c:pt>
                <c:pt idx="402">
                  <c:v>0.41176897538000001</c:v>
                </c:pt>
                <c:pt idx="403">
                  <c:v>0.37992907765</c:v>
                </c:pt>
                <c:pt idx="404">
                  <c:v>0.42996575668999998</c:v>
                </c:pt>
                <c:pt idx="405">
                  <c:v>0.32298015662000001</c:v>
                </c:pt>
                <c:pt idx="406">
                  <c:v>0.21929690700999999</c:v>
                </c:pt>
                <c:pt idx="407">
                  <c:v>0.10116322224</c:v>
                </c:pt>
                <c:pt idx="408">
                  <c:v>7.8477653389999999E-2</c:v>
                </c:pt>
                <c:pt idx="409">
                  <c:v>0.11642801575</c:v>
                </c:pt>
                <c:pt idx="410">
                  <c:v>0.2038868932</c:v>
                </c:pt>
                <c:pt idx="411">
                  <c:v>0.23430466615000001</c:v>
                </c:pt>
                <c:pt idx="412">
                  <c:v>0.23476007522</c:v>
                </c:pt>
                <c:pt idx="413">
                  <c:v>0.40791516257999999</c:v>
                </c:pt>
                <c:pt idx="414">
                  <c:v>0.5374140879</c:v>
                </c:pt>
                <c:pt idx="415">
                  <c:v>0.53324605215999998</c:v>
                </c:pt>
                <c:pt idx="416">
                  <c:v>0.57962018720999997</c:v>
                </c:pt>
                <c:pt idx="417">
                  <c:v>0.59630956368999999</c:v>
                </c:pt>
                <c:pt idx="418">
                  <c:v>0.55416456017000004</c:v>
                </c:pt>
                <c:pt idx="419">
                  <c:v>0.43425280359000001</c:v>
                </c:pt>
                <c:pt idx="420">
                  <c:v>0.43085760269000001</c:v>
                </c:pt>
                <c:pt idx="421">
                  <c:v>0.39844801388000001</c:v>
                </c:pt>
                <c:pt idx="422">
                  <c:v>0.36197274144000002</c:v>
                </c:pt>
                <c:pt idx="423">
                  <c:v>0.34530052108999998</c:v>
                </c:pt>
                <c:pt idx="424">
                  <c:v>0.37996078576999998</c:v>
                </c:pt>
                <c:pt idx="425">
                  <c:v>0.3537743599</c:v>
                </c:pt>
                <c:pt idx="426">
                  <c:v>0.34194809474999999</c:v>
                </c:pt>
                <c:pt idx="427">
                  <c:v>0.39485249088000002</c:v>
                </c:pt>
                <c:pt idx="428">
                  <c:v>0.44004265778000001</c:v>
                </c:pt>
                <c:pt idx="429">
                  <c:v>0.40421736186000001</c:v>
                </c:pt>
                <c:pt idx="430">
                  <c:v>0.42568272527000001</c:v>
                </c:pt>
                <c:pt idx="431">
                  <c:v>0.44707140649999999</c:v>
                </c:pt>
                <c:pt idx="432">
                  <c:v>0.40066460871999998</c:v>
                </c:pt>
                <c:pt idx="433">
                  <c:v>0.3126749097</c:v>
                </c:pt>
                <c:pt idx="434">
                  <c:v>0.25794648400999998</c:v>
                </c:pt>
                <c:pt idx="435">
                  <c:v>0.17338907734</c:v>
                </c:pt>
                <c:pt idx="436">
                  <c:v>0.13231207417999999</c:v>
                </c:pt>
                <c:pt idx="437">
                  <c:v>9.0398863290000006E-2</c:v>
                </c:pt>
                <c:pt idx="438">
                  <c:v>8.7541560239999996E-2</c:v>
                </c:pt>
                <c:pt idx="439">
                  <c:v>8.0793976710000007E-2</c:v>
                </c:pt>
                <c:pt idx="440">
                  <c:v>3.347784878E-2</c:v>
                </c:pt>
                <c:pt idx="441">
                  <c:v>2.469639249E-2</c:v>
                </c:pt>
                <c:pt idx="442">
                  <c:v>5.2723285549999999E-2</c:v>
                </c:pt>
                <c:pt idx="443">
                  <c:v>3.2105025240000001E-2</c:v>
                </c:pt>
                <c:pt idx="444">
                  <c:v>6.1608623539999997E-2</c:v>
                </c:pt>
                <c:pt idx="445">
                  <c:v>9.7049610150000007E-2</c:v>
                </c:pt>
                <c:pt idx="446">
                  <c:v>0.11043907561999999</c:v>
                </c:pt>
                <c:pt idx="447">
                  <c:v>9.4393186000000004E-2</c:v>
                </c:pt>
                <c:pt idx="448">
                  <c:v>9.0150851800000001E-2</c:v>
                </c:pt>
                <c:pt idx="449">
                  <c:v>3.3943574880000001E-2</c:v>
                </c:pt>
                <c:pt idx="450">
                  <c:v>4.1361062759999997E-2</c:v>
                </c:pt>
                <c:pt idx="451">
                  <c:v>1.218194991E-2</c:v>
                </c:pt>
                <c:pt idx="452">
                  <c:v>4.6514120399999996E-3</c:v>
                </c:pt>
                <c:pt idx="453">
                  <c:v>2.879563123E-2</c:v>
                </c:pt>
                <c:pt idx="454">
                  <c:v>-6.7228912000000002E-4</c:v>
                </c:pt>
                <c:pt idx="455">
                  <c:v>2.9007254390000001E-2</c:v>
                </c:pt>
                <c:pt idx="456">
                  <c:v>5.416922196E-2</c:v>
                </c:pt>
                <c:pt idx="457">
                  <c:v>1.1944359769999999E-2</c:v>
                </c:pt>
                <c:pt idx="458">
                  <c:v>4.76023257E-3</c:v>
                </c:pt>
                <c:pt idx="459">
                  <c:v>9.8416123000000001E-3</c:v>
                </c:pt>
                <c:pt idx="460">
                  <c:v>-5.8121039999999997E-5</c:v>
                </c:pt>
                <c:pt idx="461">
                  <c:v>-2.4965014819999999E-2</c:v>
                </c:pt>
                <c:pt idx="462">
                  <c:v>-2.794495264E-2</c:v>
                </c:pt>
                <c:pt idx="463">
                  <c:v>-8.3342801709999997E-2</c:v>
                </c:pt>
                <c:pt idx="464">
                  <c:v>-8.5795122180000002E-2</c:v>
                </c:pt>
                <c:pt idx="465">
                  <c:v>-9.3433737909999995E-2</c:v>
                </c:pt>
                <c:pt idx="466">
                  <c:v>-8.7985069240000005E-2</c:v>
                </c:pt>
                <c:pt idx="467">
                  <c:v>-6.6837605410000001E-2</c:v>
                </c:pt>
                <c:pt idx="468">
                  <c:v>-9.8277987270000006E-2</c:v>
                </c:pt>
                <c:pt idx="469">
                  <c:v>-9.513089089E-2</c:v>
                </c:pt>
                <c:pt idx="470">
                  <c:v>-0.11736736709999999</c:v>
                </c:pt>
                <c:pt idx="471">
                  <c:v>-0.13270665208999999</c:v>
                </c:pt>
                <c:pt idx="472">
                  <c:v>-0.14854879017</c:v>
                </c:pt>
                <c:pt idx="473">
                  <c:v>-0.14490177268000001</c:v>
                </c:pt>
                <c:pt idx="474">
                  <c:v>-0.13378364899</c:v>
                </c:pt>
                <c:pt idx="475">
                  <c:v>-0.15680898589</c:v>
                </c:pt>
                <c:pt idx="476">
                  <c:v>-0.16093700615000001</c:v>
                </c:pt>
                <c:pt idx="477">
                  <c:v>-0.16951667163</c:v>
                </c:pt>
                <c:pt idx="478">
                  <c:v>-0.16014939071000001</c:v>
                </c:pt>
                <c:pt idx="479">
                  <c:v>-0.15401880015</c:v>
                </c:pt>
                <c:pt idx="480">
                  <c:v>-0.16019156641000001</c:v>
                </c:pt>
                <c:pt idx="481">
                  <c:v>-0.1476494434</c:v>
                </c:pt>
                <c:pt idx="482">
                  <c:v>-0.16856571769000001</c:v>
                </c:pt>
                <c:pt idx="483">
                  <c:v>-0.16652038994999999</c:v>
                </c:pt>
                <c:pt idx="484">
                  <c:v>-0.16116049740999999</c:v>
                </c:pt>
                <c:pt idx="485">
                  <c:v>-0.1388520291</c:v>
                </c:pt>
                <c:pt idx="486">
                  <c:v>-0.10222084624</c:v>
                </c:pt>
                <c:pt idx="487">
                  <c:v>-6.8725338519999998E-2</c:v>
                </c:pt>
                <c:pt idx="488">
                  <c:v>-6.033307659E-2</c:v>
                </c:pt>
                <c:pt idx="489">
                  <c:v>-9.846786028E-2</c:v>
                </c:pt>
                <c:pt idx="490">
                  <c:v>-6.5187936540000005E-2</c:v>
                </c:pt>
                <c:pt idx="491">
                  <c:v>-9.2311011969999995E-2</c:v>
                </c:pt>
                <c:pt idx="492">
                  <c:v>-0.11866014446000001</c:v>
                </c:pt>
                <c:pt idx="493">
                  <c:v>-0.14550441126999999</c:v>
                </c:pt>
                <c:pt idx="494">
                  <c:v>-0.13040820939</c:v>
                </c:pt>
                <c:pt idx="495">
                  <c:v>-0.11502853696</c:v>
                </c:pt>
                <c:pt idx="496">
                  <c:v>-0.17281380081</c:v>
                </c:pt>
                <c:pt idx="497">
                  <c:v>-0.18233310555999999</c:v>
                </c:pt>
                <c:pt idx="498">
                  <c:v>-0.15773226940000001</c:v>
                </c:pt>
                <c:pt idx="499">
                  <c:v>-0.12418421634</c:v>
                </c:pt>
                <c:pt idx="500">
                  <c:v>-9.9879474760000003E-2</c:v>
                </c:pt>
                <c:pt idx="501">
                  <c:v>-8.1620175980000001E-2</c:v>
                </c:pt>
                <c:pt idx="502">
                  <c:v>-4.9182671660000003E-2</c:v>
                </c:pt>
                <c:pt idx="503">
                  <c:v>2.501992080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sympt_pripadu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3.5321236837579999</c:v>
                </c:pt>
                <c:pt idx="1">
                  <c:v>4.1021224792849997</c:v>
                </c:pt>
                <c:pt idx="2">
                  <c:v>4.7655637003080003</c:v>
                </c:pt>
                <c:pt idx="3">
                  <c:v>5.8401515935150004</c:v>
                </c:pt>
                <c:pt idx="4">
                  <c:v>6.2886752358970002</c:v>
                </c:pt>
                <c:pt idx="5">
                  <c:v>6.6624449378820003</c:v>
                </c:pt>
                <c:pt idx="6">
                  <c:v>7.092280095165</c:v>
                </c:pt>
                <c:pt idx="7">
                  <c:v>9.3909637623729996</c:v>
                </c:pt>
                <c:pt idx="8">
                  <c:v>10.671124991671</c:v>
                </c:pt>
                <c:pt idx="9">
                  <c:v>13.222103207719</c:v>
                </c:pt>
                <c:pt idx="10">
                  <c:v>15.193738385690001</c:v>
                </c:pt>
                <c:pt idx="11">
                  <c:v>18.837992980044</c:v>
                </c:pt>
                <c:pt idx="12">
                  <c:v>19.884548145602</c:v>
                </c:pt>
                <c:pt idx="13">
                  <c:v>20.959136038809</c:v>
                </c:pt>
                <c:pt idx="14">
                  <c:v>21.856183323572999</c:v>
                </c:pt>
                <c:pt idx="15">
                  <c:v>25.023881547896</c:v>
                </c:pt>
                <c:pt idx="16">
                  <c:v>31.125671932801001</c:v>
                </c:pt>
                <c:pt idx="17">
                  <c:v>34.246648944375998</c:v>
                </c:pt>
                <c:pt idx="18">
                  <c:v>34.517631978315002</c:v>
                </c:pt>
                <c:pt idx="19">
                  <c:v>35.115663501490999</c:v>
                </c:pt>
                <c:pt idx="20">
                  <c:v>36.928446556117997</c:v>
                </c:pt>
                <c:pt idx="21">
                  <c:v>40.283029631433998</c:v>
                </c:pt>
                <c:pt idx="22">
                  <c:v>42.077124200961997</c:v>
                </c:pt>
                <c:pt idx="23">
                  <c:v>41.488436920334998</c:v>
                </c:pt>
                <c:pt idx="24">
                  <c:v>45.450395761376001</c:v>
                </c:pt>
                <c:pt idx="25">
                  <c:v>47.534161849942997</c:v>
                </c:pt>
                <c:pt idx="26">
                  <c:v>49.150715811028</c:v>
                </c:pt>
                <c:pt idx="27">
                  <c:v>48.655470955897997</c:v>
                </c:pt>
                <c:pt idx="28">
                  <c:v>47.739735186033997</c:v>
                </c:pt>
                <c:pt idx="29">
                  <c:v>50.851367955059999</c:v>
                </c:pt>
                <c:pt idx="30">
                  <c:v>55.878570446757998</c:v>
                </c:pt>
                <c:pt idx="31">
                  <c:v>60.139545049387003</c:v>
                </c:pt>
                <c:pt idx="32">
                  <c:v>63.31658751626</c:v>
                </c:pt>
                <c:pt idx="33">
                  <c:v>65.484451787772997</c:v>
                </c:pt>
                <c:pt idx="34">
                  <c:v>73.333615529458001</c:v>
                </c:pt>
                <c:pt idx="35">
                  <c:v>84.630804771954999</c:v>
                </c:pt>
                <c:pt idx="36">
                  <c:v>96.133567350543004</c:v>
                </c:pt>
                <c:pt idx="37">
                  <c:v>105.113384440733</c:v>
                </c:pt>
                <c:pt idx="38">
                  <c:v>125.222194407526</c:v>
                </c:pt>
                <c:pt idx="39">
                  <c:v>134.725289080495</c:v>
                </c:pt>
                <c:pt idx="40">
                  <c:v>139.88331096788801</c:v>
                </c:pt>
                <c:pt idx="41">
                  <c:v>141.23822613758401</c:v>
                </c:pt>
                <c:pt idx="42">
                  <c:v>155.74983481715199</c:v>
                </c:pt>
                <c:pt idx="43">
                  <c:v>174.10192718461599</c:v>
                </c:pt>
                <c:pt idx="44">
                  <c:v>193.12680501565299</c:v>
                </c:pt>
                <c:pt idx="45">
                  <c:v>204.93792759837899</c:v>
                </c:pt>
                <c:pt idx="46">
                  <c:v>222.72002117031499</c:v>
                </c:pt>
                <c:pt idx="47">
                  <c:v>231.98016553699401</c:v>
                </c:pt>
                <c:pt idx="48">
                  <c:v>251.94881186554301</c:v>
                </c:pt>
                <c:pt idx="49">
                  <c:v>273.60876609557403</c:v>
                </c:pt>
                <c:pt idx="50">
                  <c:v>296.80117610374401</c:v>
                </c:pt>
                <c:pt idx="51">
                  <c:v>317.86309881059901</c:v>
                </c:pt>
                <c:pt idx="52">
                  <c:v>338.52321908782</c:v>
                </c:pt>
                <c:pt idx="53">
                  <c:v>362.96775759764</c:v>
                </c:pt>
                <c:pt idx="54">
                  <c:v>374.05937350404503</c:v>
                </c:pt>
                <c:pt idx="55">
                  <c:v>382.55328998165402</c:v>
                </c:pt>
                <c:pt idx="56">
                  <c:v>397.89653624813798</c:v>
                </c:pt>
                <c:pt idx="57">
                  <c:v>391.62654949734002</c:v>
                </c:pt>
                <c:pt idx="58">
                  <c:v>387.19737852881798</c:v>
                </c:pt>
                <c:pt idx="59">
                  <c:v>380.82460510997299</c:v>
                </c:pt>
                <c:pt idx="60">
                  <c:v>373.28380137242601</c:v>
                </c:pt>
                <c:pt idx="61">
                  <c:v>371.20003528385899</c:v>
                </c:pt>
                <c:pt idx="62">
                  <c:v>367.73332129794801</c:v>
                </c:pt>
                <c:pt idx="63">
                  <c:v>355.82875628972602</c:v>
                </c:pt>
                <c:pt idx="64">
                  <c:v>371.65790316879099</c:v>
                </c:pt>
                <c:pt idx="65">
                  <c:v>372.87265470024198</c:v>
                </c:pt>
                <c:pt idx="66">
                  <c:v>361.79972727893602</c:v>
                </c:pt>
                <c:pt idx="67">
                  <c:v>341.24239366976099</c:v>
                </c:pt>
                <c:pt idx="68">
                  <c:v>326.66537529234603</c:v>
                </c:pt>
                <c:pt idx="69">
                  <c:v>312.09770115748</c:v>
                </c:pt>
                <c:pt idx="70">
                  <c:v>293.82970697296298</c:v>
                </c:pt>
                <c:pt idx="71">
                  <c:v>260.134368339015</c:v>
                </c:pt>
                <c:pt idx="72">
                  <c:v>232.33524675388</c:v>
                </c:pt>
                <c:pt idx="73">
                  <c:v>211.57233980861301</c:v>
                </c:pt>
                <c:pt idx="74">
                  <c:v>194.154671696111</c:v>
                </c:pt>
                <c:pt idx="75">
                  <c:v>186.51108129051801</c:v>
                </c:pt>
                <c:pt idx="76">
                  <c:v>183.98813580211899</c:v>
                </c:pt>
                <c:pt idx="77">
                  <c:v>162.71129551662301</c:v>
                </c:pt>
                <c:pt idx="78">
                  <c:v>145.87297044219801</c:v>
                </c:pt>
                <c:pt idx="79">
                  <c:v>141.462487958775</c:v>
                </c:pt>
                <c:pt idx="80">
                  <c:v>137.08938244555</c:v>
                </c:pt>
                <c:pt idx="81">
                  <c:v>134.38889634870901</c:v>
                </c:pt>
                <c:pt idx="82">
                  <c:v>132.39857268563901</c:v>
                </c:pt>
                <c:pt idx="83">
                  <c:v>130.75398599690399</c:v>
                </c:pt>
                <c:pt idx="84">
                  <c:v>138.621838223689</c:v>
                </c:pt>
                <c:pt idx="85">
                  <c:v>138.425609130147</c:v>
                </c:pt>
                <c:pt idx="86">
                  <c:v>127.969401717116</c:v>
                </c:pt>
                <c:pt idx="87">
                  <c:v>123.680394386838</c:v>
                </c:pt>
                <c:pt idx="88">
                  <c:v>122.054496183203</c:v>
                </c:pt>
                <c:pt idx="89">
                  <c:v>121.288268294134</c:v>
                </c:pt>
                <c:pt idx="90">
                  <c:v>119.176469477919</c:v>
                </c:pt>
                <c:pt idx="91">
                  <c:v>120.8864658645</c:v>
                </c:pt>
                <c:pt idx="92">
                  <c:v>122.54974103833401</c:v>
                </c:pt>
                <c:pt idx="93">
                  <c:v>128.77300657638401</c:v>
                </c:pt>
                <c:pt idx="94">
                  <c:v>131.968737528356</c:v>
                </c:pt>
                <c:pt idx="95">
                  <c:v>136.35118728412999</c:v>
                </c:pt>
                <c:pt idx="96">
                  <c:v>136.500695164924</c:v>
                </c:pt>
                <c:pt idx="97">
                  <c:v>141.415766746027</c:v>
                </c:pt>
                <c:pt idx="98">
                  <c:v>147.62034379897801</c:v>
                </c:pt>
                <c:pt idx="99">
                  <c:v>159.82392456878799</c:v>
                </c:pt>
                <c:pt idx="100">
                  <c:v>168.934561054673</c:v>
                </c:pt>
                <c:pt idx="101">
                  <c:v>178.091918753306</c:v>
                </c:pt>
                <c:pt idx="102">
                  <c:v>181.072732126636</c:v>
                </c:pt>
                <c:pt idx="103">
                  <c:v>185.04403521022701</c:v>
                </c:pt>
                <c:pt idx="104">
                  <c:v>189.68812375739</c:v>
                </c:pt>
                <c:pt idx="105">
                  <c:v>200.45269117455899</c:v>
                </c:pt>
                <c:pt idx="106">
                  <c:v>213.945777416217</c:v>
                </c:pt>
                <c:pt idx="107">
                  <c:v>224.813131501431</c:v>
                </c:pt>
                <c:pt idx="108">
                  <c:v>240.05359109987</c:v>
                </c:pt>
                <c:pt idx="109">
                  <c:v>248.78111364122</c:v>
                </c:pt>
                <c:pt idx="110">
                  <c:v>257.32175133157699</c:v>
                </c:pt>
                <c:pt idx="111">
                  <c:v>270.53451029674699</c:v>
                </c:pt>
                <c:pt idx="112">
                  <c:v>288.02693234964602</c:v>
                </c:pt>
                <c:pt idx="113">
                  <c:v>317.57342729156102</c:v>
                </c:pt>
                <c:pt idx="114">
                  <c:v>297.69822338850798</c:v>
                </c:pt>
                <c:pt idx="115">
                  <c:v>263.57304959727702</c:v>
                </c:pt>
                <c:pt idx="116">
                  <c:v>251.00504336803101</c:v>
                </c:pt>
                <c:pt idx="117">
                  <c:v>252.52815490361999</c:v>
                </c:pt>
                <c:pt idx="118">
                  <c:v>273.02007881494802</c:v>
                </c:pt>
                <c:pt idx="119">
                  <c:v>312.68638843810697</c:v>
                </c:pt>
                <c:pt idx="120">
                  <c:v>340.17715001910398</c:v>
                </c:pt>
                <c:pt idx="121">
                  <c:v>396.46686713804598</c:v>
                </c:pt>
                <c:pt idx="122">
                  <c:v>402.40046115705798</c:v>
                </c:pt>
                <c:pt idx="123">
                  <c:v>416.14584194755599</c:v>
                </c:pt>
                <c:pt idx="124">
                  <c:v>431.09663002695697</c:v>
                </c:pt>
                <c:pt idx="125">
                  <c:v>445.80446780006702</c:v>
                </c:pt>
                <c:pt idx="126">
                  <c:v>452.04642182321601</c:v>
                </c:pt>
                <c:pt idx="127">
                  <c:v>458.22296614851899</c:v>
                </c:pt>
                <c:pt idx="128">
                  <c:v>469.65097478670998</c:v>
                </c:pt>
                <c:pt idx="129">
                  <c:v>528.052490721867</c:v>
                </c:pt>
                <c:pt idx="130">
                  <c:v>547.75949825902705</c:v>
                </c:pt>
                <c:pt idx="131">
                  <c:v>536.18198174004101</c:v>
                </c:pt>
                <c:pt idx="132">
                  <c:v>512.48498263419197</c:v>
                </c:pt>
                <c:pt idx="133">
                  <c:v>465.894589281761</c:v>
                </c:pt>
                <c:pt idx="134">
                  <c:v>414.996500113953</c:v>
                </c:pt>
                <c:pt idx="135">
                  <c:v>368.723811008209</c:v>
                </c:pt>
                <c:pt idx="136">
                  <c:v>341.186328214463</c:v>
                </c:pt>
                <c:pt idx="137">
                  <c:v>319.34883337598899</c:v>
                </c:pt>
                <c:pt idx="138">
                  <c:v>310.41573749854803</c:v>
                </c:pt>
                <c:pt idx="139">
                  <c:v>298.408385822279</c:v>
                </c:pt>
                <c:pt idx="140">
                  <c:v>290.559222080594</c:v>
                </c:pt>
                <c:pt idx="141">
                  <c:v>273.81433943166599</c:v>
                </c:pt>
                <c:pt idx="142">
                  <c:v>271.21664000287001</c:v>
                </c:pt>
                <c:pt idx="143">
                  <c:v>266.58189569825601</c:v>
                </c:pt>
                <c:pt idx="144">
                  <c:v>261.50797199380901</c:v>
                </c:pt>
                <c:pt idx="145">
                  <c:v>259.44289439034202</c:v>
                </c:pt>
                <c:pt idx="146">
                  <c:v>256.564867685058</c:v>
                </c:pt>
                <c:pt idx="147">
                  <c:v>254.686674932583</c:v>
                </c:pt>
                <c:pt idx="148">
                  <c:v>255.99486888953101</c:v>
                </c:pt>
                <c:pt idx="149">
                  <c:v>258.60191256087597</c:v>
                </c:pt>
                <c:pt idx="150">
                  <c:v>255.50896827694999</c:v>
                </c:pt>
                <c:pt idx="151">
                  <c:v>254.453068868842</c:v>
                </c:pt>
                <c:pt idx="152">
                  <c:v>255.40618160890401</c:v>
                </c:pt>
                <c:pt idx="153">
                  <c:v>256.95732587214201</c:v>
                </c:pt>
                <c:pt idx="154">
                  <c:v>257.06945678273797</c:v>
                </c:pt>
                <c:pt idx="155">
                  <c:v>263.06846049959699</c:v>
                </c:pt>
                <c:pt idx="156">
                  <c:v>264.12435990770501</c:v>
                </c:pt>
                <c:pt idx="157">
                  <c:v>268.88057936546397</c:v>
                </c:pt>
                <c:pt idx="158">
                  <c:v>273.31909457653597</c:v>
                </c:pt>
                <c:pt idx="159">
                  <c:v>273.19761942339102</c:v>
                </c:pt>
                <c:pt idx="160">
                  <c:v>275.79531885218603</c:v>
                </c:pt>
                <c:pt idx="161">
                  <c:v>282.30825590927498</c:v>
                </c:pt>
                <c:pt idx="162">
                  <c:v>284.04628502350499</c:v>
                </c:pt>
                <c:pt idx="163">
                  <c:v>289.27906085129598</c:v>
                </c:pt>
                <c:pt idx="164">
                  <c:v>290.94233602512901</c:v>
                </c:pt>
                <c:pt idx="165">
                  <c:v>292.829873020153</c:v>
                </c:pt>
                <c:pt idx="166">
                  <c:v>294.64265607478001</c:v>
                </c:pt>
                <c:pt idx="167">
                  <c:v>299.84739917492197</c:v>
                </c:pt>
                <c:pt idx="168">
                  <c:v>313.34982965913002</c:v>
                </c:pt>
                <c:pt idx="169">
                  <c:v>322.292269779121</c:v>
                </c:pt>
                <c:pt idx="170">
                  <c:v>337.52338513501002</c:v>
                </c:pt>
                <c:pt idx="171">
                  <c:v>351.53040471689798</c:v>
                </c:pt>
                <c:pt idx="172">
                  <c:v>359.585141794675</c:v>
                </c:pt>
                <c:pt idx="173">
                  <c:v>365.54676854133601</c:v>
                </c:pt>
                <c:pt idx="174">
                  <c:v>380.553622076034</c:v>
                </c:pt>
                <c:pt idx="175">
                  <c:v>399.50374596667399</c:v>
                </c:pt>
                <c:pt idx="176">
                  <c:v>416.18321891775503</c:v>
                </c:pt>
                <c:pt idx="177">
                  <c:v>432.99351126453098</c:v>
                </c:pt>
                <c:pt idx="178">
                  <c:v>451.16806302355201</c:v>
                </c:pt>
                <c:pt idx="179">
                  <c:v>457.64362311044198</c:v>
                </c:pt>
                <c:pt idx="180">
                  <c:v>460.47492860297803</c:v>
                </c:pt>
                <c:pt idx="181">
                  <c:v>466.576718987883</c:v>
                </c:pt>
                <c:pt idx="182">
                  <c:v>470.63212025442101</c:v>
                </c:pt>
                <c:pt idx="183">
                  <c:v>479.677347042458</c:v>
                </c:pt>
                <c:pt idx="184">
                  <c:v>483.545863458003</c:v>
                </c:pt>
                <c:pt idx="185">
                  <c:v>477.40669610289899</c:v>
                </c:pt>
                <c:pt idx="186">
                  <c:v>484.80733620220201</c:v>
                </c:pt>
                <c:pt idx="187">
                  <c:v>483.25619193896398</c:v>
                </c:pt>
                <c:pt idx="188">
                  <c:v>473.31391786616302</c:v>
                </c:pt>
                <c:pt idx="189">
                  <c:v>463.30623409551498</c:v>
                </c:pt>
                <c:pt idx="190">
                  <c:v>453.036911533477</c:v>
                </c:pt>
                <c:pt idx="191">
                  <c:v>427.27483482416</c:v>
                </c:pt>
                <c:pt idx="192">
                  <c:v>438.18891012212202</c:v>
                </c:pt>
                <c:pt idx="193">
                  <c:v>424.845331761257</c:v>
                </c:pt>
                <c:pt idx="194">
                  <c:v>420.59370140117801</c:v>
                </c:pt>
                <c:pt idx="195">
                  <c:v>416.93075832172502</c:v>
                </c:pt>
                <c:pt idx="196">
                  <c:v>408.19389153782498</c:v>
                </c:pt>
                <c:pt idx="197">
                  <c:v>394.19621619848698</c:v>
                </c:pt>
                <c:pt idx="198">
                  <c:v>390.14081493194999</c:v>
                </c:pt>
                <c:pt idx="199">
                  <c:v>353.548761107617</c:v>
                </c:pt>
                <c:pt idx="200">
                  <c:v>344.97074644706203</c:v>
                </c:pt>
                <c:pt idx="201">
                  <c:v>339.10256212589701</c:v>
                </c:pt>
                <c:pt idx="202">
                  <c:v>324.80587102496997</c:v>
                </c:pt>
                <c:pt idx="203">
                  <c:v>306.00525501512499</c:v>
                </c:pt>
                <c:pt idx="204">
                  <c:v>287.91480143905</c:v>
                </c:pt>
                <c:pt idx="205">
                  <c:v>271.394180611313</c:v>
                </c:pt>
                <c:pt idx="206">
                  <c:v>260.69502289199198</c:v>
                </c:pt>
                <c:pt idx="207">
                  <c:v>252.71503975461201</c:v>
                </c:pt>
                <c:pt idx="208">
                  <c:v>250.03324214286999</c:v>
                </c:pt>
                <c:pt idx="209">
                  <c:v>244.09030388130799</c:v>
                </c:pt>
                <c:pt idx="210">
                  <c:v>231.765247958353</c:v>
                </c:pt>
                <c:pt idx="211">
                  <c:v>222.53313631932301</c:v>
                </c:pt>
                <c:pt idx="212">
                  <c:v>211.98348648079599</c:v>
                </c:pt>
                <c:pt idx="213">
                  <c:v>190.73467892294801</c:v>
                </c:pt>
                <c:pt idx="214">
                  <c:v>181.838960015705</c:v>
                </c:pt>
                <c:pt idx="215">
                  <c:v>181.988467896499</c:v>
                </c:pt>
                <c:pt idx="216">
                  <c:v>155.918031183045</c:v>
                </c:pt>
                <c:pt idx="217">
                  <c:v>137.53790608793199</c:v>
                </c:pt>
                <c:pt idx="218">
                  <c:v>137.612660028329</c:v>
                </c:pt>
                <c:pt idx="219">
                  <c:v>136.407252739428</c:v>
                </c:pt>
                <c:pt idx="220">
                  <c:v>143.93871223442599</c:v>
                </c:pt>
                <c:pt idx="221">
                  <c:v>145.10674255312901</c:v>
                </c:pt>
                <c:pt idx="222">
                  <c:v>141.34101280562999</c:v>
                </c:pt>
                <c:pt idx="223">
                  <c:v>152.82508689911899</c:v>
                </c:pt>
                <c:pt idx="224">
                  <c:v>151.84394143140901</c:v>
                </c:pt>
                <c:pt idx="225">
                  <c:v>132.819063600372</c:v>
                </c:pt>
                <c:pt idx="226">
                  <c:v>120.241713128576</c:v>
                </c:pt>
                <c:pt idx="227">
                  <c:v>110.832060881104</c:v>
                </c:pt>
                <c:pt idx="228">
                  <c:v>106.711249916719</c:v>
                </c:pt>
                <c:pt idx="229">
                  <c:v>105.739448691558</c:v>
                </c:pt>
                <c:pt idx="230">
                  <c:v>103.777157756137</c:v>
                </c:pt>
                <c:pt idx="231">
                  <c:v>98.320120107156001</c:v>
                </c:pt>
                <c:pt idx="232">
                  <c:v>94.675865512802005</c:v>
                </c:pt>
                <c:pt idx="233">
                  <c:v>91.685707896921997</c:v>
                </c:pt>
                <c:pt idx="234">
                  <c:v>88.069486030217007</c:v>
                </c:pt>
                <c:pt idx="235">
                  <c:v>86.359489643635001</c:v>
                </c:pt>
                <c:pt idx="236">
                  <c:v>86.593095707375994</c:v>
                </c:pt>
                <c:pt idx="237">
                  <c:v>82.715235049282001</c:v>
                </c:pt>
                <c:pt idx="238">
                  <c:v>79.192455608073004</c:v>
                </c:pt>
                <c:pt idx="239">
                  <c:v>76.585411936726999</c:v>
                </c:pt>
                <c:pt idx="240">
                  <c:v>74.202630086572995</c:v>
                </c:pt>
                <c:pt idx="241">
                  <c:v>72.006733087411007</c:v>
                </c:pt>
                <c:pt idx="242">
                  <c:v>72.034765815059998</c:v>
                </c:pt>
                <c:pt idx="243">
                  <c:v>70.614440947516997</c:v>
                </c:pt>
                <c:pt idx="244">
                  <c:v>68.483953646201996</c:v>
                </c:pt>
                <c:pt idx="245">
                  <c:v>64.026749950031004</c:v>
                </c:pt>
                <c:pt idx="246">
                  <c:v>60.616101419418001</c:v>
                </c:pt>
                <c:pt idx="247">
                  <c:v>57.102666220758998</c:v>
                </c:pt>
                <c:pt idx="248">
                  <c:v>54.233983758024003</c:v>
                </c:pt>
                <c:pt idx="249">
                  <c:v>51.869890392968998</c:v>
                </c:pt>
                <c:pt idx="250">
                  <c:v>51.028908563503002</c:v>
                </c:pt>
                <c:pt idx="251">
                  <c:v>48.188258828416998</c:v>
                </c:pt>
                <c:pt idx="252">
                  <c:v>44.899085450948</c:v>
                </c:pt>
                <c:pt idx="253">
                  <c:v>42.123845413710001</c:v>
                </c:pt>
                <c:pt idx="254">
                  <c:v>40.11483326554</c:v>
                </c:pt>
                <c:pt idx="255">
                  <c:v>37.451724138896999</c:v>
                </c:pt>
                <c:pt idx="256">
                  <c:v>36.507955641385003</c:v>
                </c:pt>
                <c:pt idx="257">
                  <c:v>35.88189139056</c:v>
                </c:pt>
                <c:pt idx="258">
                  <c:v>33.648617421200001</c:v>
                </c:pt>
                <c:pt idx="259">
                  <c:v>31.209770115748</c:v>
                </c:pt>
                <c:pt idx="260">
                  <c:v>28.733545840097001</c:v>
                </c:pt>
                <c:pt idx="261">
                  <c:v>25.986338530506998</c:v>
                </c:pt>
                <c:pt idx="262">
                  <c:v>24.304374871575</c:v>
                </c:pt>
                <c:pt idx="263">
                  <c:v>23.295196676214999</c:v>
                </c:pt>
                <c:pt idx="264">
                  <c:v>23.127000310322</c:v>
                </c:pt>
                <c:pt idx="265">
                  <c:v>21.388971196092001</c:v>
                </c:pt>
                <c:pt idx="266">
                  <c:v>18.109142061172999</c:v>
                </c:pt>
                <c:pt idx="267">
                  <c:v>16.632751738332001</c:v>
                </c:pt>
                <c:pt idx="268">
                  <c:v>15.847835364164</c:v>
                </c:pt>
                <c:pt idx="269">
                  <c:v>14.791935956055999</c:v>
                </c:pt>
                <c:pt idx="270">
                  <c:v>14.399477768972</c:v>
                </c:pt>
                <c:pt idx="271">
                  <c:v>14.007019581888001</c:v>
                </c:pt>
                <c:pt idx="272">
                  <c:v>12.876366233382999</c:v>
                </c:pt>
                <c:pt idx="273">
                  <c:v>12.100794101764</c:v>
                </c:pt>
                <c:pt idx="274">
                  <c:v>11.119648634053</c:v>
                </c:pt>
                <c:pt idx="275">
                  <c:v>9.8675201324039996</c:v>
                </c:pt>
                <c:pt idx="276">
                  <c:v>8.8676861795939992</c:v>
                </c:pt>
                <c:pt idx="277">
                  <c:v>8.3537528393640006</c:v>
                </c:pt>
                <c:pt idx="278">
                  <c:v>8.2042449585699995</c:v>
                </c:pt>
                <c:pt idx="279">
                  <c:v>7.2885091887069997</c:v>
                </c:pt>
                <c:pt idx="280">
                  <c:v>6.615723725134</c:v>
                </c:pt>
                <c:pt idx="281">
                  <c:v>6.1578558402020001</c:v>
                </c:pt>
                <c:pt idx="282">
                  <c:v>5.6065455297750004</c:v>
                </c:pt>
                <c:pt idx="283">
                  <c:v>5.1206449171940003</c:v>
                </c:pt>
                <c:pt idx="284">
                  <c:v>4.849661883255</c:v>
                </c:pt>
                <c:pt idx="285">
                  <c:v>4.6814655173619997</c:v>
                </c:pt>
                <c:pt idx="286">
                  <c:v>4.0740897516360004</c:v>
                </c:pt>
                <c:pt idx="287">
                  <c:v>3.3452388327649998</c:v>
                </c:pt>
                <c:pt idx="288">
                  <c:v>2.9621248882310001</c:v>
                </c:pt>
                <c:pt idx="289">
                  <c:v>2.72851882449</c:v>
                </c:pt>
                <c:pt idx="290">
                  <c:v>2.3827818501540001</c:v>
                </c:pt>
                <c:pt idx="291">
                  <c:v>2.3360606374059998</c:v>
                </c:pt>
                <c:pt idx="292">
                  <c:v>2.3454048799549998</c:v>
                </c:pt>
                <c:pt idx="293">
                  <c:v>2.0931103311160002</c:v>
                </c:pt>
                <c:pt idx="294">
                  <c:v>1.831471539726</c:v>
                </c:pt>
                <c:pt idx="295">
                  <c:v>1.803438812077</c:v>
                </c:pt>
                <c:pt idx="296">
                  <c:v>1.6913079014820001</c:v>
                </c:pt>
                <c:pt idx="297">
                  <c:v>1.6819636589319999</c:v>
                </c:pt>
                <c:pt idx="298">
                  <c:v>1.7006521440310001</c:v>
                </c:pt>
                <c:pt idx="299">
                  <c:v>1.7006521440310001</c:v>
                </c:pt>
                <c:pt idx="300">
                  <c:v>1.7660618418789999</c:v>
                </c:pt>
                <c:pt idx="301">
                  <c:v>1.8781927524740001</c:v>
                </c:pt>
                <c:pt idx="302">
                  <c:v>1.8781927524740001</c:v>
                </c:pt>
                <c:pt idx="303">
                  <c:v>2.1398315438640001</c:v>
                </c:pt>
                <c:pt idx="304">
                  <c:v>2.308027909757</c:v>
                </c:pt>
                <c:pt idx="305">
                  <c:v>2.3547491225049999</c:v>
                </c:pt>
                <c:pt idx="306">
                  <c:v>2.4014703352529998</c:v>
                </c:pt>
                <c:pt idx="307">
                  <c:v>2.373437607604</c:v>
                </c:pt>
                <c:pt idx="308">
                  <c:v>2.2332739693599999</c:v>
                </c:pt>
                <c:pt idx="309">
                  <c:v>2.5229454883979998</c:v>
                </c:pt>
                <c:pt idx="310">
                  <c:v>2.6163879138950001</c:v>
                </c:pt>
                <c:pt idx="311">
                  <c:v>2.9247479180320002</c:v>
                </c:pt>
                <c:pt idx="312">
                  <c:v>3.1116327690249999</c:v>
                </c:pt>
                <c:pt idx="313">
                  <c:v>3.2050751945210001</c:v>
                </c:pt>
                <c:pt idx="314">
                  <c:v>3.6909758071010002</c:v>
                </c:pt>
                <c:pt idx="315">
                  <c:v>4.2703188451780001</c:v>
                </c:pt>
                <c:pt idx="316">
                  <c:v>4.139499449483</c:v>
                </c:pt>
                <c:pt idx="317">
                  <c:v>4.1768764196820003</c:v>
                </c:pt>
                <c:pt idx="318">
                  <c:v>3.9899915686890002</c:v>
                </c:pt>
                <c:pt idx="319">
                  <c:v>3.9993358112389998</c:v>
                </c:pt>
                <c:pt idx="320">
                  <c:v>4.018024296338</c:v>
                </c:pt>
                <c:pt idx="321">
                  <c:v>3.8965491431929999</c:v>
                </c:pt>
                <c:pt idx="322">
                  <c:v>3.9339261133919998</c:v>
                </c:pt>
                <c:pt idx="323">
                  <c:v>4.1488436920330001</c:v>
                </c:pt>
                <c:pt idx="324">
                  <c:v>4.139499449483</c:v>
                </c:pt>
                <c:pt idx="325">
                  <c:v>4.0927782367349996</c:v>
                </c:pt>
                <c:pt idx="326">
                  <c:v>4.0367127814380002</c:v>
                </c:pt>
                <c:pt idx="327">
                  <c:v>3.8591721729950001</c:v>
                </c:pt>
                <c:pt idx="328">
                  <c:v>3.7096642922009999</c:v>
                </c:pt>
                <c:pt idx="329">
                  <c:v>3.5601564114070001</c:v>
                </c:pt>
                <c:pt idx="330">
                  <c:v>3.3358945902160002</c:v>
                </c:pt>
                <c:pt idx="331">
                  <c:v>3.2891733774679999</c:v>
                </c:pt>
                <c:pt idx="332">
                  <c:v>3.2237636796200002</c:v>
                </c:pt>
                <c:pt idx="333">
                  <c:v>3.064911556277</c:v>
                </c:pt>
                <c:pt idx="334">
                  <c:v>3.1022885264750002</c:v>
                </c:pt>
                <c:pt idx="335">
                  <c:v>2.9901576158799998</c:v>
                </c:pt>
                <c:pt idx="336">
                  <c:v>2.8126170074369998</c:v>
                </c:pt>
                <c:pt idx="337">
                  <c:v>3.0462230711770002</c:v>
                </c:pt>
                <c:pt idx="338">
                  <c:v>2.8873709478339999</c:v>
                </c:pt>
                <c:pt idx="339">
                  <c:v>2.9247479180320002</c:v>
                </c:pt>
                <c:pt idx="340">
                  <c:v>2.9808133733300002</c:v>
                </c:pt>
                <c:pt idx="341">
                  <c:v>3.064911556277</c:v>
                </c:pt>
                <c:pt idx="342">
                  <c:v>3.1676982243220002</c:v>
                </c:pt>
                <c:pt idx="343">
                  <c:v>3.3265503476660001</c:v>
                </c:pt>
                <c:pt idx="344">
                  <c:v>3.2050751945210001</c:v>
                </c:pt>
                <c:pt idx="345">
                  <c:v>3.317206105116</c:v>
                </c:pt>
                <c:pt idx="346">
                  <c:v>3.2891733774679999</c:v>
                </c:pt>
                <c:pt idx="347">
                  <c:v>3.3452388327649998</c:v>
                </c:pt>
                <c:pt idx="348">
                  <c:v>3.2424521647189999</c:v>
                </c:pt>
                <c:pt idx="349">
                  <c:v>3.4199927731619999</c:v>
                </c:pt>
                <c:pt idx="350">
                  <c:v>3.4386812582620001</c:v>
                </c:pt>
                <c:pt idx="351">
                  <c:v>3.48540247101</c:v>
                </c:pt>
                <c:pt idx="352">
                  <c:v>3.3545830753149999</c:v>
                </c:pt>
                <c:pt idx="353">
                  <c:v>3.2798291349180002</c:v>
                </c:pt>
                <c:pt idx="354">
                  <c:v>3.2237636796200002</c:v>
                </c:pt>
                <c:pt idx="355">
                  <c:v>3.2704848923680001</c:v>
                </c:pt>
                <c:pt idx="356">
                  <c:v>3.2331079221699999</c:v>
                </c:pt>
                <c:pt idx="357">
                  <c:v>3.195730951971</c:v>
                </c:pt>
                <c:pt idx="358">
                  <c:v>3.2331079221699999</c:v>
                </c:pt>
                <c:pt idx="359">
                  <c:v>3.3545830753149999</c:v>
                </c:pt>
                <c:pt idx="360">
                  <c:v>3.4760582284599999</c:v>
                </c:pt>
                <c:pt idx="361">
                  <c:v>3.5040909561090001</c:v>
                </c:pt>
                <c:pt idx="362">
                  <c:v>3.5134351986589998</c:v>
                </c:pt>
                <c:pt idx="363">
                  <c:v>3.5040909561090001</c:v>
                </c:pt>
                <c:pt idx="364">
                  <c:v>3.48540247101</c:v>
                </c:pt>
                <c:pt idx="365">
                  <c:v>3.662943079453</c:v>
                </c:pt>
                <c:pt idx="366">
                  <c:v>4.2235976324299997</c:v>
                </c:pt>
                <c:pt idx="367">
                  <c:v>4.6254000620640001</c:v>
                </c:pt>
                <c:pt idx="368">
                  <c:v>4.8122849130559997</c:v>
                </c:pt>
                <c:pt idx="369">
                  <c:v>4.9898255214990002</c:v>
                </c:pt>
                <c:pt idx="370">
                  <c:v>5.6158897723240004</c:v>
                </c:pt>
                <c:pt idx="371">
                  <c:v>6.5129370570880001</c:v>
                </c:pt>
                <c:pt idx="372">
                  <c:v>6.8212970612259998</c:v>
                </c:pt>
                <c:pt idx="373">
                  <c:v>7.0735916100659999</c:v>
                </c:pt>
                <c:pt idx="374">
                  <c:v>7.4847382822490003</c:v>
                </c:pt>
                <c:pt idx="375">
                  <c:v>7.5968691928450003</c:v>
                </c:pt>
                <c:pt idx="376">
                  <c:v>7.5875249502950002</c:v>
                </c:pt>
                <c:pt idx="377">
                  <c:v>7.9799831373789996</c:v>
                </c:pt>
                <c:pt idx="378">
                  <c:v>8.1949007160209995</c:v>
                </c:pt>
                <c:pt idx="379">
                  <c:v>8.5780146605550005</c:v>
                </c:pt>
                <c:pt idx="380">
                  <c:v>9.0545710305860005</c:v>
                </c:pt>
                <c:pt idx="381">
                  <c:v>9.2694886092280004</c:v>
                </c:pt>
                <c:pt idx="382">
                  <c:v>9.4657177027700001</c:v>
                </c:pt>
                <c:pt idx="383">
                  <c:v>9.4844061878690002</c:v>
                </c:pt>
                <c:pt idx="384">
                  <c:v>9.3442425496249992</c:v>
                </c:pt>
                <c:pt idx="385">
                  <c:v>9.4844061878690002</c:v>
                </c:pt>
                <c:pt idx="386">
                  <c:v>9.4376849751209999</c:v>
                </c:pt>
                <c:pt idx="387">
                  <c:v>9.2881770943270006</c:v>
                </c:pt>
                <c:pt idx="388">
                  <c:v>9.3722752772739994</c:v>
                </c:pt>
                <c:pt idx="389">
                  <c:v>9.5311274006170006</c:v>
                </c:pt>
                <c:pt idx="390">
                  <c:v>9.8488316473039994</c:v>
                </c:pt>
                <c:pt idx="391">
                  <c:v>10.605715293824</c:v>
                </c:pt>
                <c:pt idx="392">
                  <c:v>9.8207989196559993</c:v>
                </c:pt>
                <c:pt idx="393">
                  <c:v>10.829977115015</c:v>
                </c:pt>
                <c:pt idx="394">
                  <c:v>12.325055922955</c:v>
                </c:pt>
                <c:pt idx="395">
                  <c:v>13.44636502891</c:v>
                </c:pt>
                <c:pt idx="396">
                  <c:v>13.969642611689</c:v>
                </c:pt>
                <c:pt idx="397">
                  <c:v>14.296691100925999</c:v>
                </c:pt>
                <c:pt idx="398">
                  <c:v>14.969476564499001</c:v>
                </c:pt>
                <c:pt idx="399">
                  <c:v>17.679306903890001</c:v>
                </c:pt>
                <c:pt idx="400">
                  <c:v>18.707173584349</c:v>
                </c:pt>
                <c:pt idx="401">
                  <c:v>18.866025707693002</c:v>
                </c:pt>
                <c:pt idx="402">
                  <c:v>19.716351779709001</c:v>
                </c:pt>
                <c:pt idx="403">
                  <c:v>19.856515417952998</c:v>
                </c:pt>
                <c:pt idx="404">
                  <c:v>19.893892388150999</c:v>
                </c:pt>
                <c:pt idx="405">
                  <c:v>21.622577259831999</c:v>
                </c:pt>
                <c:pt idx="406">
                  <c:v>23.014869399725999</c:v>
                </c:pt>
                <c:pt idx="407">
                  <c:v>25.435028220079001</c:v>
                </c:pt>
                <c:pt idx="408">
                  <c:v>27.845842797883002</c:v>
                </c:pt>
                <c:pt idx="409">
                  <c:v>30.630427077671001</c:v>
                </c:pt>
                <c:pt idx="410">
                  <c:v>32.284358008954001</c:v>
                </c:pt>
                <c:pt idx="411">
                  <c:v>33.321568931963</c:v>
                </c:pt>
                <c:pt idx="412">
                  <c:v>38.189919300318003</c:v>
                </c:pt>
                <c:pt idx="413">
                  <c:v>44.534659991513003</c:v>
                </c:pt>
                <c:pt idx="414">
                  <c:v>50.038418853242</c:v>
                </c:pt>
                <c:pt idx="415">
                  <c:v>57.513812892941999</c:v>
                </c:pt>
                <c:pt idx="416">
                  <c:v>66.568383923528998</c:v>
                </c:pt>
                <c:pt idx="417">
                  <c:v>70.651817917714993</c:v>
                </c:pt>
                <c:pt idx="418">
                  <c:v>73.062632495518997</c:v>
                </c:pt>
                <c:pt idx="419">
                  <c:v>79.519504097310005</c:v>
                </c:pt>
                <c:pt idx="420">
                  <c:v>89.358991502064995</c:v>
                </c:pt>
                <c:pt idx="421">
                  <c:v>98.946184357980002</c:v>
                </c:pt>
                <c:pt idx="422">
                  <c:v>97.170778273552003</c:v>
                </c:pt>
                <c:pt idx="423">
                  <c:v>102.824045016075</c:v>
                </c:pt>
                <c:pt idx="424">
                  <c:v>109.33698207316399</c:v>
                </c:pt>
                <c:pt idx="425">
                  <c:v>111.542223314875</c:v>
                </c:pt>
                <c:pt idx="426">
                  <c:v>128.54874475519301</c:v>
                </c:pt>
                <c:pt idx="427">
                  <c:v>152.55410386518</c:v>
                </c:pt>
                <c:pt idx="428">
                  <c:v>178.89552361257299</c:v>
                </c:pt>
                <c:pt idx="429">
                  <c:v>214.076596811912</c:v>
                </c:pt>
                <c:pt idx="430">
                  <c:v>243.06243720084899</c:v>
                </c:pt>
                <c:pt idx="431">
                  <c:v>253.836348860567</c:v>
                </c:pt>
                <c:pt idx="432">
                  <c:v>257.57404588041697</c:v>
                </c:pt>
                <c:pt idx="433">
                  <c:v>269.29172603764698</c:v>
                </c:pt>
                <c:pt idx="434">
                  <c:v>290.60594329334202</c:v>
                </c:pt>
                <c:pt idx="435">
                  <c:v>308.07967686114102</c:v>
                </c:pt>
                <c:pt idx="436">
                  <c:v>313.975893909955</c:v>
                </c:pt>
                <c:pt idx="437">
                  <c:v>326.048655284071</c:v>
                </c:pt>
                <c:pt idx="438">
                  <c:v>335.61715965488702</c:v>
                </c:pt>
                <c:pt idx="439">
                  <c:v>343.51304460931999</c:v>
                </c:pt>
                <c:pt idx="440">
                  <c:v>352.212534423021</c:v>
                </c:pt>
                <c:pt idx="441">
                  <c:v>377.29248142621498</c:v>
                </c:pt>
                <c:pt idx="442">
                  <c:v>367.28479765556602</c:v>
                </c:pt>
                <c:pt idx="443">
                  <c:v>376.554286264795</c:v>
                </c:pt>
                <c:pt idx="444">
                  <c:v>418.30436197652</c:v>
                </c:pt>
                <c:pt idx="445">
                  <c:v>447.981676314129</c:v>
                </c:pt>
                <c:pt idx="446">
                  <c:v>458.10149099537301</c:v>
                </c:pt>
                <c:pt idx="447">
                  <c:v>469.41736872297002</c:v>
                </c:pt>
                <c:pt idx="448">
                  <c:v>482.44324283714701</c:v>
                </c:pt>
                <c:pt idx="449">
                  <c:v>503.402378875956</c:v>
                </c:pt>
                <c:pt idx="450">
                  <c:v>538.23771510095901</c:v>
                </c:pt>
                <c:pt idx="451">
                  <c:v>526.54806767137802</c:v>
                </c:pt>
                <c:pt idx="452">
                  <c:v>513.81186507623897</c:v>
                </c:pt>
                <c:pt idx="453">
                  <c:v>513.71842265074201</c:v>
                </c:pt>
                <c:pt idx="454">
                  <c:v>525.23987371443002</c:v>
                </c:pt>
                <c:pt idx="455">
                  <c:v>519.38103363581502</c:v>
                </c:pt>
                <c:pt idx="456">
                  <c:v>538.75164844118797</c:v>
                </c:pt>
                <c:pt idx="457">
                  <c:v>528.033802236768</c:v>
                </c:pt>
                <c:pt idx="458">
                  <c:v>516.88612087506499</c:v>
                </c:pt>
                <c:pt idx="459">
                  <c:v>508.22400803156302</c:v>
                </c:pt>
                <c:pt idx="460">
                  <c:v>497.59960425263898</c:v>
                </c:pt>
                <c:pt idx="461">
                  <c:v>482.602094960491</c:v>
                </c:pt>
                <c:pt idx="462">
                  <c:v>465.95999897960797</c:v>
                </c:pt>
                <c:pt idx="463">
                  <c:v>441.618247137835</c:v>
                </c:pt>
                <c:pt idx="464">
                  <c:v>418.780918346551</c:v>
                </c:pt>
                <c:pt idx="465">
                  <c:v>393.20572648822701</c:v>
                </c:pt>
                <c:pt idx="466">
                  <c:v>381.85247179043199</c:v>
                </c:pt>
                <c:pt idx="467">
                  <c:v>375.00314200155702</c:v>
                </c:pt>
                <c:pt idx="468">
                  <c:v>359.79071513076701</c:v>
                </c:pt>
                <c:pt idx="469">
                  <c:v>346.31631737420798</c:v>
                </c:pt>
                <c:pt idx="470">
                  <c:v>322.96505524269401</c:v>
                </c:pt>
                <c:pt idx="471">
                  <c:v>301.80969011034301</c:v>
                </c:pt>
                <c:pt idx="472">
                  <c:v>285.14890564436098</c:v>
                </c:pt>
                <c:pt idx="473">
                  <c:v>273.03876730004703</c:v>
                </c:pt>
                <c:pt idx="474">
                  <c:v>270.64664120734301</c:v>
                </c:pt>
                <c:pt idx="475">
                  <c:v>256.574211927607</c:v>
                </c:pt>
                <c:pt idx="476">
                  <c:v>235.18524073151499</c:v>
                </c:pt>
                <c:pt idx="477">
                  <c:v>220.346583562711</c:v>
                </c:pt>
                <c:pt idx="478">
                  <c:v>207.077759142243</c:v>
                </c:pt>
                <c:pt idx="479">
                  <c:v>174.71864719289101</c:v>
                </c:pt>
                <c:pt idx="480">
                  <c:v>159.375400926406</c:v>
                </c:pt>
                <c:pt idx="481">
                  <c:v>156.488029978572</c:v>
                </c:pt>
                <c:pt idx="482">
                  <c:v>150.76935353820201</c:v>
                </c:pt>
                <c:pt idx="483">
                  <c:v>140.13560551672799</c:v>
                </c:pt>
                <c:pt idx="484">
                  <c:v>133.75348785533399</c:v>
                </c:pt>
                <c:pt idx="485">
                  <c:v>131.21185388183599</c:v>
                </c:pt>
                <c:pt idx="486">
                  <c:v>144.237727996014</c:v>
                </c:pt>
                <c:pt idx="487">
                  <c:v>145.050677097831</c:v>
                </c:pt>
                <c:pt idx="488">
                  <c:v>144.761005578793</c:v>
                </c:pt>
                <c:pt idx="489">
                  <c:v>151.610335367668</c:v>
                </c:pt>
                <c:pt idx="490">
                  <c:v>156.79638998271</c:v>
                </c:pt>
                <c:pt idx="491">
                  <c:v>161.57129792556799</c:v>
                </c:pt>
                <c:pt idx="492">
                  <c:v>161.29097064908001</c:v>
                </c:pt>
                <c:pt idx="493">
                  <c:v>166.27145192802999</c:v>
                </c:pt>
                <c:pt idx="494">
                  <c:v>173.896353848524</c:v>
                </c:pt>
                <c:pt idx="495">
                  <c:v>174.176681125013</c:v>
                </c:pt>
                <c:pt idx="496">
                  <c:v>164.63620948184499</c:v>
                </c:pt>
                <c:pt idx="497">
                  <c:v>160.93588943219399</c:v>
                </c:pt>
                <c:pt idx="498">
                  <c:v>168.91587256957399</c:v>
                </c:pt>
                <c:pt idx="499">
                  <c:v>182.47436850907999</c:v>
                </c:pt>
                <c:pt idx="500">
                  <c:v>202.545801505675</c:v>
                </c:pt>
                <c:pt idx="501">
                  <c:v>220.71100902214599</c:v>
                </c:pt>
                <c:pt idx="502">
                  <c:v>231.924100081696</c:v>
                </c:pt>
                <c:pt idx="503">
                  <c:v>208.37660885664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sympt_pripadu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0.23127</c:v>
                </c:pt>
                <c:pt idx="1">
                  <c:v>0.33434599999999998</c:v>
                </c:pt>
                <c:pt idx="2">
                  <c:v>0.37466300000000002</c:v>
                </c:pt>
                <c:pt idx="3">
                  <c:v>0.82748500000000003</c:v>
                </c:pt>
                <c:pt idx="4">
                  <c:v>0.91193100000000005</c:v>
                </c:pt>
                <c:pt idx="5">
                  <c:v>0.92183199999999998</c:v>
                </c:pt>
                <c:pt idx="6">
                  <c:v>0.76922999999999997</c:v>
                </c:pt>
                <c:pt idx="7">
                  <c:v>0.96289000000000002</c:v>
                </c:pt>
                <c:pt idx="8">
                  <c:v>1.0105630000000001</c:v>
                </c:pt>
                <c:pt idx="9">
                  <c:v>1.0477559999999999</c:v>
                </c:pt>
                <c:pt idx="10">
                  <c:v>1.2869189999999999</c:v>
                </c:pt>
                <c:pt idx="11">
                  <c:v>1.6915880000000001</c:v>
                </c:pt>
                <c:pt idx="12">
                  <c:v>1.6767289999999999</c:v>
                </c:pt>
                <c:pt idx="13">
                  <c:v>1.0845720000000001</c:v>
                </c:pt>
                <c:pt idx="14">
                  <c:v>0.83307200000000003</c:v>
                </c:pt>
                <c:pt idx="15">
                  <c:v>0.73445499999999997</c:v>
                </c:pt>
                <c:pt idx="16">
                  <c:v>0.84338599999999997</c:v>
                </c:pt>
                <c:pt idx="17">
                  <c:v>0.74357700000000004</c:v>
                </c:pt>
                <c:pt idx="18">
                  <c:v>0.67604299999999995</c:v>
                </c:pt>
                <c:pt idx="19">
                  <c:v>0.616344</c:v>
                </c:pt>
                <c:pt idx="20">
                  <c:v>0.48795100000000002</c:v>
                </c:pt>
                <c:pt idx="21">
                  <c:v>0.46185100000000001</c:v>
                </c:pt>
                <c:pt idx="22">
                  <c:v>0.20626800000000001</c:v>
                </c:pt>
                <c:pt idx="23">
                  <c:v>9.4404000000000002E-2</c:v>
                </c:pt>
                <c:pt idx="24">
                  <c:v>0.16642599999999999</c:v>
                </c:pt>
                <c:pt idx="25">
                  <c:v>0.28915299999999999</c:v>
                </c:pt>
                <c:pt idx="26">
                  <c:v>0.26777499999999999</c:v>
                </c:pt>
                <c:pt idx="27">
                  <c:v>0.102243</c:v>
                </c:pt>
                <c:pt idx="28">
                  <c:v>-7.8200000000000003E-4</c:v>
                </c:pt>
                <c:pt idx="29">
                  <c:v>-9.6450000000000008E-3</c:v>
                </c:pt>
                <c:pt idx="30">
                  <c:v>6.9766999999999996E-2</c:v>
                </c:pt>
                <c:pt idx="31">
                  <c:v>0.15092900000000001</c:v>
                </c:pt>
                <c:pt idx="32">
                  <c:v>0.22931699999999999</c:v>
                </c:pt>
                <c:pt idx="33">
                  <c:v>0.25187500000000002</c:v>
                </c:pt>
                <c:pt idx="34">
                  <c:v>0.33446599999999999</c:v>
                </c:pt>
                <c:pt idx="35">
                  <c:v>0.45051200000000002</c:v>
                </c:pt>
                <c:pt idx="36">
                  <c:v>0.47561599999999998</c:v>
                </c:pt>
                <c:pt idx="37">
                  <c:v>0.48286299999999999</c:v>
                </c:pt>
                <c:pt idx="38">
                  <c:v>0.78584699999999996</c:v>
                </c:pt>
                <c:pt idx="39">
                  <c:v>0.93972800000000001</c:v>
                </c:pt>
                <c:pt idx="40">
                  <c:v>0.828731</c:v>
                </c:pt>
                <c:pt idx="41">
                  <c:v>0.55328299999999997</c:v>
                </c:pt>
                <c:pt idx="42">
                  <c:v>0.45916099999999999</c:v>
                </c:pt>
                <c:pt idx="43">
                  <c:v>0.45801700000000001</c:v>
                </c:pt>
                <c:pt idx="44">
                  <c:v>0.37722299999999997</c:v>
                </c:pt>
                <c:pt idx="45">
                  <c:v>0.416246</c:v>
                </c:pt>
                <c:pt idx="46">
                  <c:v>0.52524400000000004</c:v>
                </c:pt>
                <c:pt idx="47">
                  <c:v>0.52372099999999999</c:v>
                </c:pt>
                <c:pt idx="48">
                  <c:v>0.45345200000000002</c:v>
                </c:pt>
                <c:pt idx="49">
                  <c:v>0.39446599999999998</c:v>
                </c:pt>
                <c:pt idx="50">
                  <c:v>0.37151800000000001</c:v>
                </c:pt>
                <c:pt idx="51">
                  <c:v>0.324133</c:v>
                </c:pt>
                <c:pt idx="52">
                  <c:v>0.39768500000000001</c:v>
                </c:pt>
                <c:pt idx="53">
                  <c:v>0.49199100000000001</c:v>
                </c:pt>
                <c:pt idx="54">
                  <c:v>0.41522300000000001</c:v>
                </c:pt>
                <c:pt idx="55">
                  <c:v>0.25133699999999998</c:v>
                </c:pt>
                <c:pt idx="56">
                  <c:v>0.179785</c:v>
                </c:pt>
                <c:pt idx="57">
                  <c:v>8.7354000000000001E-2</c:v>
                </c:pt>
                <c:pt idx="58">
                  <c:v>4.5329999999999997E-3</c:v>
                </c:pt>
                <c:pt idx="59">
                  <c:v>-4.8490999999999999E-2</c:v>
                </c:pt>
                <c:pt idx="60">
                  <c:v>-5.4059000000000003E-2</c:v>
                </c:pt>
                <c:pt idx="61">
                  <c:v>-0.105292</c:v>
                </c:pt>
                <c:pt idx="62">
                  <c:v>-0.18582399999999999</c:v>
                </c:pt>
                <c:pt idx="63">
                  <c:v>-0.21843799999999999</c:v>
                </c:pt>
                <c:pt idx="64">
                  <c:v>-0.175121</c:v>
                </c:pt>
                <c:pt idx="65">
                  <c:v>-0.168458</c:v>
                </c:pt>
                <c:pt idx="66">
                  <c:v>-0.168263</c:v>
                </c:pt>
                <c:pt idx="67">
                  <c:v>-0.15292700000000001</c:v>
                </c:pt>
                <c:pt idx="68">
                  <c:v>-0.20044300000000001</c:v>
                </c:pt>
                <c:pt idx="69">
                  <c:v>-0.265546</c:v>
                </c:pt>
                <c:pt idx="70">
                  <c:v>-0.31514700000000001</c:v>
                </c:pt>
                <c:pt idx="71">
                  <c:v>-0.397567</c:v>
                </c:pt>
                <c:pt idx="72">
                  <c:v>-0.450762</c:v>
                </c:pt>
                <c:pt idx="73">
                  <c:v>-0.46493000000000001</c:v>
                </c:pt>
                <c:pt idx="74">
                  <c:v>-0.45497399999999999</c:v>
                </c:pt>
                <c:pt idx="75">
                  <c:v>-0.466281</c:v>
                </c:pt>
                <c:pt idx="76">
                  <c:v>-0.47586899999999999</c:v>
                </c:pt>
                <c:pt idx="77">
                  <c:v>-0.51188500000000003</c:v>
                </c:pt>
                <c:pt idx="78">
                  <c:v>-0.50126099999999996</c:v>
                </c:pt>
                <c:pt idx="79">
                  <c:v>-0.45947500000000002</c:v>
                </c:pt>
                <c:pt idx="80">
                  <c:v>-0.39811200000000002</c:v>
                </c:pt>
                <c:pt idx="81">
                  <c:v>-0.33305499999999999</c:v>
                </c:pt>
                <c:pt idx="82">
                  <c:v>-0.35970800000000003</c:v>
                </c:pt>
                <c:pt idx="83">
                  <c:v>-0.35157500000000003</c:v>
                </c:pt>
                <c:pt idx="84">
                  <c:v>-0.25226799999999999</c:v>
                </c:pt>
                <c:pt idx="85">
                  <c:v>-0.20359099999999999</c:v>
                </c:pt>
                <c:pt idx="86">
                  <c:v>-0.231265</c:v>
                </c:pt>
                <c:pt idx="87">
                  <c:v>-0.17865300000000001</c:v>
                </c:pt>
                <c:pt idx="88">
                  <c:v>-0.126579</c:v>
                </c:pt>
                <c:pt idx="89">
                  <c:v>-0.196881</c:v>
                </c:pt>
                <c:pt idx="90">
                  <c:v>-0.237428</c:v>
                </c:pt>
                <c:pt idx="91">
                  <c:v>-0.249637</c:v>
                </c:pt>
                <c:pt idx="92">
                  <c:v>-0.21396399999999999</c:v>
                </c:pt>
                <c:pt idx="93">
                  <c:v>-0.13392399999999999</c:v>
                </c:pt>
                <c:pt idx="94">
                  <c:v>-2.6401999999999998E-2</c:v>
                </c:pt>
                <c:pt idx="95">
                  <c:v>7.6661000000000007E-2</c:v>
                </c:pt>
                <c:pt idx="96">
                  <c:v>-9.4249999999999994E-3</c:v>
                </c:pt>
                <c:pt idx="97">
                  <c:v>-3.4143E-2</c:v>
                </c:pt>
                <c:pt idx="98">
                  <c:v>1.7846000000000001E-2</c:v>
                </c:pt>
                <c:pt idx="99">
                  <c:v>9.2767000000000002E-2</c:v>
                </c:pt>
                <c:pt idx="100">
                  <c:v>0.10642500000000001</c:v>
                </c:pt>
                <c:pt idx="101">
                  <c:v>0.20155000000000001</c:v>
                </c:pt>
                <c:pt idx="102">
                  <c:v>0.28339599999999998</c:v>
                </c:pt>
                <c:pt idx="103">
                  <c:v>0.171705</c:v>
                </c:pt>
                <c:pt idx="104">
                  <c:v>8.4806999999999994E-2</c:v>
                </c:pt>
                <c:pt idx="105">
                  <c:v>8.9596999999999996E-2</c:v>
                </c:pt>
                <c:pt idx="106">
                  <c:v>0.110593</c:v>
                </c:pt>
                <c:pt idx="107">
                  <c:v>0.112915</c:v>
                </c:pt>
                <c:pt idx="108">
                  <c:v>0.216555</c:v>
                </c:pt>
                <c:pt idx="109">
                  <c:v>0.31088100000000002</c:v>
                </c:pt>
                <c:pt idx="110">
                  <c:v>0.21887300000000001</c:v>
                </c:pt>
                <c:pt idx="111">
                  <c:v>0.15664500000000001</c:v>
                </c:pt>
                <c:pt idx="112">
                  <c:v>0.15075</c:v>
                </c:pt>
                <c:pt idx="113">
                  <c:v>0.23267199999999999</c:v>
                </c:pt>
                <c:pt idx="114">
                  <c:v>8.9979000000000003E-2</c:v>
                </c:pt>
                <c:pt idx="115">
                  <c:v>-1.6559999999999998E-2</c:v>
                </c:pt>
                <c:pt idx="116">
                  <c:v>-5.6480000000000002E-2</c:v>
                </c:pt>
                <c:pt idx="117">
                  <c:v>-0.14860400000000001</c:v>
                </c:pt>
                <c:pt idx="118">
                  <c:v>-0.17823</c:v>
                </c:pt>
                <c:pt idx="119">
                  <c:v>-0.14895700000000001</c:v>
                </c:pt>
                <c:pt idx="120">
                  <c:v>-3.5300000000000002E-3</c:v>
                </c:pt>
                <c:pt idx="121">
                  <c:v>0.271204</c:v>
                </c:pt>
                <c:pt idx="122">
                  <c:v>0.44248599999999999</c:v>
                </c:pt>
                <c:pt idx="123">
                  <c:v>0.54255100000000001</c:v>
                </c:pt>
                <c:pt idx="124">
                  <c:v>0.38037799999999999</c:v>
                </c:pt>
                <c:pt idx="125">
                  <c:v>0.19076000000000001</c:v>
                </c:pt>
                <c:pt idx="126">
                  <c:v>7.7413999999999997E-2</c:v>
                </c:pt>
                <c:pt idx="127">
                  <c:v>9.0289999999999995E-2</c:v>
                </c:pt>
                <c:pt idx="128">
                  <c:v>0.127383</c:v>
                </c:pt>
                <c:pt idx="129">
                  <c:v>0.223658</c:v>
                </c:pt>
                <c:pt idx="130">
                  <c:v>0.21759700000000001</c:v>
                </c:pt>
                <c:pt idx="131">
                  <c:v>6.0528999999999999E-2</c:v>
                </c:pt>
                <c:pt idx="132">
                  <c:v>-7.3955000000000007E-2</c:v>
                </c:pt>
                <c:pt idx="133">
                  <c:v>-0.17555699999999999</c:v>
                </c:pt>
                <c:pt idx="134">
                  <c:v>-0.245117</c:v>
                </c:pt>
                <c:pt idx="135">
                  <c:v>-0.32735500000000001</c:v>
                </c:pt>
                <c:pt idx="136">
                  <c:v>-0.40858100000000003</c:v>
                </c:pt>
                <c:pt idx="137">
                  <c:v>-0.43964500000000001</c:v>
                </c:pt>
                <c:pt idx="138">
                  <c:v>-0.47115299999999999</c:v>
                </c:pt>
                <c:pt idx="139">
                  <c:v>-0.47967399999999999</c:v>
                </c:pt>
                <c:pt idx="140">
                  <c:v>-0.44975300000000001</c:v>
                </c:pt>
                <c:pt idx="141">
                  <c:v>-0.40507500000000002</c:v>
                </c:pt>
                <c:pt idx="142">
                  <c:v>-0.35379300000000002</c:v>
                </c:pt>
                <c:pt idx="143">
                  <c:v>-0.27596799999999999</c:v>
                </c:pt>
                <c:pt idx="144">
                  <c:v>-0.21365500000000001</c:v>
                </c:pt>
                <c:pt idx="145">
                  <c:v>-0.25702399999999997</c:v>
                </c:pt>
                <c:pt idx="146">
                  <c:v>-0.27024500000000001</c:v>
                </c:pt>
                <c:pt idx="147">
                  <c:v>-0.24194099999999999</c:v>
                </c:pt>
                <c:pt idx="148">
                  <c:v>-0.19109400000000001</c:v>
                </c:pt>
                <c:pt idx="149">
                  <c:v>-0.18567</c:v>
                </c:pt>
                <c:pt idx="150">
                  <c:v>-0.11439299999999999</c:v>
                </c:pt>
                <c:pt idx="151">
                  <c:v>-6.676E-2</c:v>
                </c:pt>
                <c:pt idx="152">
                  <c:v>-0.13522300000000001</c:v>
                </c:pt>
                <c:pt idx="153">
                  <c:v>-0.16533100000000001</c:v>
                </c:pt>
                <c:pt idx="154">
                  <c:v>-0.14710400000000001</c:v>
                </c:pt>
                <c:pt idx="155">
                  <c:v>-0.12676699999999999</c:v>
                </c:pt>
                <c:pt idx="156">
                  <c:v>-0.124999</c:v>
                </c:pt>
                <c:pt idx="157">
                  <c:v>-2.7147999999999999E-2</c:v>
                </c:pt>
                <c:pt idx="158">
                  <c:v>2.538E-2</c:v>
                </c:pt>
                <c:pt idx="159">
                  <c:v>-6.7131999999999997E-2</c:v>
                </c:pt>
                <c:pt idx="160">
                  <c:v>-0.10560600000000001</c:v>
                </c:pt>
                <c:pt idx="161">
                  <c:v>-8.8708999999999996E-2</c:v>
                </c:pt>
                <c:pt idx="162">
                  <c:v>-8.1907999999999995E-2</c:v>
                </c:pt>
                <c:pt idx="163">
                  <c:v>-7.3223999999999997E-2</c:v>
                </c:pt>
                <c:pt idx="164">
                  <c:v>-1.1053E-2</c:v>
                </c:pt>
                <c:pt idx="165">
                  <c:v>2.6398000000000001E-2</c:v>
                </c:pt>
                <c:pt idx="166">
                  <c:v>-5.9392E-2</c:v>
                </c:pt>
                <c:pt idx="167">
                  <c:v>-0.101475</c:v>
                </c:pt>
                <c:pt idx="168">
                  <c:v>-6.9532999999999998E-2</c:v>
                </c:pt>
                <c:pt idx="169">
                  <c:v>-3.9648999999999997E-2</c:v>
                </c:pt>
                <c:pt idx="170">
                  <c:v>-4.2170000000000003E-3</c:v>
                </c:pt>
                <c:pt idx="171">
                  <c:v>0.10494299999999999</c:v>
                </c:pt>
                <c:pt idx="172">
                  <c:v>0.172731</c:v>
                </c:pt>
                <c:pt idx="173">
                  <c:v>7.5463000000000002E-2</c:v>
                </c:pt>
                <c:pt idx="174">
                  <c:v>2.5017000000000001E-2</c:v>
                </c:pt>
                <c:pt idx="175">
                  <c:v>6.0393000000000002E-2</c:v>
                </c:pt>
                <c:pt idx="176">
                  <c:v>6.9670999999999997E-2</c:v>
                </c:pt>
                <c:pt idx="177">
                  <c:v>7.9233999999999999E-2</c:v>
                </c:pt>
                <c:pt idx="178">
                  <c:v>0.16645299999999999</c:v>
                </c:pt>
                <c:pt idx="179">
                  <c:v>0.206424</c:v>
                </c:pt>
                <c:pt idx="180">
                  <c:v>8.1414E-2</c:v>
                </c:pt>
                <c:pt idx="181">
                  <c:v>-9.2259999999999998E-3</c:v>
                </c:pt>
                <c:pt idx="182">
                  <c:v>-1.8665000000000001E-2</c:v>
                </c:pt>
                <c:pt idx="183">
                  <c:v>-4.0216000000000002E-2</c:v>
                </c:pt>
                <c:pt idx="184">
                  <c:v>-6.08E-2</c:v>
                </c:pt>
                <c:pt idx="185">
                  <c:v>-3.1431000000000001E-2</c:v>
                </c:pt>
                <c:pt idx="186">
                  <c:v>9.5340000000000008E-3</c:v>
                </c:pt>
                <c:pt idx="187">
                  <c:v>-8.2722000000000004E-2</c:v>
                </c:pt>
                <c:pt idx="188">
                  <c:v>-0.156303</c:v>
                </c:pt>
                <c:pt idx="189">
                  <c:v>-0.17230899999999999</c:v>
                </c:pt>
                <c:pt idx="190">
                  <c:v>-0.20118900000000001</c:v>
                </c:pt>
                <c:pt idx="191">
                  <c:v>-0.23600199999999999</c:v>
                </c:pt>
                <c:pt idx="192">
                  <c:v>-0.167793</c:v>
                </c:pt>
                <c:pt idx="193">
                  <c:v>-0.16012100000000001</c:v>
                </c:pt>
                <c:pt idx="194">
                  <c:v>-0.22065599999999999</c:v>
                </c:pt>
                <c:pt idx="195">
                  <c:v>-0.25245000000000001</c:v>
                </c:pt>
                <c:pt idx="196">
                  <c:v>-0.24709999999999999</c:v>
                </c:pt>
                <c:pt idx="197">
                  <c:v>-0.234179</c:v>
                </c:pt>
                <c:pt idx="198">
                  <c:v>-0.24083099999999999</c:v>
                </c:pt>
                <c:pt idx="199">
                  <c:v>-0.25407999999999997</c:v>
                </c:pt>
                <c:pt idx="200">
                  <c:v>-0.218865</c:v>
                </c:pt>
                <c:pt idx="201">
                  <c:v>-0.283613</c:v>
                </c:pt>
                <c:pt idx="202">
                  <c:v>-0.340642</c:v>
                </c:pt>
                <c:pt idx="203">
                  <c:v>-0.35312500000000002</c:v>
                </c:pt>
                <c:pt idx="204">
                  <c:v>-0.36279499999999998</c:v>
                </c:pt>
                <c:pt idx="205">
                  <c:v>-0.38344600000000001</c:v>
                </c:pt>
                <c:pt idx="206">
                  <c:v>-0.315328</c:v>
                </c:pt>
                <c:pt idx="207">
                  <c:v>-0.28989599999999999</c:v>
                </c:pt>
                <c:pt idx="208">
                  <c:v>-0.33777099999999999</c:v>
                </c:pt>
                <c:pt idx="209">
                  <c:v>-0.36049100000000001</c:v>
                </c:pt>
                <c:pt idx="210">
                  <c:v>-0.34301900000000002</c:v>
                </c:pt>
                <c:pt idx="211">
                  <c:v>-0.323687</c:v>
                </c:pt>
                <c:pt idx="212">
                  <c:v>-0.31779600000000002</c:v>
                </c:pt>
                <c:pt idx="213">
                  <c:v>-0.31862299999999999</c:v>
                </c:pt>
                <c:pt idx="214">
                  <c:v>-0.30315799999999998</c:v>
                </c:pt>
                <c:pt idx="215">
                  <c:v>-0.35590899999999998</c:v>
                </c:pt>
                <c:pt idx="216">
                  <c:v>-0.45982499999999998</c:v>
                </c:pt>
                <c:pt idx="217">
                  <c:v>-0.48927799999999999</c:v>
                </c:pt>
                <c:pt idx="218">
                  <c:v>-0.45630700000000002</c:v>
                </c:pt>
                <c:pt idx="219">
                  <c:v>-0.407115</c:v>
                </c:pt>
                <c:pt idx="220">
                  <c:v>-0.284134</c:v>
                </c:pt>
                <c:pt idx="221">
                  <c:v>-0.23716599999999999</c:v>
                </c:pt>
                <c:pt idx="222">
                  <c:v>-0.24992500000000001</c:v>
                </c:pt>
                <c:pt idx="223">
                  <c:v>-0.160722</c:v>
                </c:pt>
                <c:pt idx="224">
                  <c:v>-0.13305500000000001</c:v>
                </c:pt>
                <c:pt idx="225">
                  <c:v>-0.20458799999999999</c:v>
                </c:pt>
                <c:pt idx="226">
                  <c:v>-0.25790000000000002</c:v>
                </c:pt>
                <c:pt idx="227">
                  <c:v>-0.28698499999999999</c:v>
                </c:pt>
                <c:pt idx="228">
                  <c:v>-0.28727399999999997</c:v>
                </c:pt>
                <c:pt idx="229">
                  <c:v>-0.33611000000000002</c:v>
                </c:pt>
                <c:pt idx="230">
                  <c:v>-0.41703800000000002</c:v>
                </c:pt>
                <c:pt idx="231">
                  <c:v>-0.42310399999999998</c:v>
                </c:pt>
                <c:pt idx="232">
                  <c:v>-0.36718499999999998</c:v>
                </c:pt>
                <c:pt idx="233">
                  <c:v>-0.32808300000000001</c:v>
                </c:pt>
                <c:pt idx="234">
                  <c:v>-0.25499899999999998</c:v>
                </c:pt>
                <c:pt idx="235">
                  <c:v>-0.217442</c:v>
                </c:pt>
                <c:pt idx="236">
                  <c:v>-0.288522</c:v>
                </c:pt>
                <c:pt idx="237">
                  <c:v>-0.33030700000000002</c:v>
                </c:pt>
                <c:pt idx="238">
                  <c:v>-0.30080000000000001</c:v>
                </c:pt>
                <c:pt idx="239">
                  <c:v>-0.29399599999999998</c:v>
                </c:pt>
                <c:pt idx="240">
                  <c:v>-0.28843999999999997</c:v>
                </c:pt>
                <c:pt idx="241">
                  <c:v>-0.23185800000000001</c:v>
                </c:pt>
                <c:pt idx="242">
                  <c:v>-0.20171800000000001</c:v>
                </c:pt>
                <c:pt idx="243">
                  <c:v>-0.28444199999999997</c:v>
                </c:pt>
                <c:pt idx="244">
                  <c:v>-0.30773499999999998</c:v>
                </c:pt>
                <c:pt idx="245">
                  <c:v>-0.30045899999999998</c:v>
                </c:pt>
                <c:pt idx="246">
                  <c:v>-0.31121199999999999</c:v>
                </c:pt>
                <c:pt idx="247">
                  <c:v>-0.32504899999999998</c:v>
                </c:pt>
                <c:pt idx="248">
                  <c:v>-0.302068</c:v>
                </c:pt>
                <c:pt idx="249">
                  <c:v>-0.30368699999999998</c:v>
                </c:pt>
                <c:pt idx="250">
                  <c:v>-0.36669299999999999</c:v>
                </c:pt>
                <c:pt idx="251">
                  <c:v>-0.39944099999999999</c:v>
                </c:pt>
                <c:pt idx="252">
                  <c:v>-0.38452599999999998</c:v>
                </c:pt>
                <c:pt idx="253">
                  <c:v>-0.38524399999999998</c:v>
                </c:pt>
                <c:pt idx="254">
                  <c:v>-0.379355</c:v>
                </c:pt>
                <c:pt idx="255">
                  <c:v>-0.34945599999999999</c:v>
                </c:pt>
                <c:pt idx="256">
                  <c:v>-0.31743500000000002</c:v>
                </c:pt>
                <c:pt idx="257">
                  <c:v>-0.382934</c:v>
                </c:pt>
                <c:pt idx="258">
                  <c:v>-0.40606900000000001</c:v>
                </c:pt>
                <c:pt idx="259">
                  <c:v>-0.38861400000000001</c:v>
                </c:pt>
                <c:pt idx="260">
                  <c:v>-0.40163399999999999</c:v>
                </c:pt>
                <c:pt idx="261">
                  <c:v>-0.42230899999999999</c:v>
                </c:pt>
                <c:pt idx="262">
                  <c:v>-0.39000899999999999</c:v>
                </c:pt>
                <c:pt idx="263">
                  <c:v>-0.37876900000000002</c:v>
                </c:pt>
                <c:pt idx="264">
                  <c:v>-0.43272899999999997</c:v>
                </c:pt>
                <c:pt idx="265">
                  <c:v>-0.46090399999999998</c:v>
                </c:pt>
                <c:pt idx="266">
                  <c:v>-0.480846</c:v>
                </c:pt>
                <c:pt idx="267">
                  <c:v>-0.47831099999999999</c:v>
                </c:pt>
                <c:pt idx="268">
                  <c:v>-0.456758</c:v>
                </c:pt>
                <c:pt idx="269">
                  <c:v>-0.42415399999999998</c:v>
                </c:pt>
                <c:pt idx="270">
                  <c:v>-0.40294400000000002</c:v>
                </c:pt>
                <c:pt idx="271">
                  <c:v>-0.46692699999999998</c:v>
                </c:pt>
                <c:pt idx="272">
                  <c:v>-0.46651100000000001</c:v>
                </c:pt>
                <c:pt idx="273">
                  <c:v>-0.40404899999999999</c:v>
                </c:pt>
                <c:pt idx="274">
                  <c:v>-0.41465800000000003</c:v>
                </c:pt>
                <c:pt idx="275">
                  <c:v>-0.45114300000000002</c:v>
                </c:pt>
                <c:pt idx="276">
                  <c:v>-0.43812899999999999</c:v>
                </c:pt>
                <c:pt idx="277">
                  <c:v>-0.436672</c:v>
                </c:pt>
                <c:pt idx="278">
                  <c:v>-0.48804599999999998</c:v>
                </c:pt>
                <c:pt idx="279">
                  <c:v>-0.50912500000000005</c:v>
                </c:pt>
                <c:pt idx="280">
                  <c:v>-0.50315699999999997</c:v>
                </c:pt>
                <c:pt idx="281">
                  <c:v>-0.496562</c:v>
                </c:pt>
                <c:pt idx="282">
                  <c:v>-0.49022900000000003</c:v>
                </c:pt>
                <c:pt idx="283">
                  <c:v>-0.45200000000000001</c:v>
                </c:pt>
                <c:pt idx="284">
                  <c:v>-0.43831100000000001</c:v>
                </c:pt>
                <c:pt idx="285">
                  <c:v>-0.49698700000000001</c:v>
                </c:pt>
                <c:pt idx="286">
                  <c:v>-0.52557100000000001</c:v>
                </c:pt>
                <c:pt idx="287">
                  <c:v>-0.546261</c:v>
                </c:pt>
                <c:pt idx="288">
                  <c:v>-0.55910899999999997</c:v>
                </c:pt>
                <c:pt idx="289">
                  <c:v>-0.563527</c:v>
                </c:pt>
                <c:pt idx="290">
                  <c:v>-0.55263099999999998</c:v>
                </c:pt>
                <c:pt idx="291">
                  <c:v>-0.52919000000000005</c:v>
                </c:pt>
                <c:pt idx="292">
                  <c:v>-0.54693099999999994</c:v>
                </c:pt>
                <c:pt idx="293">
                  <c:v>-0.54929499999999998</c:v>
                </c:pt>
                <c:pt idx="294">
                  <c:v>-0.50753700000000002</c:v>
                </c:pt>
                <c:pt idx="295">
                  <c:v>-0.45170399999999999</c:v>
                </c:pt>
                <c:pt idx="296">
                  <c:v>-0.44135799999999997</c:v>
                </c:pt>
                <c:pt idx="297">
                  <c:v>-0.33823500000000001</c:v>
                </c:pt>
                <c:pt idx="298">
                  <c:v>-0.30798399999999998</c:v>
                </c:pt>
                <c:pt idx="299">
                  <c:v>-0.34295999999999999</c:v>
                </c:pt>
                <c:pt idx="300">
                  <c:v>-0.26459100000000002</c:v>
                </c:pt>
                <c:pt idx="301">
                  <c:v>-0.13733899999999999</c:v>
                </c:pt>
                <c:pt idx="302">
                  <c:v>-6.9444000000000006E-2</c:v>
                </c:pt>
                <c:pt idx="303">
                  <c:v>8.0187999999999995E-2</c:v>
                </c:pt>
                <c:pt idx="304">
                  <c:v>0.241206</c:v>
                </c:pt>
                <c:pt idx="305">
                  <c:v>0.29230699999999998</c:v>
                </c:pt>
                <c:pt idx="306">
                  <c:v>0.19534799999999999</c:v>
                </c:pt>
                <c:pt idx="307">
                  <c:v>8.5470000000000004E-2</c:v>
                </c:pt>
                <c:pt idx="308">
                  <c:v>4.2009999999999999E-3</c:v>
                </c:pt>
                <c:pt idx="309">
                  <c:v>7.1428000000000005E-2</c:v>
                </c:pt>
                <c:pt idx="310">
                  <c:v>7.1939999999999999E-3</c:v>
                </c:pt>
                <c:pt idx="311">
                  <c:v>0.15498100000000001</c:v>
                </c:pt>
                <c:pt idx="312">
                  <c:v>0.23333300000000001</c:v>
                </c:pt>
                <c:pt idx="313">
                  <c:v>0.19512099999999999</c:v>
                </c:pt>
                <c:pt idx="314">
                  <c:v>0.390845</c:v>
                </c:pt>
                <c:pt idx="315">
                  <c:v>0.48859900000000001</c:v>
                </c:pt>
                <c:pt idx="316">
                  <c:v>0.338368</c:v>
                </c:pt>
                <c:pt idx="317">
                  <c:v>0.23480599999999999</c:v>
                </c:pt>
                <c:pt idx="318">
                  <c:v>0.196078</c:v>
                </c:pt>
                <c:pt idx="319">
                  <c:v>0.18559500000000001</c:v>
                </c:pt>
                <c:pt idx="320">
                  <c:v>1.1764E-2</c:v>
                </c:pt>
                <c:pt idx="321">
                  <c:v>-0.143737</c:v>
                </c:pt>
                <c:pt idx="322">
                  <c:v>-0.176125</c:v>
                </c:pt>
                <c:pt idx="323">
                  <c:v>-0.12598400000000001</c:v>
                </c:pt>
                <c:pt idx="324">
                  <c:v>-0.129666</c:v>
                </c:pt>
                <c:pt idx="325">
                  <c:v>-7.2033E-2</c:v>
                </c:pt>
                <c:pt idx="326">
                  <c:v>-5.6767999999999999E-2</c:v>
                </c:pt>
                <c:pt idx="327">
                  <c:v>-0.172344</c:v>
                </c:pt>
                <c:pt idx="328">
                  <c:v>-0.22611999999999999</c:v>
                </c:pt>
                <c:pt idx="329">
                  <c:v>-0.23493900000000001</c:v>
                </c:pt>
                <c:pt idx="330">
                  <c:v>-0.29724400000000001</c:v>
                </c:pt>
                <c:pt idx="331">
                  <c:v>-0.29599900000000001</c:v>
                </c:pt>
                <c:pt idx="332">
                  <c:v>-0.276729</c:v>
                </c:pt>
                <c:pt idx="333">
                  <c:v>-0.25959300000000002</c:v>
                </c:pt>
                <c:pt idx="334">
                  <c:v>-0.287553</c:v>
                </c:pt>
                <c:pt idx="335">
                  <c:v>-0.32913999999999999</c:v>
                </c:pt>
                <c:pt idx="336">
                  <c:v>-0.30645099999999997</c:v>
                </c:pt>
                <c:pt idx="337">
                  <c:v>-0.21634600000000001</c:v>
                </c:pt>
                <c:pt idx="338">
                  <c:v>-0.23134299999999999</c:v>
                </c:pt>
                <c:pt idx="339">
                  <c:v>-0.14713799999999999</c:v>
                </c:pt>
                <c:pt idx="340">
                  <c:v>-6.9970000000000004E-2</c:v>
                </c:pt>
                <c:pt idx="341">
                  <c:v>-0.120643</c:v>
                </c:pt>
                <c:pt idx="342">
                  <c:v>-0.110236</c:v>
                </c:pt>
                <c:pt idx="343">
                  <c:v>-6.0685999999999997E-2</c:v>
                </c:pt>
                <c:pt idx="344">
                  <c:v>-6.7933999999999994E-2</c:v>
                </c:pt>
                <c:pt idx="345">
                  <c:v>-2.2037999999999999E-2</c:v>
                </c:pt>
                <c:pt idx="346">
                  <c:v>3.2258000000000002E-2</c:v>
                </c:pt>
                <c:pt idx="347">
                  <c:v>4.3730999999999999E-2</c:v>
                </c:pt>
                <c:pt idx="348">
                  <c:v>-8.6842000000000003E-2</c:v>
                </c:pt>
                <c:pt idx="349">
                  <c:v>-0.12230199999999999</c:v>
                </c:pt>
                <c:pt idx="350">
                  <c:v>-0.12589</c:v>
                </c:pt>
                <c:pt idx="351">
                  <c:v>-6.0453E-2</c:v>
                </c:pt>
                <c:pt idx="352">
                  <c:v>-0.115763</c:v>
                </c:pt>
                <c:pt idx="353">
                  <c:v>-9.0673000000000004E-2</c:v>
                </c:pt>
                <c:pt idx="354">
                  <c:v>-7.0080000000000003E-2</c:v>
                </c:pt>
                <c:pt idx="355">
                  <c:v>-0.16267899999999999</c:v>
                </c:pt>
                <c:pt idx="356">
                  <c:v>-0.224215</c:v>
                </c:pt>
                <c:pt idx="357">
                  <c:v>-0.21917800000000001</c:v>
                </c:pt>
                <c:pt idx="358">
                  <c:v>-0.16222700000000001</c:v>
                </c:pt>
                <c:pt idx="359">
                  <c:v>-0.106965</c:v>
                </c:pt>
                <c:pt idx="360">
                  <c:v>-1.8468999999999999E-2</c:v>
                </c:pt>
                <c:pt idx="361">
                  <c:v>3.3057000000000003E-2</c:v>
                </c:pt>
                <c:pt idx="362">
                  <c:v>-9.8321000000000006E-2</c:v>
                </c:pt>
                <c:pt idx="363">
                  <c:v>-0.111374</c:v>
                </c:pt>
                <c:pt idx="364">
                  <c:v>-0.103365</c:v>
                </c:pt>
                <c:pt idx="365">
                  <c:v>-1.7543E-2</c:v>
                </c:pt>
                <c:pt idx="366">
                  <c:v>8.9155999999999999E-2</c:v>
                </c:pt>
                <c:pt idx="367">
                  <c:v>0.22828699999999999</c:v>
                </c:pt>
                <c:pt idx="368">
                  <c:v>0.30710599999999999</c:v>
                </c:pt>
                <c:pt idx="369">
                  <c:v>0.208144</c:v>
                </c:pt>
                <c:pt idx="370">
                  <c:v>0.33853</c:v>
                </c:pt>
                <c:pt idx="371">
                  <c:v>0.49570799999999998</c:v>
                </c:pt>
                <c:pt idx="372">
                  <c:v>0.445544</c:v>
                </c:pt>
                <c:pt idx="373">
                  <c:v>0.373865</c:v>
                </c:pt>
                <c:pt idx="374">
                  <c:v>0.467032</c:v>
                </c:pt>
                <c:pt idx="375">
                  <c:v>0.47016200000000002</c:v>
                </c:pt>
                <c:pt idx="376">
                  <c:v>0.217391</c:v>
                </c:pt>
                <c:pt idx="377">
                  <c:v>0.107652</c:v>
                </c:pt>
                <c:pt idx="378">
                  <c:v>6.5613000000000005E-2</c:v>
                </c:pt>
                <c:pt idx="379">
                  <c:v>5.5171999999999999E-2</c:v>
                </c:pt>
                <c:pt idx="380">
                  <c:v>7.6665999999999998E-2</c:v>
                </c:pt>
                <c:pt idx="381">
                  <c:v>0.148148</c:v>
                </c:pt>
                <c:pt idx="382">
                  <c:v>0.19176399999999999</c:v>
                </c:pt>
                <c:pt idx="383">
                  <c:v>2.8368000000000001E-2</c:v>
                </c:pt>
                <c:pt idx="384">
                  <c:v>-4.4889999999999999E-2</c:v>
                </c:pt>
                <c:pt idx="385">
                  <c:v>-2.7777E-2</c:v>
                </c:pt>
                <c:pt idx="386">
                  <c:v>-8.9269000000000001E-2</c:v>
                </c:pt>
                <c:pt idx="387">
                  <c:v>-0.12422900000000001</c:v>
                </c:pt>
                <c:pt idx="388">
                  <c:v>-6.7843000000000001E-2</c:v>
                </c:pt>
                <c:pt idx="389">
                  <c:v>-3.0418000000000001E-2</c:v>
                </c:pt>
                <c:pt idx="390">
                  <c:v>-0.102978</c:v>
                </c:pt>
                <c:pt idx="391">
                  <c:v>-6.0429999999999998E-2</c:v>
                </c:pt>
                <c:pt idx="392">
                  <c:v>-0.10705099999999999</c:v>
                </c:pt>
                <c:pt idx="393">
                  <c:v>-2.1940000000000001E-2</c:v>
                </c:pt>
                <c:pt idx="394">
                  <c:v>0.12831400000000001</c:v>
                </c:pt>
                <c:pt idx="395">
                  <c:v>0.30344199999999999</c:v>
                </c:pt>
                <c:pt idx="396">
                  <c:v>0.36779499999999998</c:v>
                </c:pt>
                <c:pt idx="397">
                  <c:v>0.18146699999999999</c:v>
                </c:pt>
                <c:pt idx="398">
                  <c:v>0.27243800000000001</c:v>
                </c:pt>
                <c:pt idx="399">
                  <c:v>0.43224800000000002</c:v>
                </c:pt>
                <c:pt idx="400">
                  <c:v>0.34002599999999999</c:v>
                </c:pt>
                <c:pt idx="401">
                  <c:v>0.25092900000000001</c:v>
                </c:pt>
                <c:pt idx="402">
                  <c:v>0.32205499999999998</c:v>
                </c:pt>
                <c:pt idx="403">
                  <c:v>0.32563900000000001</c:v>
                </c:pt>
                <c:pt idx="404">
                  <c:v>0.15518100000000001</c:v>
                </c:pt>
                <c:pt idx="405">
                  <c:v>0.147817</c:v>
                </c:pt>
                <c:pt idx="406">
                  <c:v>8.4066000000000002E-2</c:v>
                </c:pt>
                <c:pt idx="407">
                  <c:v>0.156329</c:v>
                </c:pt>
                <c:pt idx="408">
                  <c:v>0.23908499999999999</c:v>
                </c:pt>
                <c:pt idx="409">
                  <c:v>0.43645899999999999</c:v>
                </c:pt>
                <c:pt idx="410">
                  <c:v>0.54447900000000005</c:v>
                </c:pt>
                <c:pt idx="411">
                  <c:v>0.35744100000000001</c:v>
                </c:pt>
                <c:pt idx="412">
                  <c:v>0.42057600000000001</c:v>
                </c:pt>
                <c:pt idx="413">
                  <c:v>0.53642800000000002</c:v>
                </c:pt>
                <c:pt idx="414">
                  <c:v>0.60714199999999996</c:v>
                </c:pt>
                <c:pt idx="415">
                  <c:v>0.67985799999999996</c:v>
                </c:pt>
                <c:pt idx="416">
                  <c:v>0.96415700000000004</c:v>
                </c:pt>
                <c:pt idx="417">
                  <c:v>1.055736</c:v>
                </c:pt>
                <c:pt idx="418">
                  <c:v>0.70534300000000005</c:v>
                </c:pt>
                <c:pt idx="419">
                  <c:v>0.59692199999999995</c:v>
                </c:pt>
                <c:pt idx="420">
                  <c:v>0.59542799999999996</c:v>
                </c:pt>
                <c:pt idx="421">
                  <c:v>0.56526200000000004</c:v>
                </c:pt>
                <c:pt idx="422">
                  <c:v>0.331839</c:v>
                </c:pt>
                <c:pt idx="423">
                  <c:v>0.39115</c:v>
                </c:pt>
                <c:pt idx="424">
                  <c:v>0.454986</c:v>
                </c:pt>
                <c:pt idx="425">
                  <c:v>0.25270199999999998</c:v>
                </c:pt>
                <c:pt idx="426">
                  <c:v>0.273206</c:v>
                </c:pt>
                <c:pt idx="427">
                  <c:v>0.38156800000000002</c:v>
                </c:pt>
                <c:pt idx="428">
                  <c:v>0.62122100000000002</c:v>
                </c:pt>
                <c:pt idx="429">
                  <c:v>0.81006500000000004</c:v>
                </c:pt>
                <c:pt idx="430">
                  <c:v>1.083126</c:v>
                </c:pt>
                <c:pt idx="431">
                  <c:v>1.1875500000000001</c:v>
                </c:pt>
                <c:pt idx="432">
                  <c:v>0.78218100000000002</c:v>
                </c:pt>
                <c:pt idx="433">
                  <c:v>0.54766099999999995</c:v>
                </c:pt>
                <c:pt idx="434">
                  <c:v>0.45333800000000002</c:v>
                </c:pt>
                <c:pt idx="435">
                  <c:v>0.36634800000000001</c:v>
                </c:pt>
                <c:pt idx="436">
                  <c:v>0.18857399999999999</c:v>
                </c:pt>
                <c:pt idx="437">
                  <c:v>0.21798999999999999</c:v>
                </c:pt>
                <c:pt idx="438">
                  <c:v>0.269959</c:v>
                </c:pt>
                <c:pt idx="439">
                  <c:v>0.13641800000000001</c:v>
                </c:pt>
                <c:pt idx="440">
                  <c:v>4.8075E-2</c:v>
                </c:pt>
                <c:pt idx="441">
                  <c:v>6.1351000000000003E-2</c:v>
                </c:pt>
                <c:pt idx="442">
                  <c:v>1.8658999999999999E-2</c:v>
                </c:pt>
                <c:pt idx="443">
                  <c:v>1.1169999999999999E-3</c:v>
                </c:pt>
                <c:pt idx="444">
                  <c:v>0.16115399999999999</c:v>
                </c:pt>
                <c:pt idx="445">
                  <c:v>0.26566099999999998</c:v>
                </c:pt>
                <c:pt idx="446">
                  <c:v>0.15415400000000001</c:v>
                </c:pt>
                <c:pt idx="447">
                  <c:v>5.7110000000000001E-2</c:v>
                </c:pt>
                <c:pt idx="448">
                  <c:v>0.11634799999999999</c:v>
                </c:pt>
                <c:pt idx="449">
                  <c:v>0.173345</c:v>
                </c:pt>
                <c:pt idx="450">
                  <c:v>0.12024899999999999</c:v>
                </c:pt>
                <c:pt idx="451">
                  <c:v>9.2010999999999996E-2</c:v>
                </c:pt>
                <c:pt idx="452">
                  <c:v>7.8451000000000007E-2</c:v>
                </c:pt>
                <c:pt idx="453">
                  <c:v>-1.7408E-2</c:v>
                </c:pt>
                <c:pt idx="454">
                  <c:v>-8.5405999999999996E-2</c:v>
                </c:pt>
                <c:pt idx="455">
                  <c:v>-6.9662000000000002E-2</c:v>
                </c:pt>
                <c:pt idx="456">
                  <c:v>-0.10205699999999999</c:v>
                </c:pt>
                <c:pt idx="457">
                  <c:v>-0.16245699999999999</c:v>
                </c:pt>
                <c:pt idx="458">
                  <c:v>-0.105252</c:v>
                </c:pt>
                <c:pt idx="459">
                  <c:v>-6.2614000000000003E-2</c:v>
                </c:pt>
                <c:pt idx="460">
                  <c:v>-0.15654999999999999</c:v>
                </c:pt>
                <c:pt idx="461">
                  <c:v>-0.22691</c:v>
                </c:pt>
                <c:pt idx="462">
                  <c:v>-0.24182300000000001</c:v>
                </c:pt>
                <c:pt idx="463">
                  <c:v>-0.29297600000000001</c:v>
                </c:pt>
                <c:pt idx="464">
                  <c:v>-0.31246400000000002</c:v>
                </c:pt>
                <c:pt idx="465">
                  <c:v>-0.29704900000000001</c:v>
                </c:pt>
                <c:pt idx="466">
                  <c:v>-0.27398800000000001</c:v>
                </c:pt>
                <c:pt idx="467">
                  <c:v>-0.32896300000000001</c:v>
                </c:pt>
                <c:pt idx="468">
                  <c:v>-0.36316999999999999</c:v>
                </c:pt>
                <c:pt idx="469">
                  <c:v>-0.35487099999999999</c:v>
                </c:pt>
                <c:pt idx="470">
                  <c:v>-0.36001499999999997</c:v>
                </c:pt>
                <c:pt idx="471">
                  <c:v>-0.36364099999999999</c:v>
                </c:pt>
                <c:pt idx="472">
                  <c:v>-0.32800400000000002</c:v>
                </c:pt>
                <c:pt idx="473">
                  <c:v>-0.304782</c:v>
                </c:pt>
                <c:pt idx="474">
                  <c:v>-0.357184</c:v>
                </c:pt>
                <c:pt idx="475">
                  <c:v>-0.40148600000000001</c:v>
                </c:pt>
                <c:pt idx="476">
                  <c:v>-0.40281400000000001</c:v>
                </c:pt>
                <c:pt idx="477">
                  <c:v>-0.39604</c:v>
                </c:pt>
                <c:pt idx="478">
                  <c:v>-0.39209899999999998</c:v>
                </c:pt>
                <c:pt idx="479">
                  <c:v>-0.42557800000000001</c:v>
                </c:pt>
                <c:pt idx="480">
                  <c:v>-0.43390000000000001</c:v>
                </c:pt>
                <c:pt idx="481">
                  <c:v>-0.48286099999999998</c:v>
                </c:pt>
                <c:pt idx="482">
                  <c:v>-0.50417900000000004</c:v>
                </c:pt>
                <c:pt idx="483">
                  <c:v>-0.47681800000000002</c:v>
                </c:pt>
                <c:pt idx="484">
                  <c:v>-0.46272799999999997</c:v>
                </c:pt>
                <c:pt idx="485">
                  <c:v>-0.38557799999999998</c:v>
                </c:pt>
                <c:pt idx="486">
                  <c:v>-0.19145100000000001</c:v>
                </c:pt>
                <c:pt idx="487">
                  <c:v>-0.120808</c:v>
                </c:pt>
                <c:pt idx="488">
                  <c:v>-0.20777200000000001</c:v>
                </c:pt>
                <c:pt idx="489">
                  <c:v>-0.192022</c:v>
                </c:pt>
                <c:pt idx="490">
                  <c:v>-5.7832000000000001E-2</c:v>
                </c:pt>
                <c:pt idx="491">
                  <c:v>1.0992E-2</c:v>
                </c:pt>
                <c:pt idx="492">
                  <c:v>7.0183999999999996E-2</c:v>
                </c:pt>
                <c:pt idx="493">
                  <c:v>0.117994</c:v>
                </c:pt>
                <c:pt idx="494">
                  <c:v>0.156475</c:v>
                </c:pt>
                <c:pt idx="495">
                  <c:v>-2.0648E-2</c:v>
                </c:pt>
                <c:pt idx="496">
                  <c:v>-0.14990800000000001</c:v>
                </c:pt>
                <c:pt idx="497">
                  <c:v>-0.14330399999999999</c:v>
                </c:pt>
                <c:pt idx="498">
                  <c:v>-9.8403000000000004E-2</c:v>
                </c:pt>
                <c:pt idx="499">
                  <c:v>-1.7755E-2</c:v>
                </c:pt>
                <c:pt idx="500">
                  <c:v>0.135463</c:v>
                </c:pt>
                <c:pt idx="501">
                  <c:v>0.229631</c:v>
                </c:pt>
                <c:pt idx="502">
                  <c:v>0.17296700000000001</c:v>
                </c:pt>
                <c:pt idx="503">
                  <c:v>2.6513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R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1.148775055679</c:v>
                </c:pt>
                <c:pt idx="1">
                  <c:v>1.271582733812</c:v>
                </c:pt>
                <c:pt idx="2">
                  <c:v>1.3649350649350001</c:v>
                </c:pt>
                <c:pt idx="3">
                  <c:v>1.414863209473</c:v>
                </c:pt>
                <c:pt idx="4">
                  <c:v>1.4918233851180001</c:v>
                </c:pt>
                <c:pt idx="5">
                  <c:v>1.4672353625429999</c:v>
                </c:pt>
                <c:pt idx="6">
                  <c:v>1.4458981612440001</c:v>
                </c:pt>
                <c:pt idx="7">
                  <c:v>1.5074532191559999</c:v>
                </c:pt>
                <c:pt idx="8">
                  <c:v>1.519769119769</c:v>
                </c:pt>
                <c:pt idx="9">
                  <c:v>1.6371608659900001</c:v>
                </c:pt>
                <c:pt idx="10">
                  <c:v>1.74920718816</c:v>
                </c:pt>
                <c:pt idx="11">
                  <c:v>1.8713621912439999</c:v>
                </c:pt>
                <c:pt idx="12">
                  <c:v>1.690090469177</c:v>
                </c:pt>
                <c:pt idx="13">
                  <c:v>1.6141283706789999</c:v>
                </c:pt>
                <c:pt idx="14">
                  <c:v>1.5090391697350001</c:v>
                </c:pt>
                <c:pt idx="15">
                  <c:v>1.5092914337509999</c:v>
                </c:pt>
                <c:pt idx="16">
                  <c:v>1.533193936225</c:v>
                </c:pt>
                <c:pt idx="17">
                  <c:v>1.543383542885</c:v>
                </c:pt>
                <c:pt idx="18">
                  <c:v>1.5183529411759999</c:v>
                </c:pt>
                <c:pt idx="19">
                  <c:v>1.4530227398769999</c:v>
                </c:pt>
                <c:pt idx="20">
                  <c:v>1.356156156156</c:v>
                </c:pt>
                <c:pt idx="21">
                  <c:v>1.2153937947489999</c:v>
                </c:pt>
                <c:pt idx="22">
                  <c:v>1.1639780609770001</c:v>
                </c:pt>
                <c:pt idx="23">
                  <c:v>1.101193243452</c:v>
                </c:pt>
                <c:pt idx="24">
                  <c:v>1.1488663256730001</c:v>
                </c:pt>
                <c:pt idx="25">
                  <c:v>1.106067316209</c:v>
                </c:pt>
                <c:pt idx="26">
                  <c:v>1.0734273090669999</c:v>
                </c:pt>
                <c:pt idx="27">
                  <c:v>1.047259372184</c:v>
                </c:pt>
                <c:pt idx="28">
                  <c:v>1.0334928229660001</c:v>
                </c:pt>
                <c:pt idx="29">
                  <c:v>1.0172104458760001</c:v>
                </c:pt>
                <c:pt idx="30">
                  <c:v>1.0613947280610001</c:v>
                </c:pt>
                <c:pt idx="31">
                  <c:v>1.09466875735</c:v>
                </c:pt>
                <c:pt idx="32">
                  <c:v>1.1465625620319999</c:v>
                </c:pt>
                <c:pt idx="33">
                  <c:v>1.2162309368190001</c:v>
                </c:pt>
                <c:pt idx="34">
                  <c:v>1.2867781552119999</c:v>
                </c:pt>
                <c:pt idx="35">
                  <c:v>1.3954102483490001</c:v>
                </c:pt>
                <c:pt idx="36">
                  <c:v>1.4685168606379999</c:v>
                </c:pt>
                <c:pt idx="37">
                  <c:v>1.5290858725759999</c:v>
                </c:pt>
                <c:pt idx="38">
                  <c:v>1.7531907747419999</c:v>
                </c:pt>
                <c:pt idx="39">
                  <c:v>1.69570514773</c:v>
                </c:pt>
                <c:pt idx="40">
                  <c:v>1.5619086239519999</c:v>
                </c:pt>
                <c:pt idx="41">
                  <c:v>1.457183499288</c:v>
                </c:pt>
                <c:pt idx="42">
                  <c:v>1.4990942028980001</c:v>
                </c:pt>
                <c:pt idx="43">
                  <c:v>1.4025990612720001</c:v>
                </c:pt>
                <c:pt idx="44">
                  <c:v>1.444763786599</c:v>
                </c:pt>
                <c:pt idx="45">
                  <c:v>1.463839607673</c:v>
                </c:pt>
                <c:pt idx="46">
                  <c:v>1.5289786355770001</c:v>
                </c:pt>
                <c:pt idx="47">
                  <c:v>1.429380664652</c:v>
                </c:pt>
                <c:pt idx="48">
                  <c:v>1.3783008559459999</c:v>
                </c:pt>
                <c:pt idx="49">
                  <c:v>1.3304944257939999</c:v>
                </c:pt>
                <c:pt idx="50">
                  <c:v>1.372260759892</c:v>
                </c:pt>
                <c:pt idx="51">
                  <c:v>1.351112732579</c:v>
                </c:pt>
                <c:pt idx="52">
                  <c:v>1.3775781594009999</c:v>
                </c:pt>
                <c:pt idx="53">
                  <c:v>1.353879694777</c:v>
                </c:pt>
                <c:pt idx="54">
                  <c:v>1.311585964147</c:v>
                </c:pt>
                <c:pt idx="55">
                  <c:v>1.240888071918</c:v>
                </c:pt>
                <c:pt idx="56">
                  <c:v>1.2163147378079999</c:v>
                </c:pt>
                <c:pt idx="57">
                  <c:v>1.12637446939</c:v>
                </c:pt>
                <c:pt idx="58">
                  <c:v>1.061191626409</c:v>
                </c:pt>
                <c:pt idx="59">
                  <c:v>1.0134302304859999</c:v>
                </c:pt>
                <c:pt idx="60">
                  <c:v>0.97559253772700005</c:v>
                </c:pt>
                <c:pt idx="61">
                  <c:v>0.92740592740500005</c:v>
                </c:pt>
                <c:pt idx="62">
                  <c:v>0.93668270977099999</c:v>
                </c:pt>
                <c:pt idx="63">
                  <c:v>0.90749298753800001</c:v>
                </c:pt>
                <c:pt idx="64">
                  <c:v>0.95718503936999999</c:v>
                </c:pt>
                <c:pt idx="65">
                  <c:v>0.97126893557399996</c:v>
                </c:pt>
                <c:pt idx="66">
                  <c:v>0.955344105326</c:v>
                </c:pt>
                <c:pt idx="67">
                  <c:v>0.92236845294299996</c:v>
                </c:pt>
                <c:pt idx="68">
                  <c:v>0.92692010488800003</c:v>
                </c:pt>
                <c:pt idx="69">
                  <c:v>0.85664095972499998</c:v>
                </c:pt>
                <c:pt idx="70">
                  <c:v>0.81764109578999999</c:v>
                </c:pt>
                <c:pt idx="71">
                  <c:v>0.75344216289300003</c:v>
                </c:pt>
                <c:pt idx="72">
                  <c:v>0.71967626655399997</c:v>
                </c:pt>
                <c:pt idx="73">
                  <c:v>0.69135734980499997</c:v>
                </c:pt>
                <c:pt idx="74">
                  <c:v>0.67253033052699995</c:v>
                </c:pt>
                <c:pt idx="75">
                  <c:v>0.67730708332</c:v>
                </c:pt>
                <c:pt idx="76">
                  <c:v>0.74349423834700001</c:v>
                </c:pt>
                <c:pt idx="77">
                  <c:v>0.72845771870800002</c:v>
                </c:pt>
                <c:pt idx="78">
                  <c:v>0.72145568118900005</c:v>
                </c:pt>
                <c:pt idx="79">
                  <c:v>0.74566007266800005</c:v>
                </c:pt>
                <c:pt idx="80">
                  <c:v>0.73978342853300005</c:v>
                </c:pt>
                <c:pt idx="81">
                  <c:v>0.72773019032399999</c:v>
                </c:pt>
                <c:pt idx="82">
                  <c:v>0.80587439226099999</c:v>
                </c:pt>
                <c:pt idx="83">
                  <c:v>0.85259062388600004</c:v>
                </c:pt>
                <c:pt idx="84">
                  <c:v>0.93272162539500003</c:v>
                </c:pt>
                <c:pt idx="85">
                  <c:v>0.95835320772699994</c:v>
                </c:pt>
                <c:pt idx="86">
                  <c:v>0.913519161621</c:v>
                </c:pt>
                <c:pt idx="87">
                  <c:v>0.88254136086500001</c:v>
                </c:pt>
                <c:pt idx="88">
                  <c:v>0.89520197962500003</c:v>
                </c:pt>
                <c:pt idx="89">
                  <c:v>0.83777343272600002</c:v>
                </c:pt>
                <c:pt idx="90">
                  <c:v>0.82791551311099998</c:v>
                </c:pt>
                <c:pt idx="91">
                  <c:v>0.87246425567700003</c:v>
                </c:pt>
                <c:pt idx="92">
                  <c:v>0.90087740935100002</c:v>
                </c:pt>
                <c:pt idx="93">
                  <c:v>0.93846927053399998</c:v>
                </c:pt>
                <c:pt idx="94">
                  <c:v>0.96367879804500001</c:v>
                </c:pt>
                <c:pt idx="95">
                  <c:v>1.0171331955659999</c:v>
                </c:pt>
                <c:pt idx="96">
                  <c:v>1.0453073185770001</c:v>
                </c:pt>
                <c:pt idx="97">
                  <c:v>1.0869123054050001</c:v>
                </c:pt>
                <c:pt idx="98">
                  <c:v>1.088784331726</c:v>
                </c:pt>
                <c:pt idx="99">
                  <c:v>1.147317036252</c:v>
                </c:pt>
                <c:pt idx="100">
                  <c:v>1.166155664733</c:v>
                </c:pt>
                <c:pt idx="101">
                  <c:v>1.21848832491</c:v>
                </c:pt>
                <c:pt idx="102">
                  <c:v>1.201022023895</c:v>
                </c:pt>
                <c:pt idx="103">
                  <c:v>1.203667919755</c:v>
                </c:pt>
                <c:pt idx="104">
                  <c:v>1.1605593852030001</c:v>
                </c:pt>
                <c:pt idx="105">
                  <c:v>1.1797649592949999</c:v>
                </c:pt>
                <c:pt idx="106">
                  <c:v>1.1832768224750001</c:v>
                </c:pt>
                <c:pt idx="107">
                  <c:v>1.223287589141</c:v>
                </c:pt>
                <c:pt idx="108">
                  <c:v>1.268680677174</c:v>
                </c:pt>
                <c:pt idx="109">
                  <c:v>1.2828885668000001</c:v>
                </c:pt>
                <c:pt idx="110">
                  <c:v>1.2498926001499999</c:v>
                </c:pt>
                <c:pt idx="111">
                  <c:v>1.2622166504629999</c:v>
                </c:pt>
                <c:pt idx="112">
                  <c:v>1.282271101748</c:v>
                </c:pt>
                <c:pt idx="113">
                  <c:v>1.340066720349</c:v>
                </c:pt>
                <c:pt idx="114">
                  <c:v>1.218626082718</c:v>
                </c:pt>
                <c:pt idx="115">
                  <c:v>1.0490859487440001</c:v>
                </c:pt>
                <c:pt idx="116">
                  <c:v>0.94332623897800005</c:v>
                </c:pt>
                <c:pt idx="117">
                  <c:v>0.89631327602599997</c:v>
                </c:pt>
                <c:pt idx="118">
                  <c:v>0.85702022456399995</c:v>
                </c:pt>
                <c:pt idx="119">
                  <c:v>1.0087075077250001</c:v>
                </c:pt>
                <c:pt idx="120">
                  <c:v>1.1961258088290001</c:v>
                </c:pt>
                <c:pt idx="121">
                  <c:v>1.4473882120370001</c:v>
                </c:pt>
                <c:pt idx="122">
                  <c:v>1.452090703721</c:v>
                </c:pt>
                <c:pt idx="123">
                  <c:v>1.4041227613280001</c:v>
                </c:pt>
                <c:pt idx="124">
                  <c:v>1.307808754888</c:v>
                </c:pt>
                <c:pt idx="125">
                  <c:v>1.276851439723</c:v>
                </c:pt>
                <c:pt idx="126">
                  <c:v>1.1209174584320001</c:v>
                </c:pt>
                <c:pt idx="127">
                  <c:v>1.118778894841</c:v>
                </c:pt>
                <c:pt idx="128">
                  <c:v>1.1102852006670001</c:v>
                </c:pt>
                <c:pt idx="129">
                  <c:v>1.2055423114549999</c:v>
                </c:pt>
                <c:pt idx="130">
                  <c:v>1.2194379642290001</c:v>
                </c:pt>
                <c:pt idx="131">
                  <c:v>1.17875637375</c:v>
                </c:pt>
                <c:pt idx="132">
                  <c:v>1.120690559899</c:v>
                </c:pt>
                <c:pt idx="133">
                  <c:v>1.012952801942</c:v>
                </c:pt>
                <c:pt idx="134">
                  <c:v>0.82258672915300002</c:v>
                </c:pt>
                <c:pt idx="135">
                  <c:v>0.71641397205099999</c:v>
                </c:pt>
                <c:pt idx="136">
                  <c:v>0.68969236646300003</c:v>
                </c:pt>
                <c:pt idx="137">
                  <c:v>0.68095940441000002</c:v>
                </c:pt>
                <c:pt idx="138">
                  <c:v>0.71676667216300005</c:v>
                </c:pt>
                <c:pt idx="139">
                  <c:v>0.76129731532400002</c:v>
                </c:pt>
                <c:pt idx="140">
                  <c:v>0.82251381215399999</c:v>
                </c:pt>
                <c:pt idx="141">
                  <c:v>0.829010817151</c:v>
                </c:pt>
                <c:pt idx="142">
                  <c:v>0.86517800354100005</c:v>
                </c:pt>
                <c:pt idx="143">
                  <c:v>0.87557962549900004</c:v>
                </c:pt>
                <c:pt idx="144">
                  <c:v>0.88466031467799999</c:v>
                </c:pt>
                <c:pt idx="145">
                  <c:v>0.89971079391700004</c:v>
                </c:pt>
                <c:pt idx="146">
                  <c:v>0.93383508882199995</c:v>
                </c:pt>
                <c:pt idx="147">
                  <c:v>0.93570435128100005</c:v>
                </c:pt>
                <c:pt idx="148">
                  <c:v>0.95789537516099998</c:v>
                </c:pt>
                <c:pt idx="149">
                  <c:v>0.98733158643999996</c:v>
                </c:pt>
                <c:pt idx="150">
                  <c:v>0.98376192451199995</c:v>
                </c:pt>
                <c:pt idx="151">
                  <c:v>0.994423518023</c:v>
                </c:pt>
                <c:pt idx="152">
                  <c:v>1.0072196033459999</c:v>
                </c:pt>
                <c:pt idx="153">
                  <c:v>1.0063938888770001</c:v>
                </c:pt>
                <c:pt idx="154">
                  <c:v>0.99584143104900003</c:v>
                </c:pt>
                <c:pt idx="155">
                  <c:v>1.0287960874419999</c:v>
                </c:pt>
                <c:pt idx="156">
                  <c:v>1.034746910445</c:v>
                </c:pt>
                <c:pt idx="157">
                  <c:v>1.042880634144</c:v>
                </c:pt>
                <c:pt idx="158">
                  <c:v>1.0532164723640001</c:v>
                </c:pt>
                <c:pt idx="159">
                  <c:v>1.0514752171899999</c:v>
                </c:pt>
                <c:pt idx="160">
                  <c:v>1.038030448947</c:v>
                </c:pt>
                <c:pt idx="161">
                  <c:v>1.0592457769229999</c:v>
                </c:pt>
                <c:pt idx="162">
                  <c:v>1.0447359909430001</c:v>
                </c:pt>
                <c:pt idx="163">
                  <c:v>1.047182958391</c:v>
                </c:pt>
                <c:pt idx="164">
                  <c:v>1.0538248148960001</c:v>
                </c:pt>
                <c:pt idx="165">
                  <c:v>1.0487178981030001</c:v>
                </c:pt>
                <c:pt idx="166">
                  <c:v>1.03398011391</c:v>
                </c:pt>
                <c:pt idx="167">
                  <c:v>1.0578549176680001</c:v>
                </c:pt>
                <c:pt idx="168">
                  <c:v>1.0834790874519999</c:v>
                </c:pt>
                <c:pt idx="169">
                  <c:v>1.105635936671</c:v>
                </c:pt>
                <c:pt idx="170">
                  <c:v>1.1493779057719999</c:v>
                </c:pt>
                <c:pt idx="171">
                  <c:v>1.186089067313</c:v>
                </c:pt>
                <c:pt idx="172">
                  <c:v>1.1917287044310001</c:v>
                </c:pt>
                <c:pt idx="173">
                  <c:v>1.1640960853460001</c:v>
                </c:pt>
                <c:pt idx="174">
                  <c:v>1.1795758966800001</c:v>
                </c:pt>
                <c:pt idx="175">
                  <c:v>1.180895141083</c:v>
                </c:pt>
                <c:pt idx="176">
                  <c:v>1.1802868342749999</c:v>
                </c:pt>
                <c:pt idx="177">
                  <c:v>1.19506392645</c:v>
                </c:pt>
                <c:pt idx="178">
                  <c:v>1.2265800461230001</c:v>
                </c:pt>
                <c:pt idx="179">
                  <c:v>1.197426886997</c:v>
                </c:pt>
                <c:pt idx="180">
                  <c:v>1.1508410877969999</c:v>
                </c:pt>
                <c:pt idx="181">
                  <c:v>1.1191228842380001</c:v>
                </c:pt>
                <c:pt idx="182">
                  <c:v>1.0897870591550001</c:v>
                </c:pt>
                <c:pt idx="183">
                  <c:v>1.060460829493</c:v>
                </c:pt>
                <c:pt idx="184">
                  <c:v>1.0472581310169999</c:v>
                </c:pt>
                <c:pt idx="185">
                  <c:v>1.021003542766</c:v>
                </c:pt>
                <c:pt idx="186">
                  <c:v>1.0249451754379999</c:v>
                </c:pt>
                <c:pt idx="187">
                  <c:v>1.0063521619739999</c:v>
                </c:pt>
                <c:pt idx="188">
                  <c:v>0.97016049597300003</c:v>
                </c:pt>
                <c:pt idx="189">
                  <c:v>0.95287115413500001</c:v>
                </c:pt>
                <c:pt idx="190">
                  <c:v>0.96302328600499998</c:v>
                </c:pt>
                <c:pt idx="191">
                  <c:v>0.90924102003499996</c:v>
                </c:pt>
                <c:pt idx="192">
                  <c:v>0.93685591156000003</c:v>
                </c:pt>
                <c:pt idx="193">
                  <c:v>0.93057811753399999</c:v>
                </c:pt>
                <c:pt idx="194">
                  <c:v>0.93888612086599998</c:v>
                </c:pt>
                <c:pt idx="195">
                  <c:v>0.946406686602</c:v>
                </c:pt>
                <c:pt idx="196">
                  <c:v>0.97068753836699995</c:v>
                </c:pt>
                <c:pt idx="197">
                  <c:v>0.91738750000000002</c:v>
                </c:pt>
                <c:pt idx="198">
                  <c:v>0.93467936540499996</c:v>
                </c:pt>
                <c:pt idx="199">
                  <c:v>0.87460522909600003</c:v>
                </c:pt>
                <c:pt idx="200">
                  <c:v>0.85503023710500003</c:v>
                </c:pt>
                <c:pt idx="201">
                  <c:v>0.85740447957800003</c:v>
                </c:pt>
                <c:pt idx="202">
                  <c:v>0.85416467959200004</c:v>
                </c:pt>
                <c:pt idx="203">
                  <c:v>0.81872862851700001</c:v>
                </c:pt>
                <c:pt idx="204">
                  <c:v>0.83506481974699998</c:v>
                </c:pt>
                <c:pt idx="205">
                  <c:v>0.812973284061</c:v>
                </c:pt>
                <c:pt idx="206">
                  <c:v>0.79396714661000001</c:v>
                </c:pt>
                <c:pt idx="207">
                  <c:v>0.80002552322599996</c:v>
                </c:pt>
                <c:pt idx="208">
                  <c:v>0.83037286770899998</c:v>
                </c:pt>
                <c:pt idx="209">
                  <c:v>0.85420100306500002</c:v>
                </c:pt>
                <c:pt idx="210">
                  <c:v>0.854300564466</c:v>
                </c:pt>
                <c:pt idx="211">
                  <c:v>0.85676130755299995</c:v>
                </c:pt>
                <c:pt idx="212">
                  <c:v>0.84901898229299999</c:v>
                </c:pt>
                <c:pt idx="213">
                  <c:v>0.78166282874799997</c:v>
                </c:pt>
                <c:pt idx="214">
                  <c:v>0.76508298755100002</c:v>
                </c:pt>
                <c:pt idx="215">
                  <c:v>0.80816869466600005</c:v>
                </c:pt>
                <c:pt idx="216">
                  <c:v>0.71252371916500001</c:v>
                </c:pt>
                <c:pt idx="217">
                  <c:v>0.66918741192999998</c:v>
                </c:pt>
                <c:pt idx="218">
                  <c:v>0.73083184742999996</c:v>
                </c:pt>
                <c:pt idx="219">
                  <c:v>0.74086829188900005</c:v>
                </c:pt>
                <c:pt idx="220">
                  <c:v>0.76382180729000004</c:v>
                </c:pt>
                <c:pt idx="221">
                  <c:v>0.89930885803000005</c:v>
                </c:pt>
                <c:pt idx="222">
                  <c:v>0.96237804449999997</c:v>
                </c:pt>
                <c:pt idx="223">
                  <c:v>1.0560093348890001</c:v>
                </c:pt>
                <c:pt idx="224">
                  <c:v>1.07422861535</c:v>
                </c:pt>
                <c:pt idx="225">
                  <c:v>0.91882153454799997</c:v>
                </c:pt>
                <c:pt idx="226">
                  <c:v>0.84580131142899995</c:v>
                </c:pt>
                <c:pt idx="227">
                  <c:v>0.81624243308199995</c:v>
                </c:pt>
                <c:pt idx="228">
                  <c:v>0.72683743512400001</c:v>
                </c:pt>
                <c:pt idx="229">
                  <c:v>0.73453950730799999</c:v>
                </c:pt>
                <c:pt idx="230">
                  <c:v>0.80865051903100005</c:v>
                </c:pt>
                <c:pt idx="231">
                  <c:v>0.82398299433099997</c:v>
                </c:pt>
                <c:pt idx="232">
                  <c:v>0.84908189250699995</c:v>
                </c:pt>
                <c:pt idx="233">
                  <c:v>0.84585617542699998</c:v>
                </c:pt>
                <c:pt idx="234">
                  <c:v>0.82317469152900002</c:v>
                </c:pt>
                <c:pt idx="235">
                  <c:v>0.83278657347899998</c:v>
                </c:pt>
                <c:pt idx="236">
                  <c:v>0.88562901512400005</c:v>
                </c:pt>
                <c:pt idx="237">
                  <c:v>0.88171533806799995</c:v>
                </c:pt>
                <c:pt idx="238">
                  <c:v>0.88176025270900005</c:v>
                </c:pt>
                <c:pt idx="239">
                  <c:v>0.88617153161200002</c:v>
                </c:pt>
                <c:pt idx="240">
                  <c:v>0.87502854532899998</c:v>
                </c:pt>
                <c:pt idx="241">
                  <c:v>0.85075394105500002</c:v>
                </c:pt>
                <c:pt idx="242">
                  <c:v>0.88058721728199996</c:v>
                </c:pt>
                <c:pt idx="243">
                  <c:v>0.89172328597799999</c:v>
                </c:pt>
                <c:pt idx="244">
                  <c:v>0.89437873585100003</c:v>
                </c:pt>
                <c:pt idx="245">
                  <c:v>0.86350884060800004</c:v>
                </c:pt>
                <c:pt idx="246">
                  <c:v>0.84733131923399996</c:v>
                </c:pt>
                <c:pt idx="247">
                  <c:v>0.810924369747</c:v>
                </c:pt>
                <c:pt idx="248">
                  <c:v>0.79171573041400001</c:v>
                </c:pt>
                <c:pt idx="249">
                  <c:v>0.78115890508300001</c:v>
                </c:pt>
                <c:pt idx="250">
                  <c:v>0.82062712504699997</c:v>
                </c:pt>
                <c:pt idx="251">
                  <c:v>0.80698835274500003</c:v>
                </c:pt>
                <c:pt idx="252">
                  <c:v>0.79082400133700004</c:v>
                </c:pt>
                <c:pt idx="253">
                  <c:v>0.77454068241399998</c:v>
                </c:pt>
                <c:pt idx="254">
                  <c:v>0.77409665968800001</c:v>
                </c:pt>
                <c:pt idx="255">
                  <c:v>0.72903047601500004</c:v>
                </c:pt>
                <c:pt idx="256">
                  <c:v>0.76435935198799998</c:v>
                </c:pt>
                <c:pt idx="257">
                  <c:v>0.80915143189200001</c:v>
                </c:pt>
                <c:pt idx="258">
                  <c:v>0.81859256749099996</c:v>
                </c:pt>
                <c:pt idx="259">
                  <c:v>0.79412110523199997</c:v>
                </c:pt>
                <c:pt idx="260">
                  <c:v>0.79123516039399999</c:v>
                </c:pt>
                <c:pt idx="261">
                  <c:v>0.734617854849</c:v>
                </c:pt>
                <c:pt idx="262">
                  <c:v>0.69727047146400001</c:v>
                </c:pt>
                <c:pt idx="263">
                  <c:v>0.70070373947800002</c:v>
                </c:pt>
                <c:pt idx="264">
                  <c:v>0.74311519099699996</c:v>
                </c:pt>
                <c:pt idx="265">
                  <c:v>0.73136472466000002</c:v>
                </c:pt>
                <c:pt idx="266">
                  <c:v>0.70676691729300001</c:v>
                </c:pt>
                <c:pt idx="267">
                  <c:v>0.71230567521999999</c:v>
                </c:pt>
                <c:pt idx="268">
                  <c:v>0.71445450964900004</c:v>
                </c:pt>
                <c:pt idx="269">
                  <c:v>0.67941821079800002</c:v>
                </c:pt>
                <c:pt idx="270">
                  <c:v>0.71933653426400002</c:v>
                </c:pt>
                <c:pt idx="271">
                  <c:v>0.79440870856000001</c:v>
                </c:pt>
                <c:pt idx="272">
                  <c:v>0.79568761503999996</c:v>
                </c:pt>
                <c:pt idx="273">
                  <c:v>0.78335170892999995</c:v>
                </c:pt>
                <c:pt idx="274">
                  <c:v>0.77859237536600001</c:v>
                </c:pt>
                <c:pt idx="275">
                  <c:v>0.78094660194099996</c:v>
                </c:pt>
                <c:pt idx="276">
                  <c:v>0.76051074431599996</c:v>
                </c:pt>
                <c:pt idx="277">
                  <c:v>0.78420356906800004</c:v>
                </c:pt>
                <c:pt idx="278">
                  <c:v>0.83004926108300003</c:v>
                </c:pt>
                <c:pt idx="279">
                  <c:v>0.80602636534799998</c:v>
                </c:pt>
                <c:pt idx="280">
                  <c:v>0.79448329448300004</c:v>
                </c:pt>
                <c:pt idx="281">
                  <c:v>0.79647829647799995</c:v>
                </c:pt>
                <c:pt idx="282">
                  <c:v>0.71934260429800001</c:v>
                </c:pt>
                <c:pt idx="283">
                  <c:v>0.66214497668500005</c:v>
                </c:pt>
                <c:pt idx="284">
                  <c:v>0.69439252336400004</c:v>
                </c:pt>
                <c:pt idx="285">
                  <c:v>0.69877750611199996</c:v>
                </c:pt>
                <c:pt idx="286">
                  <c:v>0.67249357326400006</c:v>
                </c:pt>
                <c:pt idx="287">
                  <c:v>0.66315172817800006</c:v>
                </c:pt>
                <c:pt idx="288">
                  <c:v>0.64468629961500001</c:v>
                </c:pt>
                <c:pt idx="289">
                  <c:v>0.65612382234099997</c:v>
                </c:pt>
                <c:pt idx="290">
                  <c:v>0.65780265920199998</c:v>
                </c:pt>
                <c:pt idx="291">
                  <c:v>0.70795107033600002</c:v>
                </c:pt>
                <c:pt idx="292">
                  <c:v>0.83215547703100001</c:v>
                </c:pt>
                <c:pt idx="293">
                  <c:v>0.878848063555</c:v>
                </c:pt>
                <c:pt idx="294">
                  <c:v>0.80820512820500001</c:v>
                </c:pt>
                <c:pt idx="295">
                  <c:v>0.81595744680799998</c:v>
                </c:pt>
                <c:pt idx="296">
                  <c:v>0.76241900647899996</c:v>
                </c:pt>
                <c:pt idx="297">
                  <c:v>0.73566878980799999</c:v>
                </c:pt>
                <c:pt idx="298">
                  <c:v>0.78870056497100005</c:v>
                </c:pt>
                <c:pt idx="299">
                  <c:v>0.88578680203000004</c:v>
                </c:pt>
                <c:pt idx="300">
                  <c:v>0.95176010430199998</c:v>
                </c:pt>
                <c:pt idx="301">
                  <c:v>1.0977337110480001</c:v>
                </c:pt>
                <c:pt idx="302">
                  <c:v>1.1601731601730001</c:v>
                </c:pt>
                <c:pt idx="303">
                  <c:v>1.250716332378</c:v>
                </c:pt>
                <c:pt idx="304">
                  <c:v>1.3008595988530001</c:v>
                </c:pt>
                <c:pt idx="305">
                  <c:v>1.3232876712320001</c:v>
                </c:pt>
                <c:pt idx="306">
                  <c:v>1.312258064516</c:v>
                </c:pt>
                <c:pt idx="307">
                  <c:v>1.2375621890540001</c:v>
                </c:pt>
                <c:pt idx="308">
                  <c:v>1.0847651775480001</c:v>
                </c:pt>
                <c:pt idx="309">
                  <c:v>1.2004405286340001</c:v>
                </c:pt>
                <c:pt idx="310">
                  <c:v>1.2153209109730001</c:v>
                </c:pt>
                <c:pt idx="311">
                  <c:v>1.270403146509</c:v>
                </c:pt>
                <c:pt idx="312">
                  <c:v>1.329648241206</c:v>
                </c:pt>
                <c:pt idx="313">
                  <c:v>1.4382259767679999</c:v>
                </c:pt>
                <c:pt idx="314">
                  <c:v>1.3541284403660001</c:v>
                </c:pt>
                <c:pt idx="315">
                  <c:v>1.437819420783</c:v>
                </c:pt>
                <c:pt idx="316">
                  <c:v>1.2917956656339999</c:v>
                </c:pt>
                <c:pt idx="317">
                  <c:v>1.2433862433859999</c:v>
                </c:pt>
                <c:pt idx="318">
                  <c:v>1.1769456681349999</c:v>
                </c:pt>
                <c:pt idx="319">
                  <c:v>1.1131436314359999</c:v>
                </c:pt>
                <c:pt idx="320">
                  <c:v>0.95438388625500004</c:v>
                </c:pt>
                <c:pt idx="321">
                  <c:v>0.95086878370200001</c:v>
                </c:pt>
                <c:pt idx="322">
                  <c:v>0.95136778115499998</c:v>
                </c:pt>
                <c:pt idx="323">
                  <c:v>0.95820336868300005</c:v>
                </c:pt>
                <c:pt idx="324">
                  <c:v>0.92087644552600001</c:v>
                </c:pt>
                <c:pt idx="325">
                  <c:v>0.905648665425</c:v>
                </c:pt>
                <c:pt idx="326">
                  <c:v>0.87460617517299999</c:v>
                </c:pt>
                <c:pt idx="327">
                  <c:v>0.86453674121400004</c:v>
                </c:pt>
                <c:pt idx="328">
                  <c:v>0.86653645833299997</c:v>
                </c:pt>
                <c:pt idx="329">
                  <c:v>0.85062789160600005</c:v>
                </c:pt>
                <c:pt idx="330">
                  <c:v>0.85812200137000005</c:v>
                </c:pt>
                <c:pt idx="331">
                  <c:v>0.90417867435099997</c:v>
                </c:pt>
                <c:pt idx="332">
                  <c:v>0.89061345158899996</c:v>
                </c:pt>
                <c:pt idx="333">
                  <c:v>0.89782118707699998</c:v>
                </c:pt>
                <c:pt idx="334">
                  <c:v>0.92540792540700001</c:v>
                </c:pt>
                <c:pt idx="335">
                  <c:v>0.91533546325799997</c:v>
                </c:pt>
                <c:pt idx="336">
                  <c:v>0.89880478087600002</c:v>
                </c:pt>
                <c:pt idx="337">
                  <c:v>0.945228215767</c:v>
                </c:pt>
                <c:pt idx="338">
                  <c:v>0.91715481171500002</c:v>
                </c:pt>
                <c:pt idx="339">
                  <c:v>0.95214105793399995</c:v>
                </c:pt>
                <c:pt idx="340">
                  <c:v>1.0226876090749999</c:v>
                </c:pt>
                <c:pt idx="341">
                  <c:v>1.065602836879</c:v>
                </c:pt>
                <c:pt idx="342">
                  <c:v>1.0719929762939999</c:v>
                </c:pt>
                <c:pt idx="343">
                  <c:v>1.1341240875909999</c:v>
                </c:pt>
                <c:pt idx="344">
                  <c:v>1.1049382716039999</c:v>
                </c:pt>
                <c:pt idx="345">
                  <c:v>1.091296928327</c:v>
                </c:pt>
                <c:pt idx="346">
                  <c:v>1.1014975041590001</c:v>
                </c:pt>
                <c:pt idx="347">
                  <c:v>1.0745290745289999</c:v>
                </c:pt>
                <c:pt idx="348">
                  <c:v>1.031375703942</c:v>
                </c:pt>
                <c:pt idx="349">
                  <c:v>1.0582601755779999</c:v>
                </c:pt>
                <c:pt idx="350">
                  <c:v>1.068021892103</c:v>
                </c:pt>
                <c:pt idx="351">
                  <c:v>1.02341389728</c:v>
                </c:pt>
                <c:pt idx="352">
                  <c:v>1.014481707317</c:v>
                </c:pt>
                <c:pt idx="353">
                  <c:v>0.998439937597</c:v>
                </c:pt>
                <c:pt idx="354">
                  <c:v>0.96003016591199997</c:v>
                </c:pt>
                <c:pt idx="355">
                  <c:v>0.95387994143400001</c:v>
                </c:pt>
                <c:pt idx="356">
                  <c:v>0.95940959409500004</c:v>
                </c:pt>
                <c:pt idx="357">
                  <c:v>0.93914350112599998</c:v>
                </c:pt>
                <c:pt idx="358">
                  <c:v>1.00703125</c:v>
                </c:pt>
                <c:pt idx="359">
                  <c:v>1.0494893951290001</c:v>
                </c:pt>
                <c:pt idx="360">
                  <c:v>1.0345356868760001</c:v>
                </c:pt>
                <c:pt idx="361">
                  <c:v>1.0353846153840001</c:v>
                </c:pt>
                <c:pt idx="362">
                  <c:v>1.056</c:v>
                </c:pt>
                <c:pt idx="363">
                  <c:v>1.045771916214</c:v>
                </c:pt>
                <c:pt idx="364">
                  <c:v>1.0396706586819999</c:v>
                </c:pt>
                <c:pt idx="365">
                  <c:v>1.041543026706</c:v>
                </c:pt>
                <c:pt idx="366">
                  <c:v>1.1121842496280001</c:v>
                </c:pt>
                <c:pt idx="367">
                  <c:v>1.229545454545</c:v>
                </c:pt>
                <c:pt idx="368">
                  <c:v>1.258902077151</c:v>
                </c:pt>
                <c:pt idx="369">
                  <c:v>1.2649388048950001</c:v>
                </c:pt>
                <c:pt idx="370">
                  <c:v>1.3596866096860001</c:v>
                </c:pt>
                <c:pt idx="371">
                  <c:v>1.470273881095</c:v>
                </c:pt>
                <c:pt idx="372">
                  <c:v>1.430067775723</c:v>
                </c:pt>
                <c:pt idx="373">
                  <c:v>1.4348850913369999</c:v>
                </c:pt>
                <c:pt idx="374">
                  <c:v>1.4627205463849999</c:v>
                </c:pt>
                <c:pt idx="375">
                  <c:v>1.3687794656879999</c:v>
                </c:pt>
                <c:pt idx="376">
                  <c:v>1.184915947296</c:v>
                </c:pt>
                <c:pt idx="377">
                  <c:v>1.167169323567</c:v>
                </c:pt>
                <c:pt idx="378">
                  <c:v>1.1018480492810001</c:v>
                </c:pt>
                <c:pt idx="379">
                  <c:v>1.098832684824</c:v>
                </c:pt>
                <c:pt idx="380">
                  <c:v>1.135093761959</c:v>
                </c:pt>
                <c:pt idx="381">
                  <c:v>1.13726993865</c:v>
                </c:pt>
                <c:pt idx="382">
                  <c:v>1.114064230343</c:v>
                </c:pt>
                <c:pt idx="383">
                  <c:v>1.1442415206850001</c:v>
                </c:pt>
                <c:pt idx="384">
                  <c:v>1.082507082152</c:v>
                </c:pt>
                <c:pt idx="385">
                  <c:v>1.043830074173</c:v>
                </c:pt>
                <c:pt idx="386">
                  <c:v>1.043830074173</c:v>
                </c:pt>
                <c:pt idx="387">
                  <c:v>1</c:v>
                </c:pt>
                <c:pt idx="388">
                  <c:v>1.008143322475</c:v>
                </c:pt>
                <c:pt idx="389">
                  <c:v>1.0497219496229999</c:v>
                </c:pt>
                <c:pt idx="390">
                  <c:v>1.0565245478030001</c:v>
                </c:pt>
                <c:pt idx="391">
                  <c:v>1.1195090439269999</c:v>
                </c:pt>
                <c:pt idx="392">
                  <c:v>1.1080185553340001</c:v>
                </c:pt>
                <c:pt idx="393">
                  <c:v>1.14830371567</c:v>
                </c:pt>
                <c:pt idx="394">
                  <c:v>1.244001246494</c:v>
                </c:pt>
                <c:pt idx="395">
                  <c:v>1.3142769795160001</c:v>
                </c:pt>
                <c:pt idx="396">
                  <c:v>1.279572994806</c:v>
                </c:pt>
                <c:pt idx="397">
                  <c:v>1.3465909090899999</c:v>
                </c:pt>
                <c:pt idx="398">
                  <c:v>1.3052898142930001</c:v>
                </c:pt>
                <c:pt idx="399">
                  <c:v>1.3233967935869999</c:v>
                </c:pt>
                <c:pt idx="400">
                  <c:v>1.302163293789</c:v>
                </c:pt>
                <c:pt idx="401">
                  <c:v>1.2780157835399999</c:v>
                </c:pt>
                <c:pt idx="402">
                  <c:v>1.300910504108</c:v>
                </c:pt>
                <c:pt idx="403">
                  <c:v>1.287561974563</c:v>
                </c:pt>
                <c:pt idx="404">
                  <c:v>1.1340147643380001</c:v>
                </c:pt>
                <c:pt idx="405">
                  <c:v>1.1652375848509999</c:v>
                </c:pt>
                <c:pt idx="406">
                  <c:v>1.219477769936</c:v>
                </c:pt>
                <c:pt idx="407">
                  <c:v>1.257084329122</c:v>
                </c:pt>
                <c:pt idx="408">
                  <c:v>1.324627490373</c:v>
                </c:pt>
                <c:pt idx="409">
                  <c:v>1.448005341345</c:v>
                </c:pt>
                <c:pt idx="410">
                  <c:v>1.405181664878</c:v>
                </c:pt>
                <c:pt idx="411">
                  <c:v>1.392650462962</c:v>
                </c:pt>
                <c:pt idx="412">
                  <c:v>1.4693101575230001</c:v>
                </c:pt>
                <c:pt idx="413">
                  <c:v>1.5877148634980001</c:v>
                </c:pt>
                <c:pt idx="414">
                  <c:v>1.6530259365990001</c:v>
                </c:pt>
                <c:pt idx="415">
                  <c:v>1.7940213833730001</c:v>
                </c:pt>
                <c:pt idx="416">
                  <c:v>1.9635362559730001</c:v>
                </c:pt>
                <c:pt idx="417">
                  <c:v>1.894547134935</c:v>
                </c:pt>
                <c:pt idx="418">
                  <c:v>1.7148543225599999</c:v>
                </c:pt>
                <c:pt idx="419">
                  <c:v>1.6241980474190001</c:v>
                </c:pt>
                <c:pt idx="420">
                  <c:v>1.6013743614689999</c:v>
                </c:pt>
                <c:pt idx="421">
                  <c:v>1.5300777736619999</c:v>
                </c:pt>
                <c:pt idx="422">
                  <c:v>1.445582711351</c:v>
                </c:pt>
                <c:pt idx="423">
                  <c:v>1.4461052827030001</c:v>
                </c:pt>
                <c:pt idx="424">
                  <c:v>1.436348804259</c:v>
                </c:pt>
                <c:pt idx="425">
                  <c:v>1.306611476094</c:v>
                </c:pt>
                <c:pt idx="426">
                  <c:v>1.304806362378</c:v>
                </c:pt>
                <c:pt idx="427">
                  <c:v>1.3965511423070001</c:v>
                </c:pt>
                <c:pt idx="428">
                  <c:v>1.44459424756</c:v>
                </c:pt>
                <c:pt idx="429">
                  <c:v>1.4687929694499999</c:v>
                </c:pt>
                <c:pt idx="430">
                  <c:v>1.529775917691</c:v>
                </c:pt>
                <c:pt idx="431">
                  <c:v>1.413038293361</c:v>
                </c:pt>
                <c:pt idx="432">
                  <c:v>1.293736709839</c:v>
                </c:pt>
                <c:pt idx="433">
                  <c:v>1.2269010266210001</c:v>
                </c:pt>
                <c:pt idx="434">
                  <c:v>1.2181451859079999</c:v>
                </c:pt>
                <c:pt idx="435">
                  <c:v>1.214781039232</c:v>
                </c:pt>
                <c:pt idx="436">
                  <c:v>1.235892050036</c:v>
                </c:pt>
                <c:pt idx="437">
                  <c:v>1.324299589092</c:v>
                </c:pt>
                <c:pt idx="438">
                  <c:v>1.3464039266109999</c:v>
                </c:pt>
                <c:pt idx="439">
                  <c:v>1.2868217054260001</c:v>
                </c:pt>
                <c:pt idx="440">
                  <c:v>1.240193931811</c:v>
                </c:pt>
                <c:pt idx="441">
                  <c:v>1.3239958117720001</c:v>
                </c:pt>
                <c:pt idx="442">
                  <c:v>1.239270552726</c:v>
                </c:pt>
                <c:pt idx="443">
                  <c:v>1.2231668437829999</c:v>
                </c:pt>
                <c:pt idx="444">
                  <c:v>1.2936227669289999</c:v>
                </c:pt>
                <c:pt idx="445">
                  <c:v>1.322530202527</c:v>
                </c:pt>
                <c:pt idx="446">
                  <c:v>1.231575931232</c:v>
                </c:pt>
                <c:pt idx="447">
                  <c:v>1.2565097646459999</c:v>
                </c:pt>
                <c:pt idx="448">
                  <c:v>1.251338956768</c:v>
                </c:pt>
                <c:pt idx="449">
                  <c:v>1.1806704134879999</c:v>
                </c:pt>
                <c:pt idx="450">
                  <c:v>1.2592921029040001</c:v>
                </c:pt>
                <c:pt idx="451">
                  <c:v>1.204922991019</c:v>
                </c:pt>
                <c:pt idx="452">
                  <c:v>1.155624190495</c:v>
                </c:pt>
                <c:pt idx="453">
                  <c:v>1.130370969301</c:v>
                </c:pt>
                <c:pt idx="454">
                  <c:v>1.119634144268</c:v>
                </c:pt>
                <c:pt idx="455">
                  <c:v>0.96787993972700004</c:v>
                </c:pt>
                <c:pt idx="456">
                  <c:v>1.01126086117</c:v>
                </c:pt>
                <c:pt idx="457">
                  <c:v>0.95316994411699996</c:v>
                </c:pt>
                <c:pt idx="458">
                  <c:v>0.92459783698800002</c:v>
                </c:pt>
                <c:pt idx="459">
                  <c:v>0.89110662334099999</c:v>
                </c:pt>
                <c:pt idx="460">
                  <c:v>0.89498141991000002</c:v>
                </c:pt>
                <c:pt idx="461">
                  <c:v>0.85813354921899998</c:v>
                </c:pt>
                <c:pt idx="462">
                  <c:v>0.90339927968800005</c:v>
                </c:pt>
                <c:pt idx="463">
                  <c:v>0.88224758028500005</c:v>
                </c:pt>
                <c:pt idx="464">
                  <c:v>0.85677285235900003</c:v>
                </c:pt>
                <c:pt idx="465">
                  <c:v>0.83284237025899999</c:v>
                </c:pt>
                <c:pt idx="466">
                  <c:v>0.83109346908899995</c:v>
                </c:pt>
                <c:pt idx="467">
                  <c:v>0.82984726849000001</c:v>
                </c:pt>
                <c:pt idx="468">
                  <c:v>0.83404819093299998</c:v>
                </c:pt>
                <c:pt idx="469">
                  <c:v>0.84207752431299998</c:v>
                </c:pt>
                <c:pt idx="470">
                  <c:v>0.84065576523399999</c:v>
                </c:pt>
                <c:pt idx="471">
                  <c:v>0.80669308203000001</c:v>
                </c:pt>
                <c:pt idx="472">
                  <c:v>0.78853156670900004</c:v>
                </c:pt>
                <c:pt idx="473">
                  <c:v>0.78614936289299997</c:v>
                </c:pt>
                <c:pt idx="474">
                  <c:v>0.80783174501900001</c:v>
                </c:pt>
                <c:pt idx="475">
                  <c:v>0.81282461046700005</c:v>
                </c:pt>
                <c:pt idx="476">
                  <c:v>0.79969201768200004</c:v>
                </c:pt>
                <c:pt idx="477">
                  <c:v>0.78332776943100002</c:v>
                </c:pt>
                <c:pt idx="478">
                  <c:v>0.78754797069399995</c:v>
                </c:pt>
                <c:pt idx="479">
                  <c:v>0.69085487077499996</c:v>
                </c:pt>
                <c:pt idx="480">
                  <c:v>0.65072806586300003</c:v>
                </c:pt>
                <c:pt idx="481">
                  <c:v>0.67460159362500005</c:v>
                </c:pt>
                <c:pt idx="482">
                  <c:v>0.69070407529</c:v>
                </c:pt>
                <c:pt idx="483">
                  <c:v>0.66698045295899999</c:v>
                </c:pt>
                <c:pt idx="484">
                  <c:v>0.73205670757499997</c:v>
                </c:pt>
                <c:pt idx="485">
                  <c:v>0.77875604862500003</c:v>
                </c:pt>
                <c:pt idx="486">
                  <c:v>0.88444313204299996</c:v>
                </c:pt>
                <c:pt idx="487">
                  <c:v>0.92400442193400001</c:v>
                </c:pt>
                <c:pt idx="488">
                  <c:v>0.99216825792100005</c:v>
                </c:pt>
                <c:pt idx="489">
                  <c:v>1.1080151458209999</c:v>
                </c:pt>
                <c:pt idx="490">
                  <c:v>1.195138215324</c:v>
                </c:pt>
                <c:pt idx="491">
                  <c:v>1.131183573535</c:v>
                </c:pt>
                <c:pt idx="492">
                  <c:v>1.155755265574</c:v>
                </c:pt>
                <c:pt idx="493">
                  <c:v>1.2052326230049999</c:v>
                </c:pt>
                <c:pt idx="494">
                  <c:v>1.202092137528</c:v>
                </c:pt>
                <c:pt idx="495">
                  <c:v>1.1899061628200001</c:v>
                </c:pt>
                <c:pt idx="496">
                  <c:v>1.1048527928759999</c:v>
                </c:pt>
                <c:pt idx="497">
                  <c:v>1.1342834444729999</c:v>
                </c:pt>
                <c:pt idx="498">
                  <c:v>1.1846100439709999</c:v>
                </c:pt>
                <c:pt idx="499">
                  <c:v>1.220329419934</c:v>
                </c:pt>
                <c:pt idx="500">
                  <c:v>1.3381644571369999</c:v>
                </c:pt>
                <c:pt idx="501">
                  <c:v>1.516317898486</c:v>
                </c:pt>
                <c:pt idx="502">
                  <c:v>1.5405479975380001</c:v>
                </c:pt>
                <c:pt idx="503">
                  <c:v>1.274620509113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R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-0.23227746890000001</c:v>
                </c:pt>
                <c:pt idx="1">
                  <c:v>-5.3076687579999997E-2</c:v>
                </c:pt>
                <c:pt idx="2">
                  <c:v>-5.4045002609999997E-2</c:v>
                </c:pt>
                <c:pt idx="3">
                  <c:v>6.059125018E-2</c:v>
                </c:pt>
                <c:pt idx="4">
                  <c:v>0.13978769268999999</c:v>
                </c:pt>
                <c:pt idx="5">
                  <c:v>0.1162921908</c:v>
                </c:pt>
                <c:pt idx="6">
                  <c:v>5.1874945030000001E-2</c:v>
                </c:pt>
                <c:pt idx="7">
                  <c:v>4.9699899810000003E-2</c:v>
                </c:pt>
                <c:pt idx="8">
                  <c:v>-3.512231733E-2</c:v>
                </c:pt>
                <c:pt idx="9">
                  <c:v>-4.2571746719999998E-2</c:v>
                </c:pt>
                <c:pt idx="10">
                  <c:v>7.9316806190000005E-2</c:v>
                </c:pt>
                <c:pt idx="11">
                  <c:v>0.12770434090999999</c:v>
                </c:pt>
                <c:pt idx="12">
                  <c:v>3.1630195599999999E-3</c:v>
                </c:pt>
                <c:pt idx="13">
                  <c:v>-0.13052285098999999</c:v>
                </c:pt>
                <c:pt idx="14">
                  <c:v>-0.19505997255999999</c:v>
                </c:pt>
                <c:pt idx="15">
                  <c:v>-0.21346145015000001</c:v>
                </c:pt>
                <c:pt idx="16">
                  <c:v>-0.24560077221000001</c:v>
                </c:pt>
                <c:pt idx="17">
                  <c:v>-0.28394270153000001</c:v>
                </c:pt>
                <c:pt idx="18">
                  <c:v>-0.26465176163999998</c:v>
                </c:pt>
                <c:pt idx="19">
                  <c:v>-0.23780851090999999</c:v>
                </c:pt>
                <c:pt idx="20">
                  <c:v>-0.29819985079</c:v>
                </c:pt>
                <c:pt idx="21">
                  <c:v>-0.34869370919999998</c:v>
                </c:pt>
                <c:pt idx="22">
                  <c:v>-0.41255274222999999</c:v>
                </c:pt>
                <c:pt idx="23">
                  <c:v>-0.39116107666</c:v>
                </c:pt>
                <c:pt idx="24">
                  <c:v>-0.36101618816999997</c:v>
                </c:pt>
                <c:pt idx="25">
                  <c:v>-0.32314095120000003</c:v>
                </c:pt>
                <c:pt idx="26">
                  <c:v>-0.33610406206999999</c:v>
                </c:pt>
                <c:pt idx="27">
                  <c:v>-0.34345019590999998</c:v>
                </c:pt>
                <c:pt idx="28">
                  <c:v>-0.26799457865999998</c:v>
                </c:pt>
                <c:pt idx="29">
                  <c:v>-0.27257454530000003</c:v>
                </c:pt>
                <c:pt idx="30">
                  <c:v>-0.20158766915000001</c:v>
                </c:pt>
                <c:pt idx="31">
                  <c:v>-0.15801138856999999</c:v>
                </c:pt>
                <c:pt idx="32">
                  <c:v>-4.643157824E-2</c:v>
                </c:pt>
                <c:pt idx="33">
                  <c:v>4.5342792530000002E-2</c:v>
                </c:pt>
                <c:pt idx="34">
                  <c:v>8.7525362100000004E-2</c:v>
                </c:pt>
                <c:pt idx="35">
                  <c:v>0.12596209898999999</c:v>
                </c:pt>
                <c:pt idx="36">
                  <c:v>0.17482910189</c:v>
                </c:pt>
                <c:pt idx="37">
                  <c:v>0.16311430459000001</c:v>
                </c:pt>
                <c:pt idx="38">
                  <c:v>0.38973214553000002</c:v>
                </c:pt>
                <c:pt idx="39">
                  <c:v>0.33690812757999999</c:v>
                </c:pt>
                <c:pt idx="40">
                  <c:v>9.3380701009999997E-2</c:v>
                </c:pt>
                <c:pt idx="41">
                  <c:v>-7.656213747E-2</c:v>
                </c:pt>
                <c:pt idx="42">
                  <c:v>-0.13392323656999999</c:v>
                </c:pt>
                <c:pt idx="43">
                  <c:v>-0.21662231168000001</c:v>
                </c:pt>
                <c:pt idx="44">
                  <c:v>-0.28704030033</c:v>
                </c:pt>
                <c:pt idx="45">
                  <c:v>-0.27272136077999998</c:v>
                </c:pt>
                <c:pt idx="46">
                  <c:v>-0.17498983279999999</c:v>
                </c:pt>
                <c:pt idx="47">
                  <c:v>-0.18598803059999999</c:v>
                </c:pt>
                <c:pt idx="48">
                  <c:v>-0.23235337586999999</c:v>
                </c:pt>
                <c:pt idx="49">
                  <c:v>-0.28441092266000001</c:v>
                </c:pt>
                <c:pt idx="50">
                  <c:v>-0.19895186127</c:v>
                </c:pt>
                <c:pt idx="51">
                  <c:v>-0.23975156676000001</c:v>
                </c:pt>
                <c:pt idx="52">
                  <c:v>-0.19683558039999999</c:v>
                </c:pt>
                <c:pt idx="53">
                  <c:v>-0.18933177612999999</c:v>
                </c:pt>
                <c:pt idx="54">
                  <c:v>-0.19670339850999999</c:v>
                </c:pt>
                <c:pt idx="55">
                  <c:v>-0.24846298516000001</c:v>
                </c:pt>
                <c:pt idx="56">
                  <c:v>-0.25867139082000001</c:v>
                </c:pt>
                <c:pt idx="57">
                  <c:v>-0.31787347151000001</c:v>
                </c:pt>
                <c:pt idx="58">
                  <c:v>-0.34866625285000002</c:v>
                </c:pt>
                <c:pt idx="59">
                  <c:v>-0.36552350073000001</c:v>
                </c:pt>
                <c:pt idx="60">
                  <c:v>-0.33833423929000001</c:v>
                </c:pt>
                <c:pt idx="61">
                  <c:v>-0.36979073745000002</c:v>
                </c:pt>
                <c:pt idx="62">
                  <c:v>-0.36100941648000001</c:v>
                </c:pt>
                <c:pt idx="63">
                  <c:v>-0.34783984591</c:v>
                </c:pt>
                <c:pt idx="64">
                  <c:v>-0.25984857235999997</c:v>
                </c:pt>
                <c:pt idx="65">
                  <c:v>-0.20851700744000001</c:v>
                </c:pt>
                <c:pt idx="66">
                  <c:v>-0.16863976003</c:v>
                </c:pt>
                <c:pt idx="67">
                  <c:v>-0.12272962815000001</c:v>
                </c:pt>
                <c:pt idx="68">
                  <c:v>-0.10006108082</c:v>
                </c:pt>
                <c:pt idx="69">
                  <c:v>-0.20232282694000001</c:v>
                </c:pt>
                <c:pt idx="70">
                  <c:v>-0.24868260702</c:v>
                </c:pt>
                <c:pt idx="71">
                  <c:v>-0.32261877073</c:v>
                </c:pt>
                <c:pt idx="72">
                  <c:v>-0.35060970429999999</c:v>
                </c:pt>
                <c:pt idx="73">
                  <c:v>-0.34015414009</c:v>
                </c:pt>
                <c:pt idx="74">
                  <c:v>-0.30389150164000001</c:v>
                </c:pt>
                <c:pt idx="75">
                  <c:v>-0.32507828243999998</c:v>
                </c:pt>
                <c:pt idx="76">
                  <c:v>-0.23153949679999999</c:v>
                </c:pt>
                <c:pt idx="77">
                  <c:v>-0.21381489969</c:v>
                </c:pt>
                <c:pt idx="78">
                  <c:v>-0.15331082267999999</c:v>
                </c:pt>
                <c:pt idx="79">
                  <c:v>-8.6592212779999997E-2</c:v>
                </c:pt>
                <c:pt idx="80">
                  <c:v>-1.191163418E-2</c:v>
                </c:pt>
                <c:pt idx="81">
                  <c:v>4.0279261929999997E-2</c:v>
                </c:pt>
                <c:pt idx="82">
                  <c:v>6.2825142609999995E-2</c:v>
                </c:pt>
                <c:pt idx="83">
                  <c:v>4.7283390789999998E-2</c:v>
                </c:pt>
                <c:pt idx="84">
                  <c:v>0.12495067272</c:v>
                </c:pt>
                <c:pt idx="85">
                  <c:v>0.12833504950999999</c:v>
                </c:pt>
                <c:pt idx="86">
                  <c:v>5.1121028390000003E-2</c:v>
                </c:pt>
                <c:pt idx="87">
                  <c:v>8.9344573989999995E-2</c:v>
                </c:pt>
                <c:pt idx="88">
                  <c:v>0.17564443606999999</c:v>
                </c:pt>
                <c:pt idx="89">
                  <c:v>-8.5018871960000006E-2</c:v>
                </c:pt>
                <c:pt idx="90">
                  <c:v>-0.18285379192000001</c:v>
                </c:pt>
                <c:pt idx="91">
                  <c:v>-0.18702668212000001</c:v>
                </c:pt>
                <c:pt idx="92">
                  <c:v>-0.16510479847000001</c:v>
                </c:pt>
                <c:pt idx="93">
                  <c:v>-0.10679619767</c:v>
                </c:pt>
                <c:pt idx="94">
                  <c:v>-1.8985592799999999E-3</c:v>
                </c:pt>
                <c:pt idx="95">
                  <c:v>9.4024668039999995E-2</c:v>
                </c:pt>
                <c:pt idx="96">
                  <c:v>0.10392331263</c:v>
                </c:pt>
                <c:pt idx="97">
                  <c:v>9.8945427949999998E-2</c:v>
                </c:pt>
                <c:pt idx="98">
                  <c:v>6.1292482719999999E-2</c:v>
                </c:pt>
                <c:pt idx="99">
                  <c:v>7.8493215359999993E-2</c:v>
                </c:pt>
                <c:pt idx="100">
                  <c:v>5.1650496830000003E-2</c:v>
                </c:pt>
                <c:pt idx="101">
                  <c:v>0.12355448553999999</c:v>
                </c:pt>
                <c:pt idx="102">
                  <c:v>0.13420151034</c:v>
                </c:pt>
                <c:pt idx="103">
                  <c:v>-4.5942655900000004E-3</c:v>
                </c:pt>
                <c:pt idx="104">
                  <c:v>-0.11806731735000001</c:v>
                </c:pt>
                <c:pt idx="105">
                  <c:v>-0.11578510418</c:v>
                </c:pt>
                <c:pt idx="106">
                  <c:v>-0.13604085565999999</c:v>
                </c:pt>
                <c:pt idx="107">
                  <c:v>-0.12343846248</c:v>
                </c:pt>
                <c:pt idx="108">
                  <c:v>-6.2538106750000003E-2</c:v>
                </c:pt>
                <c:pt idx="109">
                  <c:v>7.82843758E-3</c:v>
                </c:pt>
                <c:pt idx="110">
                  <c:v>-9.7933640690000004E-2</c:v>
                </c:pt>
                <c:pt idx="111">
                  <c:v>-0.11206416331000001</c:v>
                </c:pt>
                <c:pt idx="112">
                  <c:v>-0.11038796537999999</c:v>
                </c:pt>
                <c:pt idx="113">
                  <c:v>-5.2139530900000002E-2</c:v>
                </c:pt>
                <c:pt idx="114">
                  <c:v>-0.18126971545000001</c:v>
                </c:pt>
                <c:pt idx="115">
                  <c:v>-0.26342969497000002</c:v>
                </c:pt>
                <c:pt idx="116">
                  <c:v>-0.31630269684000001</c:v>
                </c:pt>
                <c:pt idx="117">
                  <c:v>-0.38762695774</c:v>
                </c:pt>
                <c:pt idx="118">
                  <c:v>-0.44413573233999998</c:v>
                </c:pt>
                <c:pt idx="119">
                  <c:v>-0.38077599111999999</c:v>
                </c:pt>
                <c:pt idx="120">
                  <c:v>-0.16981335780000001</c:v>
                </c:pt>
                <c:pt idx="121">
                  <c:v>0.13264369038000001</c:v>
                </c:pt>
                <c:pt idx="122">
                  <c:v>0.30318631866000001</c:v>
                </c:pt>
                <c:pt idx="123">
                  <c:v>0.37636392668000002</c:v>
                </c:pt>
                <c:pt idx="124">
                  <c:v>0.18285743466000001</c:v>
                </c:pt>
                <c:pt idx="125">
                  <c:v>0.11978271738</c:v>
                </c:pt>
                <c:pt idx="126">
                  <c:v>-0.15030289257000001</c:v>
                </c:pt>
                <c:pt idx="127">
                  <c:v>-0.23838570759</c:v>
                </c:pt>
                <c:pt idx="128">
                  <c:v>-0.27027873246</c:v>
                </c:pt>
                <c:pt idx="129">
                  <c:v>-0.22644162272000001</c:v>
                </c:pt>
                <c:pt idx="130">
                  <c:v>-0.20282995942000001</c:v>
                </c:pt>
                <c:pt idx="131">
                  <c:v>-0.23538749153999999</c:v>
                </c:pt>
                <c:pt idx="132">
                  <c:v>-0.28845778544</c:v>
                </c:pt>
                <c:pt idx="133">
                  <c:v>-0.26873900695000003</c:v>
                </c:pt>
                <c:pt idx="134">
                  <c:v>-0.3850793045</c:v>
                </c:pt>
                <c:pt idx="135">
                  <c:v>-0.44780148771</c:v>
                </c:pt>
                <c:pt idx="136">
                  <c:v>-0.47833312131</c:v>
                </c:pt>
                <c:pt idx="137">
                  <c:v>-0.46688878948000001</c:v>
                </c:pt>
                <c:pt idx="138">
                  <c:v>-0.45002217837000003</c:v>
                </c:pt>
                <c:pt idx="139">
                  <c:v>-0.39704328748000001</c:v>
                </c:pt>
                <c:pt idx="140">
                  <c:v>-0.28694456341000002</c:v>
                </c:pt>
                <c:pt idx="141">
                  <c:v>-9.4296597790000006E-2</c:v>
                </c:pt>
                <c:pt idx="142">
                  <c:v>5.6277147790000003E-2</c:v>
                </c:pt>
                <c:pt idx="143">
                  <c:v>0.16955077708999999</c:v>
                </c:pt>
                <c:pt idx="144">
                  <c:v>0.24259719437999999</c:v>
                </c:pt>
                <c:pt idx="145">
                  <c:v>0.1049480763</c:v>
                </c:pt>
                <c:pt idx="146">
                  <c:v>4.3306604749999998E-2</c:v>
                </c:pt>
                <c:pt idx="147">
                  <c:v>-1.383729289E-2</c:v>
                </c:pt>
                <c:pt idx="148">
                  <c:v>6.09910012E-3</c:v>
                </c:pt>
                <c:pt idx="149">
                  <c:v>-2.3362686989999999E-2</c:v>
                </c:pt>
                <c:pt idx="150">
                  <c:v>3.4823626220000001E-2</c:v>
                </c:pt>
                <c:pt idx="151">
                  <c:v>7.1037939300000005E-2</c:v>
                </c:pt>
                <c:pt idx="152">
                  <c:v>-2.2172687E-2</c:v>
                </c:pt>
                <c:pt idx="153">
                  <c:v>-9.7100329380000003E-2</c:v>
                </c:pt>
                <c:pt idx="154">
                  <c:v>-9.8872721590000004E-2</c:v>
                </c:pt>
                <c:pt idx="155">
                  <c:v>-8.1421454700000007E-2</c:v>
                </c:pt>
                <c:pt idx="156">
                  <c:v>-0.10311571599</c:v>
                </c:pt>
                <c:pt idx="157">
                  <c:v>-2.350180243E-2</c:v>
                </c:pt>
                <c:pt idx="158">
                  <c:v>4.3323831699999997E-3</c:v>
                </c:pt>
                <c:pt idx="159">
                  <c:v>-9.4367499199999996E-2</c:v>
                </c:pt>
                <c:pt idx="160">
                  <c:v>-0.13477987573</c:v>
                </c:pt>
                <c:pt idx="161">
                  <c:v>-0.11583861286</c:v>
                </c:pt>
                <c:pt idx="162">
                  <c:v>-0.12927348239</c:v>
                </c:pt>
                <c:pt idx="163">
                  <c:v>-0.13985820269999999</c:v>
                </c:pt>
                <c:pt idx="164">
                  <c:v>-7.9274165699999996E-2</c:v>
                </c:pt>
                <c:pt idx="165">
                  <c:v>-5.066994407E-2</c:v>
                </c:pt>
                <c:pt idx="166">
                  <c:v>-0.1490373841</c:v>
                </c:pt>
                <c:pt idx="167">
                  <c:v>-0.15306702187999999</c:v>
                </c:pt>
                <c:pt idx="168">
                  <c:v>-0.13651541139000001</c:v>
                </c:pt>
                <c:pt idx="169">
                  <c:v>-9.9160020500000001E-2</c:v>
                </c:pt>
                <c:pt idx="170">
                  <c:v>-6.0300592350000001E-2</c:v>
                </c:pt>
                <c:pt idx="171">
                  <c:v>2.5562810969999999E-2</c:v>
                </c:pt>
                <c:pt idx="172">
                  <c:v>7.7875101540000005E-2</c:v>
                </c:pt>
                <c:pt idx="173">
                  <c:v>-3.478065633E-2</c:v>
                </c:pt>
                <c:pt idx="174">
                  <c:v>-9.4032279920000003E-2</c:v>
                </c:pt>
                <c:pt idx="175">
                  <c:v>-8.5776541789999994E-2</c:v>
                </c:pt>
                <c:pt idx="176">
                  <c:v>-0.11087842391</c:v>
                </c:pt>
                <c:pt idx="177">
                  <c:v>-0.12256718278000001</c:v>
                </c:pt>
                <c:pt idx="178">
                  <c:v>-6.5570002840000002E-2</c:v>
                </c:pt>
                <c:pt idx="179">
                  <c:v>-5.4336154919999997E-2</c:v>
                </c:pt>
                <c:pt idx="180">
                  <c:v>-0.15673346660000001</c:v>
                </c:pt>
                <c:pt idx="181">
                  <c:v>-0.22885700865</c:v>
                </c:pt>
                <c:pt idx="182">
                  <c:v>-0.22553776906</c:v>
                </c:pt>
                <c:pt idx="183">
                  <c:v>-0.24799575388</c:v>
                </c:pt>
                <c:pt idx="184">
                  <c:v>-0.26371778645999999</c:v>
                </c:pt>
                <c:pt idx="185">
                  <c:v>-0.24096326717</c:v>
                </c:pt>
                <c:pt idx="186">
                  <c:v>-0.18924092337000001</c:v>
                </c:pt>
                <c:pt idx="187">
                  <c:v>-0.23885243134</c:v>
                </c:pt>
                <c:pt idx="188">
                  <c:v>-0.27779809296000002</c:v>
                </c:pt>
                <c:pt idx="189">
                  <c:v>-0.25889808509000001</c:v>
                </c:pt>
                <c:pt idx="190">
                  <c:v>-0.22380677978999999</c:v>
                </c:pt>
                <c:pt idx="191">
                  <c:v>-0.24674161632</c:v>
                </c:pt>
                <c:pt idx="192">
                  <c:v>-0.17169967956000001</c:v>
                </c:pt>
                <c:pt idx="193">
                  <c:v>-0.13234699381000001</c:v>
                </c:pt>
                <c:pt idx="194">
                  <c:v>-0.17076281563000001</c:v>
                </c:pt>
                <c:pt idx="195">
                  <c:v>-0.17587296521000001</c:v>
                </c:pt>
                <c:pt idx="196">
                  <c:v>-0.13449516668</c:v>
                </c:pt>
                <c:pt idx="197">
                  <c:v>-0.16293169765000001</c:v>
                </c:pt>
                <c:pt idx="198">
                  <c:v>-0.13736333951999999</c:v>
                </c:pt>
                <c:pt idx="199">
                  <c:v>-0.14196424991000001</c:v>
                </c:pt>
                <c:pt idx="200">
                  <c:v>-0.11899852986999999</c:v>
                </c:pt>
                <c:pt idx="201">
                  <c:v>-0.19736351905999999</c:v>
                </c:pt>
                <c:pt idx="202">
                  <c:v>-0.23644626698000001</c:v>
                </c:pt>
                <c:pt idx="203">
                  <c:v>-0.27215847786000003</c:v>
                </c:pt>
                <c:pt idx="204">
                  <c:v>-0.20547577864</c:v>
                </c:pt>
                <c:pt idx="205">
                  <c:v>-0.23282594732</c:v>
                </c:pt>
                <c:pt idx="206">
                  <c:v>-0.16049348222000001</c:v>
                </c:pt>
                <c:pt idx="207">
                  <c:v>-9.7055421870000005E-2</c:v>
                </c:pt>
                <c:pt idx="208">
                  <c:v>-0.14054845552</c:v>
                </c:pt>
                <c:pt idx="209">
                  <c:v>-0.14909174324999999</c:v>
                </c:pt>
                <c:pt idx="210">
                  <c:v>-9.1609409569999994E-2</c:v>
                </c:pt>
                <c:pt idx="211">
                  <c:v>-0.10062024119</c:v>
                </c:pt>
                <c:pt idx="212">
                  <c:v>-8.7120367320000003E-2</c:v>
                </c:pt>
                <c:pt idx="213">
                  <c:v>-8.5908607400000003E-2</c:v>
                </c:pt>
                <c:pt idx="214">
                  <c:v>-7.5868083700000005E-2</c:v>
                </c:pt>
                <c:pt idx="215">
                  <c:v>-0.14653778394</c:v>
                </c:pt>
                <c:pt idx="216">
                  <c:v>-0.29271570231999999</c:v>
                </c:pt>
                <c:pt idx="217">
                  <c:v>-0.32392322733000001</c:v>
                </c:pt>
                <c:pt idx="218">
                  <c:v>-0.25259088483999997</c:v>
                </c:pt>
                <c:pt idx="219">
                  <c:v>-0.19968926325</c:v>
                </c:pt>
                <c:pt idx="220">
                  <c:v>-7.4485097E-2</c:v>
                </c:pt>
                <c:pt idx="221">
                  <c:v>0.11695235407</c:v>
                </c:pt>
                <c:pt idx="222">
                  <c:v>0.14657276674</c:v>
                </c:pt>
                <c:pt idx="223">
                  <c:v>0.25871513064000001</c:v>
                </c:pt>
                <c:pt idx="224">
                  <c:v>0.28647600735000001</c:v>
                </c:pt>
                <c:pt idx="225">
                  <c:v>5.8959879739999999E-2</c:v>
                </c:pt>
                <c:pt idx="226">
                  <c:v>-2.9991759860000002E-2</c:v>
                </c:pt>
                <c:pt idx="227">
                  <c:v>-9.0165494099999997E-3</c:v>
                </c:pt>
                <c:pt idx="228">
                  <c:v>-0.21895866252999999</c:v>
                </c:pt>
                <c:pt idx="229">
                  <c:v>-0.33120406706</c:v>
                </c:pt>
                <c:pt idx="230">
                  <c:v>-0.34557759603999999</c:v>
                </c:pt>
                <c:pt idx="231">
                  <c:v>-0.31928156425999998</c:v>
                </c:pt>
                <c:pt idx="232">
                  <c:v>-0.17930104779</c:v>
                </c:pt>
                <c:pt idx="233">
                  <c:v>-0.11843493874</c:v>
                </c:pt>
                <c:pt idx="234">
                  <c:v>-5.6505897960000002E-2</c:v>
                </c:pt>
                <c:pt idx="235">
                  <c:v>0.10317902049</c:v>
                </c:pt>
                <c:pt idx="236">
                  <c:v>4.3617038660000003E-2</c:v>
                </c:pt>
                <c:pt idx="237">
                  <c:v>-7.7126118980000005E-2</c:v>
                </c:pt>
                <c:pt idx="238">
                  <c:v>-6.9160382670000006E-2</c:v>
                </c:pt>
                <c:pt idx="239">
                  <c:v>-8.3317432659999996E-2</c:v>
                </c:pt>
                <c:pt idx="240">
                  <c:v>-9.4261378399999998E-2</c:v>
                </c:pt>
                <c:pt idx="241">
                  <c:v>-3.7645426519999997E-2</c:v>
                </c:pt>
                <c:pt idx="242">
                  <c:v>9.5601733899999992E-3</c:v>
                </c:pt>
                <c:pt idx="243">
                  <c:v>-0.12317942598000001</c:v>
                </c:pt>
                <c:pt idx="244">
                  <c:v>-0.15041396136999999</c:v>
                </c:pt>
                <c:pt idx="245">
                  <c:v>-0.15141908464000001</c:v>
                </c:pt>
                <c:pt idx="246">
                  <c:v>-0.16276494481000001</c:v>
                </c:pt>
                <c:pt idx="247">
                  <c:v>-0.18856605195000001</c:v>
                </c:pt>
                <c:pt idx="248">
                  <c:v>-0.13733140352000001</c:v>
                </c:pt>
                <c:pt idx="249">
                  <c:v>-0.14260301483000001</c:v>
                </c:pt>
                <c:pt idx="250">
                  <c:v>-0.2026195442</c:v>
                </c:pt>
                <c:pt idx="251">
                  <c:v>-0.23016688897000001</c:v>
                </c:pt>
                <c:pt idx="252">
                  <c:v>-0.19808405765000001</c:v>
                </c:pt>
                <c:pt idx="253">
                  <c:v>-0.18755046023999999</c:v>
                </c:pt>
                <c:pt idx="254">
                  <c:v>-0.16059888958999999</c:v>
                </c:pt>
                <c:pt idx="255">
                  <c:v>-0.13445616922</c:v>
                </c:pt>
                <c:pt idx="256">
                  <c:v>-5.4632933010000002E-2</c:v>
                </c:pt>
                <c:pt idx="257">
                  <c:v>-0.1370572763</c:v>
                </c:pt>
                <c:pt idx="258">
                  <c:v>-0.13056830814000001</c:v>
                </c:pt>
                <c:pt idx="259">
                  <c:v>-0.11465078307</c:v>
                </c:pt>
                <c:pt idx="260">
                  <c:v>-0.10315173707</c:v>
                </c:pt>
                <c:pt idx="261">
                  <c:v>-0.15572736702000001</c:v>
                </c:pt>
                <c:pt idx="262">
                  <c:v>-0.11062189188</c:v>
                </c:pt>
                <c:pt idx="263">
                  <c:v>-0.11257553014</c:v>
                </c:pt>
                <c:pt idx="264">
                  <c:v>-0.20053444150999999</c:v>
                </c:pt>
                <c:pt idx="265">
                  <c:v>-0.23393612075</c:v>
                </c:pt>
                <c:pt idx="266">
                  <c:v>-0.20224915306999999</c:v>
                </c:pt>
                <c:pt idx="267">
                  <c:v>-0.18848398037</c:v>
                </c:pt>
                <c:pt idx="268">
                  <c:v>-0.13011755432</c:v>
                </c:pt>
                <c:pt idx="269">
                  <c:v>-8.3294230819999995E-2</c:v>
                </c:pt>
                <c:pt idx="270">
                  <c:v>-1.19348249E-2</c:v>
                </c:pt>
                <c:pt idx="271">
                  <c:v>-6.2150599959999997E-2</c:v>
                </c:pt>
                <c:pt idx="272">
                  <c:v>-4.993655265E-2</c:v>
                </c:pt>
                <c:pt idx="273">
                  <c:v>-2.2690134510000001E-2</c:v>
                </c:pt>
                <c:pt idx="274">
                  <c:v>-3.6191817270000003E-2</c:v>
                </c:pt>
                <c:pt idx="275">
                  <c:v>-2.9217418679999999E-2</c:v>
                </c:pt>
                <c:pt idx="276">
                  <c:v>5.093706655E-2</c:v>
                </c:pt>
                <c:pt idx="277">
                  <c:v>5.4039528730000001E-2</c:v>
                </c:pt>
                <c:pt idx="278">
                  <c:v>-0.10003779149</c:v>
                </c:pt>
                <c:pt idx="279">
                  <c:v>-0.12594289493999999</c:v>
                </c:pt>
                <c:pt idx="280">
                  <c:v>-9.8409323620000003E-2</c:v>
                </c:pt>
                <c:pt idx="281">
                  <c:v>-0.11932847244</c:v>
                </c:pt>
                <c:pt idx="282">
                  <c:v>-0.18214790486999999</c:v>
                </c:pt>
                <c:pt idx="283">
                  <c:v>-0.18067532942</c:v>
                </c:pt>
                <c:pt idx="284">
                  <c:v>-0.14998714574999999</c:v>
                </c:pt>
                <c:pt idx="285">
                  <c:v>-0.25256843343000002</c:v>
                </c:pt>
                <c:pt idx="286">
                  <c:v>-0.29316293070999999</c:v>
                </c:pt>
                <c:pt idx="287">
                  <c:v>-0.25784671810999998</c:v>
                </c:pt>
                <c:pt idx="288">
                  <c:v>-0.26295695521000001</c:v>
                </c:pt>
                <c:pt idx="289">
                  <c:v>-0.17489039193</c:v>
                </c:pt>
                <c:pt idx="290">
                  <c:v>-5.3229729670000003E-2</c:v>
                </c:pt>
                <c:pt idx="291">
                  <c:v>-8.4978465100000004E-3</c:v>
                </c:pt>
                <c:pt idx="292">
                  <c:v>5.9625124860000003E-2</c:v>
                </c:pt>
                <c:pt idx="293">
                  <c:v>0.12606026587999999</c:v>
                </c:pt>
                <c:pt idx="294">
                  <c:v>9.3190296229999997E-2</c:v>
                </c:pt>
                <c:pt idx="295">
                  <c:v>9.3075070250000003E-2</c:v>
                </c:pt>
                <c:pt idx="296">
                  <c:v>1.156664609E-2</c:v>
                </c:pt>
                <c:pt idx="297">
                  <c:v>4.812632167E-2</c:v>
                </c:pt>
                <c:pt idx="298">
                  <c:v>4.8394653429999997E-2</c:v>
                </c:pt>
                <c:pt idx="299">
                  <c:v>-5.5828003860000003E-2</c:v>
                </c:pt>
                <c:pt idx="300">
                  <c:v>-3.965688874E-2</c:v>
                </c:pt>
                <c:pt idx="301">
                  <c:v>0.19318881634999999</c:v>
                </c:pt>
                <c:pt idx="302">
                  <c:v>0.26076620874000001</c:v>
                </c:pt>
                <c:pt idx="303">
                  <c:v>0.38205647229</c:v>
                </c:pt>
                <c:pt idx="304">
                  <c:v>0.61026247322000005</c:v>
                </c:pt>
                <c:pt idx="305">
                  <c:v>0.54908675798999995</c:v>
                </c:pt>
                <c:pt idx="306">
                  <c:v>0.21654041744999999</c:v>
                </c:pt>
                <c:pt idx="307">
                  <c:v>6.8930404279999996E-2</c:v>
                </c:pt>
                <c:pt idx="308">
                  <c:v>-0.16117829644000001</c:v>
                </c:pt>
                <c:pt idx="309">
                  <c:v>-0.1432489327</c:v>
                </c:pt>
                <c:pt idx="310">
                  <c:v>-0.18433269628000001</c:v>
                </c:pt>
                <c:pt idx="311">
                  <c:v>-0.14241644461</c:v>
                </c:pt>
                <c:pt idx="312">
                  <c:v>-9.7076078060000001E-2</c:v>
                </c:pt>
                <c:pt idx="313">
                  <c:v>-2.822569137E-2</c:v>
                </c:pt>
                <c:pt idx="314">
                  <c:v>-1.4733695870000001E-2</c:v>
                </c:pt>
                <c:pt idx="315">
                  <c:v>2.2163155E-2</c:v>
                </c:pt>
                <c:pt idx="316">
                  <c:v>-0.12531658136000001</c:v>
                </c:pt>
                <c:pt idx="317">
                  <c:v>-0.1767572919</c:v>
                </c:pt>
                <c:pt idx="318">
                  <c:v>-0.17394496583999999</c:v>
                </c:pt>
                <c:pt idx="319">
                  <c:v>-0.24705784277000001</c:v>
                </c:pt>
                <c:pt idx="320">
                  <c:v>-0.43723440828999999</c:v>
                </c:pt>
                <c:pt idx="321">
                  <c:v>-0.42355563167999999</c:v>
                </c:pt>
                <c:pt idx="322">
                  <c:v>-0.42722780765000001</c:v>
                </c:pt>
                <c:pt idx="323">
                  <c:v>-0.34704707154999997</c:v>
                </c:pt>
                <c:pt idx="324">
                  <c:v>-0.35470363483</c:v>
                </c:pt>
                <c:pt idx="325">
                  <c:v>-0.31472584316000002</c:v>
                </c:pt>
                <c:pt idx="326">
                  <c:v>-0.26610647267999998</c:v>
                </c:pt>
                <c:pt idx="327">
                  <c:v>-0.20298305889000001</c:v>
                </c:pt>
                <c:pt idx="328">
                  <c:v>-0.23357215210999999</c:v>
                </c:pt>
                <c:pt idx="329">
                  <c:v>-0.22175590562</c:v>
                </c:pt>
                <c:pt idx="330">
                  <c:v>-0.20944277688999999</c:v>
                </c:pt>
                <c:pt idx="331">
                  <c:v>-0.12716476970000001</c:v>
                </c:pt>
                <c:pt idx="332">
                  <c:v>-9.4777116389999999E-2</c:v>
                </c:pt>
                <c:pt idx="333">
                  <c:v>-3.0059752280000001E-2</c:v>
                </c:pt>
                <c:pt idx="334">
                  <c:v>-6.6238940509999997E-2</c:v>
                </c:pt>
                <c:pt idx="335">
                  <c:v>-0.11407985408</c:v>
                </c:pt>
                <c:pt idx="336">
                  <c:v>-8.4248058269999995E-2</c:v>
                </c:pt>
                <c:pt idx="337">
                  <c:v>-5.4771784230000002E-2</c:v>
                </c:pt>
                <c:pt idx="338">
                  <c:v>-8.6792769970000003E-2</c:v>
                </c:pt>
                <c:pt idx="339">
                  <c:v>-2.4794207879999999E-2</c:v>
                </c:pt>
                <c:pt idx="340">
                  <c:v>7.0123590939999994E-2</c:v>
                </c:pt>
                <c:pt idx="341">
                  <c:v>2.0409859419999999E-2</c:v>
                </c:pt>
                <c:pt idx="342">
                  <c:v>-3.024912838E-2</c:v>
                </c:pt>
                <c:pt idx="343">
                  <c:v>6.4566738910000004E-2</c:v>
                </c:pt>
                <c:pt idx="344">
                  <c:v>2.1834702439999999E-2</c:v>
                </c:pt>
                <c:pt idx="345">
                  <c:v>2.4430345129999999E-2</c:v>
                </c:pt>
                <c:pt idx="346">
                  <c:v>1.854311137E-2</c:v>
                </c:pt>
                <c:pt idx="347">
                  <c:v>-3.7208507100000003E-2</c:v>
                </c:pt>
                <c:pt idx="348">
                  <c:v>-0.15328108147</c:v>
                </c:pt>
                <c:pt idx="349">
                  <c:v>-0.18611860904999999</c:v>
                </c:pt>
                <c:pt idx="350">
                  <c:v>-0.19934884148000001</c:v>
                </c:pt>
                <c:pt idx="351">
                  <c:v>-0.19573710358999999</c:v>
                </c:pt>
                <c:pt idx="352">
                  <c:v>-0.20787970620999999</c:v>
                </c:pt>
                <c:pt idx="353">
                  <c:v>-0.18136097884999999</c:v>
                </c:pt>
                <c:pt idx="354">
                  <c:v>-0.15608579367</c:v>
                </c:pt>
                <c:pt idx="355">
                  <c:v>-0.20849615006</c:v>
                </c:pt>
                <c:pt idx="356">
                  <c:v>-0.26067637059999998</c:v>
                </c:pt>
                <c:pt idx="357">
                  <c:v>-0.23687132278</c:v>
                </c:pt>
                <c:pt idx="358">
                  <c:v>-0.12339949046</c:v>
                </c:pt>
                <c:pt idx="359">
                  <c:v>-8.3268917169999998E-2</c:v>
                </c:pt>
                <c:pt idx="360">
                  <c:v>-6.270335648E-2</c:v>
                </c:pt>
                <c:pt idx="361">
                  <c:v>-5.13043478E-3</c:v>
                </c:pt>
                <c:pt idx="362">
                  <c:v>-4.8485488120000003E-2</c:v>
                </c:pt>
                <c:pt idx="363">
                  <c:v>-8.5792937759999993E-2</c:v>
                </c:pt>
                <c:pt idx="364">
                  <c:v>-7.5616802459999993E-2</c:v>
                </c:pt>
                <c:pt idx="365">
                  <c:v>-0.11240008376000001</c:v>
                </c:pt>
                <c:pt idx="366">
                  <c:v>-6.7932488619999995E-2</c:v>
                </c:pt>
                <c:pt idx="367">
                  <c:v>8.1767540350000001E-2</c:v>
                </c:pt>
                <c:pt idx="368">
                  <c:v>0.14686243889</c:v>
                </c:pt>
                <c:pt idx="369">
                  <c:v>1.292345042E-2</c:v>
                </c:pt>
                <c:pt idx="370">
                  <c:v>6.9332544159999995E-2</c:v>
                </c:pt>
                <c:pt idx="371">
                  <c:v>0.18975524235999999</c:v>
                </c:pt>
                <c:pt idx="372">
                  <c:v>0.12732828167999999</c:v>
                </c:pt>
                <c:pt idx="373">
                  <c:v>6.9410483349999996E-2</c:v>
                </c:pt>
                <c:pt idx="374">
                  <c:v>5.5077115420000003E-2</c:v>
                </c:pt>
                <c:pt idx="375">
                  <c:v>3.8709030100000002E-3</c:v>
                </c:pt>
                <c:pt idx="376">
                  <c:v>-0.23448918566999999</c:v>
                </c:pt>
                <c:pt idx="377">
                  <c:v>-0.34241343085999998</c:v>
                </c:pt>
                <c:pt idx="378">
                  <c:v>-0.36141442903999998</c:v>
                </c:pt>
                <c:pt idx="379">
                  <c:v>-0.34935955947000003</c:v>
                </c:pt>
                <c:pt idx="380">
                  <c:v>-0.33092944979</c:v>
                </c:pt>
                <c:pt idx="381">
                  <c:v>-0.29142436800999999</c:v>
                </c:pt>
                <c:pt idx="382">
                  <c:v>-0.22635554175</c:v>
                </c:pt>
                <c:pt idx="383">
                  <c:v>-0.18811231881000001</c:v>
                </c:pt>
                <c:pt idx="384">
                  <c:v>-0.23071067431</c:v>
                </c:pt>
                <c:pt idx="385">
                  <c:v>-0.20719705844</c:v>
                </c:pt>
                <c:pt idx="386">
                  <c:v>-0.20772495846</c:v>
                </c:pt>
                <c:pt idx="387">
                  <c:v>-0.23372434016999999</c:v>
                </c:pt>
                <c:pt idx="388">
                  <c:v>-0.19545967410000001</c:v>
                </c:pt>
                <c:pt idx="389">
                  <c:v>-0.11300787226</c:v>
                </c:pt>
                <c:pt idx="390">
                  <c:v>-0.20173039657</c:v>
                </c:pt>
                <c:pt idx="391">
                  <c:v>-0.13454871609999999</c:v>
                </c:pt>
                <c:pt idx="392">
                  <c:v>-9.1908528559999994E-2</c:v>
                </c:pt>
                <c:pt idx="393">
                  <c:v>-4.8639994220000003E-2</c:v>
                </c:pt>
                <c:pt idx="394">
                  <c:v>6.0863453489999997E-2</c:v>
                </c:pt>
                <c:pt idx="395">
                  <c:v>0.14919690319000001</c:v>
                </c:pt>
                <c:pt idx="396">
                  <c:v>0.13086286357999999</c:v>
                </c:pt>
                <c:pt idx="397">
                  <c:v>5.6256765780000002E-2</c:v>
                </c:pt>
                <c:pt idx="398">
                  <c:v>2.5679508890000001E-2</c:v>
                </c:pt>
                <c:pt idx="399">
                  <c:v>-2.035528009E-2</c:v>
                </c:pt>
                <c:pt idx="400">
                  <c:v>-9.9598884200000001E-2</c:v>
                </c:pt>
                <c:pt idx="401">
                  <c:v>-0.14913845447999999</c:v>
                </c:pt>
                <c:pt idx="402">
                  <c:v>-0.12280390456</c:v>
                </c:pt>
                <c:pt idx="403">
                  <c:v>-6.107935959E-2</c:v>
                </c:pt>
                <c:pt idx="404">
                  <c:v>-0.28652015579000001</c:v>
                </c:pt>
                <c:pt idx="405">
                  <c:v>-0.28065756876999998</c:v>
                </c:pt>
                <c:pt idx="406">
                  <c:v>-0.23106061322999999</c:v>
                </c:pt>
                <c:pt idx="407">
                  <c:v>-0.17993846267999999</c:v>
                </c:pt>
                <c:pt idx="408">
                  <c:v>-0.12133967696</c:v>
                </c:pt>
                <c:pt idx="409">
                  <c:v>-7.0987706999999997E-4</c:v>
                </c:pt>
                <c:pt idx="410">
                  <c:v>3.3228363189999999E-2</c:v>
                </c:pt>
                <c:pt idx="411">
                  <c:v>3.0500880400000001E-3</c:v>
                </c:pt>
                <c:pt idx="412">
                  <c:v>2.4308625380000001E-2</c:v>
                </c:pt>
                <c:pt idx="413">
                  <c:v>6.9801218050000002E-2</c:v>
                </c:pt>
                <c:pt idx="414">
                  <c:v>8.753660563E-2</c:v>
                </c:pt>
                <c:pt idx="415">
                  <c:v>0.10550807003</c:v>
                </c:pt>
                <c:pt idx="416">
                  <c:v>0.19633333769</c:v>
                </c:pt>
                <c:pt idx="417">
                  <c:v>0.24052709909</c:v>
                </c:pt>
                <c:pt idx="418">
                  <c:v>-2.5561239919999999E-2</c:v>
                </c:pt>
                <c:pt idx="419">
                  <c:v>-0.14986179392999999</c:v>
                </c:pt>
                <c:pt idx="420">
                  <c:v>-0.20012159419</c:v>
                </c:pt>
                <c:pt idx="421">
                  <c:v>-0.26193145647999999</c:v>
                </c:pt>
                <c:pt idx="422">
                  <c:v>-0.35933608295000002</c:v>
                </c:pt>
                <c:pt idx="423">
                  <c:v>-0.35724202561000001</c:v>
                </c:pt>
                <c:pt idx="424">
                  <c:v>-0.30426653854000002</c:v>
                </c:pt>
                <c:pt idx="425">
                  <c:v>-0.36452617743999999</c:v>
                </c:pt>
                <c:pt idx="426">
                  <c:v>-0.36748958026</c:v>
                </c:pt>
                <c:pt idx="427">
                  <c:v>-0.28676045145000001</c:v>
                </c:pt>
                <c:pt idx="428">
                  <c:v>-0.17948505353999999</c:v>
                </c:pt>
                <c:pt idx="429">
                  <c:v>-0.1492289607</c:v>
                </c:pt>
                <c:pt idx="430">
                  <c:v>-8.9907958600000004E-2</c:v>
                </c:pt>
                <c:pt idx="431">
                  <c:v>-9.2008086660000002E-2</c:v>
                </c:pt>
                <c:pt idx="432">
                  <c:v>-0.1892825477</c:v>
                </c:pt>
                <c:pt idx="433">
                  <c:v>-0.25575295877999998</c:v>
                </c:pt>
                <c:pt idx="434">
                  <c:v>-0.29035924480999997</c:v>
                </c:pt>
                <c:pt idx="435">
                  <c:v>-0.29257750523999998</c:v>
                </c:pt>
                <c:pt idx="436">
                  <c:v>-0.29193155497000001</c:v>
                </c:pt>
                <c:pt idx="437">
                  <c:v>-0.21949372271000001</c:v>
                </c:pt>
                <c:pt idx="438">
                  <c:v>-9.80871943E-2</c:v>
                </c:pt>
                <c:pt idx="439">
                  <c:v>-0.15238700169</c:v>
                </c:pt>
                <c:pt idx="440">
                  <c:v>-0.20036667831999999</c:v>
                </c:pt>
                <c:pt idx="441">
                  <c:v>-0.11394001602000001</c:v>
                </c:pt>
                <c:pt idx="442">
                  <c:v>-0.12315998517</c:v>
                </c:pt>
                <c:pt idx="443">
                  <c:v>-0.18635096587</c:v>
                </c:pt>
                <c:pt idx="444">
                  <c:v>-0.13514025521</c:v>
                </c:pt>
                <c:pt idx="445">
                  <c:v>-8.7638407289999998E-2</c:v>
                </c:pt>
                <c:pt idx="446">
                  <c:v>-0.16784583410000001</c:v>
                </c:pt>
                <c:pt idx="447">
                  <c:v>-0.211049126</c:v>
                </c:pt>
                <c:pt idx="448">
                  <c:v>-0.18704603034</c:v>
                </c:pt>
                <c:pt idx="449">
                  <c:v>-0.17426440789</c:v>
                </c:pt>
                <c:pt idx="450">
                  <c:v>-0.17809185648</c:v>
                </c:pt>
                <c:pt idx="451">
                  <c:v>-0.18628028424000001</c:v>
                </c:pt>
                <c:pt idx="452">
                  <c:v>-0.19012039612000001</c:v>
                </c:pt>
                <c:pt idx="453">
                  <c:v>-0.19139398477</c:v>
                </c:pt>
                <c:pt idx="454">
                  <c:v>-0.27830504417000002</c:v>
                </c:pt>
                <c:pt idx="455">
                  <c:v>-0.33239507051</c:v>
                </c:pt>
                <c:pt idx="456">
                  <c:v>-0.30785324664000002</c:v>
                </c:pt>
                <c:pt idx="457">
                  <c:v>-0.34427009925000002</c:v>
                </c:pt>
                <c:pt idx="458">
                  <c:v>-0.30034815761</c:v>
                </c:pt>
                <c:pt idx="459">
                  <c:v>-0.28130956094999998</c:v>
                </c:pt>
                <c:pt idx="460">
                  <c:v>-0.30360616218999997</c:v>
                </c:pt>
                <c:pt idx="461">
                  <c:v>-0.34333827472</c:v>
                </c:pt>
                <c:pt idx="462">
                  <c:v>-0.19914327264000001</c:v>
                </c:pt>
                <c:pt idx="463">
                  <c:v>-0.23618694988</c:v>
                </c:pt>
                <c:pt idx="464">
                  <c:v>-0.21523944191</c:v>
                </c:pt>
                <c:pt idx="465">
                  <c:v>-0.17538981888999999</c:v>
                </c:pt>
                <c:pt idx="466">
                  <c:v>-0.11509298356</c:v>
                </c:pt>
                <c:pt idx="467">
                  <c:v>-0.18385465145999999</c:v>
                </c:pt>
                <c:pt idx="468">
                  <c:v>-0.17197858921</c:v>
                </c:pt>
                <c:pt idx="469">
                  <c:v>-0.18767319191000001</c:v>
                </c:pt>
                <c:pt idx="470">
                  <c:v>-0.16118524126</c:v>
                </c:pt>
                <c:pt idx="471">
                  <c:v>-0.16179931908</c:v>
                </c:pt>
                <c:pt idx="472">
                  <c:v>-0.13561641436999999</c:v>
                </c:pt>
                <c:pt idx="473">
                  <c:v>-9.4095993880000006E-2</c:v>
                </c:pt>
                <c:pt idx="474">
                  <c:v>-0.13894501577999999</c:v>
                </c:pt>
                <c:pt idx="475">
                  <c:v>-0.18166082745000001</c:v>
                </c:pt>
                <c:pt idx="476">
                  <c:v>-0.16489824624999999</c:v>
                </c:pt>
                <c:pt idx="477">
                  <c:v>-0.16696724949</c:v>
                </c:pt>
                <c:pt idx="478">
                  <c:v>-0.12753165221000001</c:v>
                </c:pt>
                <c:pt idx="479">
                  <c:v>-0.19119343214000001</c:v>
                </c:pt>
                <c:pt idx="480">
                  <c:v>-0.21495099605000001</c:v>
                </c:pt>
                <c:pt idx="481">
                  <c:v>-0.25817214603999999</c:v>
                </c:pt>
                <c:pt idx="482">
                  <c:v>-0.28100133064999999</c:v>
                </c:pt>
                <c:pt idx="483">
                  <c:v>-0.26039317934</c:v>
                </c:pt>
                <c:pt idx="484">
                  <c:v>-0.17346136850999999</c:v>
                </c:pt>
                <c:pt idx="485">
                  <c:v>-4.7131263610000002E-2</c:v>
                </c:pt>
                <c:pt idx="486">
                  <c:v>0.25138029280000002</c:v>
                </c:pt>
                <c:pt idx="487">
                  <c:v>0.35551463272</c:v>
                </c:pt>
                <c:pt idx="488">
                  <c:v>0.25838419775999999</c:v>
                </c:pt>
                <c:pt idx="489">
                  <c:v>0.30063309924999998</c:v>
                </c:pt>
                <c:pt idx="490">
                  <c:v>0.53110745326999997</c:v>
                </c:pt>
                <c:pt idx="491">
                  <c:v>0.32486767825000001</c:v>
                </c:pt>
                <c:pt idx="492">
                  <c:v>0.28895600667999999</c:v>
                </c:pt>
                <c:pt idx="493">
                  <c:v>0.32266387614000003</c:v>
                </c:pt>
                <c:pt idx="494">
                  <c:v>0.23482221182999999</c:v>
                </c:pt>
                <c:pt idx="495">
                  <c:v>-4.856480807E-2</c:v>
                </c:pt>
                <c:pt idx="496">
                  <c:v>-0.21199406128000001</c:v>
                </c:pt>
                <c:pt idx="497">
                  <c:v>-0.20056654632000001</c:v>
                </c:pt>
                <c:pt idx="498">
                  <c:v>-9.9713399430000002E-2</c:v>
                </c:pt>
                <c:pt idx="499">
                  <c:v>-9.0138788880000001E-2</c:v>
                </c:pt>
                <c:pt idx="500">
                  <c:v>1.71059831E-2</c:v>
                </c:pt>
                <c:pt idx="501">
                  <c:v>0.19006879839999999</c:v>
                </c:pt>
                <c:pt idx="502">
                  <c:v>0.11949516297</c:v>
                </c:pt>
                <c:pt idx="503">
                  <c:v>-9.545572534000000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ovych_hosp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1.5205812359819999</c:v>
                </c:pt>
                <c:pt idx="1">
                  <c:v>1.5543719301150001</c:v>
                </c:pt>
                <c:pt idx="2">
                  <c:v>1.7007982713580001</c:v>
                </c:pt>
                <c:pt idx="3">
                  <c:v>1.8246974831780001</c:v>
                </c:pt>
                <c:pt idx="4">
                  <c:v>2.027441647976</c:v>
                </c:pt>
                <c:pt idx="5">
                  <c:v>2.0837594715310002</c:v>
                </c:pt>
                <c:pt idx="6">
                  <c:v>2.342821459884</c:v>
                </c:pt>
                <c:pt idx="7">
                  <c:v>2.4216664128610002</c:v>
                </c:pt>
                <c:pt idx="8">
                  <c:v>2.7483097894789998</c:v>
                </c:pt>
                <c:pt idx="9">
                  <c:v>2.7257826600569999</c:v>
                </c:pt>
                <c:pt idx="10">
                  <c:v>3.0073717778320002</c:v>
                </c:pt>
                <c:pt idx="11">
                  <c:v>2.9848446484100002</c:v>
                </c:pt>
                <c:pt idx="12">
                  <c:v>3.2551702014730002</c:v>
                </c:pt>
                <c:pt idx="13">
                  <c:v>3.3227515897390001</c:v>
                </c:pt>
                <c:pt idx="14">
                  <c:v>3.8971933899989999</c:v>
                </c:pt>
                <c:pt idx="15">
                  <c:v>4.2125732019070004</c:v>
                </c:pt>
                <c:pt idx="16">
                  <c:v>5.3501932377159998</c:v>
                </c:pt>
                <c:pt idx="17">
                  <c:v>5.6430459202009997</c:v>
                </c:pt>
                <c:pt idx="18">
                  <c:v>6.1048520733510001</c:v>
                </c:pt>
                <c:pt idx="19">
                  <c:v>6.2512784145940001</c:v>
                </c:pt>
                <c:pt idx="20">
                  <c:v>6.8595109089869997</c:v>
                </c:pt>
                <c:pt idx="21">
                  <c:v>7.1974178503169997</c:v>
                </c:pt>
                <c:pt idx="22">
                  <c:v>7.8957588623969999</c:v>
                </c:pt>
                <c:pt idx="23">
                  <c:v>7.997130944796</c:v>
                </c:pt>
                <c:pt idx="24">
                  <c:v>8.5603091803449995</c:v>
                </c:pt>
                <c:pt idx="25">
                  <c:v>8.9770610746519992</c:v>
                </c:pt>
                <c:pt idx="26">
                  <c:v>9.6416113925999998</c:v>
                </c:pt>
                <c:pt idx="27">
                  <c:v>9.5852935690449996</c:v>
                </c:pt>
                <c:pt idx="28">
                  <c:v>10.621541522455001</c:v>
                </c:pt>
                <c:pt idx="29">
                  <c:v>11.308618969825</c:v>
                </c:pt>
                <c:pt idx="30">
                  <c:v>11.928115028929</c:v>
                </c:pt>
                <c:pt idx="31">
                  <c:v>12.716564558698</c:v>
                </c:pt>
                <c:pt idx="32">
                  <c:v>13.178370711848</c:v>
                </c:pt>
                <c:pt idx="33">
                  <c:v>13.741548947397</c:v>
                </c:pt>
                <c:pt idx="34">
                  <c:v>15.96047119546</c:v>
                </c:pt>
                <c:pt idx="35">
                  <c:v>17.120618360691001</c:v>
                </c:pt>
                <c:pt idx="36">
                  <c:v>18.629936031962998</c:v>
                </c:pt>
                <c:pt idx="37">
                  <c:v>20.432106385720001</c:v>
                </c:pt>
                <c:pt idx="38">
                  <c:v>22.301858127742999</c:v>
                </c:pt>
                <c:pt idx="39">
                  <c:v>23.743594410747999</c:v>
                </c:pt>
                <c:pt idx="40">
                  <c:v>24.700997411182001</c:v>
                </c:pt>
                <c:pt idx="41">
                  <c:v>27.122663824042998</c:v>
                </c:pt>
                <c:pt idx="42">
                  <c:v>28.857252789534002</c:v>
                </c:pt>
                <c:pt idx="43">
                  <c:v>31.143756425863</c:v>
                </c:pt>
                <c:pt idx="44">
                  <c:v>32.788236873666001</c:v>
                </c:pt>
                <c:pt idx="45">
                  <c:v>35.209903286527002</c:v>
                </c:pt>
                <c:pt idx="46">
                  <c:v>37.744205346497999</c:v>
                </c:pt>
                <c:pt idx="47">
                  <c:v>40.379879488867999</c:v>
                </c:pt>
                <c:pt idx="48">
                  <c:v>42.576274607508999</c:v>
                </c:pt>
                <c:pt idx="49">
                  <c:v>46.067979667914003</c:v>
                </c:pt>
                <c:pt idx="50">
                  <c:v>50.472033469906997</c:v>
                </c:pt>
                <c:pt idx="51">
                  <c:v>54.256591212796998</c:v>
                </c:pt>
                <c:pt idx="52">
                  <c:v>57.996094696843002</c:v>
                </c:pt>
                <c:pt idx="53">
                  <c:v>60.316389027305</c:v>
                </c:pt>
                <c:pt idx="54">
                  <c:v>63.064698816784997</c:v>
                </c:pt>
                <c:pt idx="55">
                  <c:v>67.637706089443</c:v>
                </c:pt>
                <c:pt idx="56">
                  <c:v>71.411000267622001</c:v>
                </c:pt>
                <c:pt idx="57">
                  <c:v>70.442333702477001</c:v>
                </c:pt>
                <c:pt idx="58">
                  <c:v>73.742558162795007</c:v>
                </c:pt>
                <c:pt idx="59">
                  <c:v>77.031519058401997</c:v>
                </c:pt>
                <c:pt idx="60">
                  <c:v>77.099100446666995</c:v>
                </c:pt>
                <c:pt idx="61">
                  <c:v>76.186751705077995</c:v>
                </c:pt>
                <c:pt idx="62">
                  <c:v>76.310650916898993</c:v>
                </c:pt>
                <c:pt idx="63">
                  <c:v>75.803790504904995</c:v>
                </c:pt>
                <c:pt idx="64">
                  <c:v>77.673542246926999</c:v>
                </c:pt>
                <c:pt idx="65">
                  <c:v>75.150503751667998</c:v>
                </c:pt>
                <c:pt idx="66">
                  <c:v>72.188186232679996</c:v>
                </c:pt>
                <c:pt idx="67">
                  <c:v>70.453597267188002</c:v>
                </c:pt>
                <c:pt idx="68">
                  <c:v>68.989333854761</c:v>
                </c:pt>
                <c:pt idx="69">
                  <c:v>66.511349618344994</c:v>
                </c:pt>
                <c:pt idx="70">
                  <c:v>64.551489358634001</c:v>
                </c:pt>
                <c:pt idx="71">
                  <c:v>61.780652439732997</c:v>
                </c:pt>
                <c:pt idx="72">
                  <c:v>59.550466626957999</c:v>
                </c:pt>
                <c:pt idx="73">
                  <c:v>58.232629555773997</c:v>
                </c:pt>
                <c:pt idx="74">
                  <c:v>57.049955261119997</c:v>
                </c:pt>
                <c:pt idx="75">
                  <c:v>55.394211248605998</c:v>
                </c:pt>
                <c:pt idx="76">
                  <c:v>53.434350988894998</c:v>
                </c:pt>
                <c:pt idx="77">
                  <c:v>48.512173210196998</c:v>
                </c:pt>
                <c:pt idx="78">
                  <c:v>48.399537563087002</c:v>
                </c:pt>
                <c:pt idx="79">
                  <c:v>46.912747021237003</c:v>
                </c:pt>
                <c:pt idx="80">
                  <c:v>43.567468302076001</c:v>
                </c:pt>
                <c:pt idx="81">
                  <c:v>42.317212619156997</c:v>
                </c:pt>
                <c:pt idx="82">
                  <c:v>41.404863877567003</c:v>
                </c:pt>
                <c:pt idx="83">
                  <c:v>40.064499676959997</c:v>
                </c:pt>
                <c:pt idx="84">
                  <c:v>42.463638960399997</c:v>
                </c:pt>
                <c:pt idx="85">
                  <c:v>39.692802041497998</c:v>
                </c:pt>
                <c:pt idx="86">
                  <c:v>38.408755664445998</c:v>
                </c:pt>
                <c:pt idx="87">
                  <c:v>37.552724746411997</c:v>
                </c:pt>
                <c:pt idx="88">
                  <c:v>36.820593040197998</c:v>
                </c:pt>
                <c:pt idx="89">
                  <c:v>37.192290675659997</c:v>
                </c:pt>
                <c:pt idx="90">
                  <c:v>36.561531051845002</c:v>
                </c:pt>
                <c:pt idx="91">
                  <c:v>34.646725050977999</c:v>
                </c:pt>
                <c:pt idx="92">
                  <c:v>34.252500286093998</c:v>
                </c:pt>
                <c:pt idx="93">
                  <c:v>35.074740509995998</c:v>
                </c:pt>
                <c:pt idx="94">
                  <c:v>35.818135780920002</c:v>
                </c:pt>
                <c:pt idx="95">
                  <c:v>36.043407075140003</c:v>
                </c:pt>
                <c:pt idx="96">
                  <c:v>35.930771428029999</c:v>
                </c:pt>
                <c:pt idx="97">
                  <c:v>35.840662910341997</c:v>
                </c:pt>
                <c:pt idx="98">
                  <c:v>35.964562122163002</c:v>
                </c:pt>
                <c:pt idx="99">
                  <c:v>37.000810075574002</c:v>
                </c:pt>
                <c:pt idx="100">
                  <c:v>36.809329475486997</c:v>
                </c:pt>
                <c:pt idx="101">
                  <c:v>36.448895404734998</c:v>
                </c:pt>
                <c:pt idx="102">
                  <c:v>37.349980581613998</c:v>
                </c:pt>
                <c:pt idx="103">
                  <c:v>37.744205346497999</c:v>
                </c:pt>
                <c:pt idx="104">
                  <c:v>38.194747934938</c:v>
                </c:pt>
                <c:pt idx="105">
                  <c:v>39.276050147192002</c:v>
                </c:pt>
                <c:pt idx="106">
                  <c:v>38.611499829244003</c:v>
                </c:pt>
                <c:pt idx="107">
                  <c:v>38.949406770572999</c:v>
                </c:pt>
                <c:pt idx="108">
                  <c:v>39.4900578767</c:v>
                </c:pt>
                <c:pt idx="109">
                  <c:v>39.062042417683003</c:v>
                </c:pt>
                <c:pt idx="110">
                  <c:v>39.478794311988999</c:v>
                </c:pt>
                <c:pt idx="111">
                  <c:v>39.535112135543997</c:v>
                </c:pt>
                <c:pt idx="112">
                  <c:v>40.188398888781002</c:v>
                </c:pt>
                <c:pt idx="113">
                  <c:v>42.204576972047001</c:v>
                </c:pt>
                <c:pt idx="114">
                  <c:v>40.222189582913998</c:v>
                </c:pt>
                <c:pt idx="115">
                  <c:v>39.602693523809997</c:v>
                </c:pt>
                <c:pt idx="116">
                  <c:v>41.889197160138998</c:v>
                </c:pt>
                <c:pt idx="117">
                  <c:v>44.491080608376002</c:v>
                </c:pt>
                <c:pt idx="118">
                  <c:v>49.638529681294997</c:v>
                </c:pt>
                <c:pt idx="119">
                  <c:v>52.972544835744998</c:v>
                </c:pt>
                <c:pt idx="120">
                  <c:v>54.864823707189998</c:v>
                </c:pt>
                <c:pt idx="121">
                  <c:v>59.449094544559998</c:v>
                </c:pt>
                <c:pt idx="122">
                  <c:v>60.733140921611003</c:v>
                </c:pt>
                <c:pt idx="123">
                  <c:v>62.535311275368002</c:v>
                </c:pt>
                <c:pt idx="124">
                  <c:v>63.166070899182998</c:v>
                </c:pt>
                <c:pt idx="125">
                  <c:v>65.621528006177002</c:v>
                </c:pt>
                <c:pt idx="126">
                  <c:v>66.781675171407997</c:v>
                </c:pt>
                <c:pt idx="127">
                  <c:v>68.076985113171006</c:v>
                </c:pt>
                <c:pt idx="128">
                  <c:v>70.025581808170998</c:v>
                </c:pt>
                <c:pt idx="129">
                  <c:v>72.717573774095996</c:v>
                </c:pt>
                <c:pt idx="130">
                  <c:v>71.534899479442998</c:v>
                </c:pt>
                <c:pt idx="131">
                  <c:v>70.239589537680004</c:v>
                </c:pt>
                <c:pt idx="132">
                  <c:v>66.443768230079002</c:v>
                </c:pt>
                <c:pt idx="133">
                  <c:v>65.846799300396995</c:v>
                </c:pt>
                <c:pt idx="134">
                  <c:v>63.098489510916998</c:v>
                </c:pt>
                <c:pt idx="135">
                  <c:v>60.541660321525001</c:v>
                </c:pt>
                <c:pt idx="136">
                  <c:v>59.685629403489997</c:v>
                </c:pt>
                <c:pt idx="137">
                  <c:v>58.221365991063003</c:v>
                </c:pt>
                <c:pt idx="138">
                  <c:v>56.588149107969997</c:v>
                </c:pt>
                <c:pt idx="139">
                  <c:v>55.439265507450003</c:v>
                </c:pt>
                <c:pt idx="140">
                  <c:v>52.690955717971001</c:v>
                </c:pt>
                <c:pt idx="141">
                  <c:v>52.600847200282999</c:v>
                </c:pt>
                <c:pt idx="142">
                  <c:v>51.136583787855002</c:v>
                </c:pt>
                <c:pt idx="143">
                  <c:v>50.776149717103998</c:v>
                </c:pt>
                <c:pt idx="144">
                  <c:v>50.697304764126997</c:v>
                </c:pt>
                <c:pt idx="145">
                  <c:v>50.517087728751001</c:v>
                </c:pt>
                <c:pt idx="146">
                  <c:v>49.176723528144002</c:v>
                </c:pt>
                <c:pt idx="147">
                  <c:v>49.041560751612998</c:v>
                </c:pt>
                <c:pt idx="148">
                  <c:v>48.129212010022997</c:v>
                </c:pt>
                <c:pt idx="149">
                  <c:v>47.847622892248999</c:v>
                </c:pt>
                <c:pt idx="150">
                  <c:v>46.845165632971003</c:v>
                </c:pt>
                <c:pt idx="151">
                  <c:v>46.541049385774997</c:v>
                </c:pt>
                <c:pt idx="152">
                  <c:v>46.619894338751998</c:v>
                </c:pt>
                <c:pt idx="153">
                  <c:v>47.802568633405002</c:v>
                </c:pt>
                <c:pt idx="154">
                  <c:v>46.969064844792001</c:v>
                </c:pt>
                <c:pt idx="155">
                  <c:v>47.070436927190997</c:v>
                </c:pt>
                <c:pt idx="156">
                  <c:v>48.174266268867001</c:v>
                </c:pt>
                <c:pt idx="157">
                  <c:v>47.971522104069003</c:v>
                </c:pt>
                <c:pt idx="158">
                  <c:v>48.534700339619</c:v>
                </c:pt>
                <c:pt idx="159">
                  <c:v>49.086615010457002</c:v>
                </c:pt>
                <c:pt idx="160">
                  <c:v>48.174266268867001</c:v>
                </c:pt>
                <c:pt idx="161">
                  <c:v>48.523436774907999</c:v>
                </c:pt>
                <c:pt idx="162">
                  <c:v>48.658599551439004</c:v>
                </c:pt>
                <c:pt idx="163">
                  <c:v>48.365746868953998</c:v>
                </c:pt>
                <c:pt idx="164">
                  <c:v>48.579754598462003</c:v>
                </c:pt>
                <c:pt idx="165">
                  <c:v>48.658599551439004</c:v>
                </c:pt>
                <c:pt idx="166">
                  <c:v>49.593475422451</c:v>
                </c:pt>
                <c:pt idx="167">
                  <c:v>50.179180787421998</c:v>
                </c:pt>
                <c:pt idx="168">
                  <c:v>51.361855082075003</c:v>
                </c:pt>
                <c:pt idx="169">
                  <c:v>53.209079694675999</c:v>
                </c:pt>
                <c:pt idx="170">
                  <c:v>54.380490424618003</c:v>
                </c:pt>
                <c:pt idx="171">
                  <c:v>56.205187907796997</c:v>
                </c:pt>
                <c:pt idx="172">
                  <c:v>57.083745955253001</c:v>
                </c:pt>
                <c:pt idx="173">
                  <c:v>57.849668355600002</c:v>
                </c:pt>
                <c:pt idx="174">
                  <c:v>60.519133192102998</c:v>
                </c:pt>
                <c:pt idx="175">
                  <c:v>61.814443133866</c:v>
                </c:pt>
                <c:pt idx="176">
                  <c:v>62.478993451813999</c:v>
                </c:pt>
                <c:pt idx="177">
                  <c:v>64.911923429385993</c:v>
                </c:pt>
                <c:pt idx="178">
                  <c:v>66.308605453547003</c:v>
                </c:pt>
                <c:pt idx="179">
                  <c:v>68.065721548460004</c:v>
                </c:pt>
                <c:pt idx="180">
                  <c:v>68.899225337073005</c:v>
                </c:pt>
                <c:pt idx="181">
                  <c:v>71.174465408691006</c:v>
                </c:pt>
                <c:pt idx="182">
                  <c:v>73.517286868574999</c:v>
                </c:pt>
                <c:pt idx="183">
                  <c:v>73.967829457015</c:v>
                </c:pt>
                <c:pt idx="184">
                  <c:v>73.708767468662003</c:v>
                </c:pt>
                <c:pt idx="185">
                  <c:v>73.798875986349998</c:v>
                </c:pt>
                <c:pt idx="186">
                  <c:v>74.181837186522998</c:v>
                </c:pt>
                <c:pt idx="187">
                  <c:v>74.823860375048994</c:v>
                </c:pt>
                <c:pt idx="188">
                  <c:v>73.562341127419003</c:v>
                </c:pt>
                <c:pt idx="189">
                  <c:v>72.773891597651001</c:v>
                </c:pt>
                <c:pt idx="190">
                  <c:v>74.564798386697007</c:v>
                </c:pt>
                <c:pt idx="191">
                  <c:v>74.767542551494003</c:v>
                </c:pt>
                <c:pt idx="192">
                  <c:v>75.533464951840998</c:v>
                </c:pt>
                <c:pt idx="193">
                  <c:v>75.488410692996993</c:v>
                </c:pt>
                <c:pt idx="194">
                  <c:v>74.677434033805994</c:v>
                </c:pt>
                <c:pt idx="195">
                  <c:v>75.274402963488001</c:v>
                </c:pt>
                <c:pt idx="196">
                  <c:v>74.373317786610002</c:v>
                </c:pt>
                <c:pt idx="197">
                  <c:v>72.717573774095996</c:v>
                </c:pt>
                <c:pt idx="198">
                  <c:v>71.478581655887993</c:v>
                </c:pt>
                <c:pt idx="199">
                  <c:v>69.620093478575996</c:v>
                </c:pt>
                <c:pt idx="200">
                  <c:v>67.648969654154001</c:v>
                </c:pt>
                <c:pt idx="201">
                  <c:v>66.804202300829999</c:v>
                </c:pt>
                <c:pt idx="202">
                  <c:v>65.553946617910995</c:v>
                </c:pt>
                <c:pt idx="203">
                  <c:v>63.729249134732001</c:v>
                </c:pt>
                <c:pt idx="204">
                  <c:v>61.927078780975002</c:v>
                </c:pt>
                <c:pt idx="205">
                  <c:v>60.834513004009999</c:v>
                </c:pt>
                <c:pt idx="206">
                  <c:v>59.843319309443999</c:v>
                </c:pt>
                <c:pt idx="207">
                  <c:v>59.696892968200999</c:v>
                </c:pt>
                <c:pt idx="208">
                  <c:v>58.773280661900998</c:v>
                </c:pt>
                <c:pt idx="209">
                  <c:v>56.47551346086</c:v>
                </c:pt>
                <c:pt idx="210">
                  <c:v>55.180203519098001</c:v>
                </c:pt>
                <c:pt idx="211">
                  <c:v>54.267854777507999</c:v>
                </c:pt>
                <c:pt idx="212">
                  <c:v>53.028862659300003</c:v>
                </c:pt>
                <c:pt idx="213">
                  <c:v>50.618459811149997</c:v>
                </c:pt>
                <c:pt idx="214">
                  <c:v>49.706111069560997</c:v>
                </c:pt>
                <c:pt idx="215">
                  <c:v>49.154196398722</c:v>
                </c:pt>
                <c:pt idx="216">
                  <c:v>44.344654267133002</c:v>
                </c:pt>
                <c:pt idx="217">
                  <c:v>47.960258539358001</c:v>
                </c:pt>
                <c:pt idx="218">
                  <c:v>46.462204432798003</c:v>
                </c:pt>
                <c:pt idx="219">
                  <c:v>44.265809314157003</c:v>
                </c:pt>
                <c:pt idx="220">
                  <c:v>43.837793855138997</c:v>
                </c:pt>
                <c:pt idx="221">
                  <c:v>41.866670030717003</c:v>
                </c:pt>
                <c:pt idx="222">
                  <c:v>40.087026806381999</c:v>
                </c:pt>
                <c:pt idx="223">
                  <c:v>41.157065453926002</c:v>
                </c:pt>
                <c:pt idx="224">
                  <c:v>34.128601074273</c:v>
                </c:pt>
                <c:pt idx="225">
                  <c:v>32.484120626470002</c:v>
                </c:pt>
                <c:pt idx="226">
                  <c:v>31.616826143724001</c:v>
                </c:pt>
                <c:pt idx="227">
                  <c:v>30.017399954765001</c:v>
                </c:pt>
                <c:pt idx="228">
                  <c:v>29.533066672193002</c:v>
                </c:pt>
                <c:pt idx="229">
                  <c:v>28.891043483667001</c:v>
                </c:pt>
                <c:pt idx="230">
                  <c:v>28.057539695054</c:v>
                </c:pt>
                <c:pt idx="231">
                  <c:v>27.708369189014</c:v>
                </c:pt>
                <c:pt idx="232">
                  <c:v>27.190245212309001</c:v>
                </c:pt>
                <c:pt idx="233">
                  <c:v>26.322950729563001</c:v>
                </c:pt>
                <c:pt idx="234">
                  <c:v>25.399338423263</c:v>
                </c:pt>
                <c:pt idx="235">
                  <c:v>24.351826905140999</c:v>
                </c:pt>
                <c:pt idx="236">
                  <c:v>23.597168069506001</c:v>
                </c:pt>
                <c:pt idx="237">
                  <c:v>21.851315539302998</c:v>
                </c:pt>
                <c:pt idx="238">
                  <c:v>20.770013327049</c:v>
                </c:pt>
                <c:pt idx="239">
                  <c:v>19.463439820575001</c:v>
                </c:pt>
                <c:pt idx="240">
                  <c:v>19.170587138089999</c:v>
                </c:pt>
                <c:pt idx="241">
                  <c:v>18.494773255430999</c:v>
                </c:pt>
                <c:pt idx="242">
                  <c:v>18.359610478899</c:v>
                </c:pt>
                <c:pt idx="243">
                  <c:v>18.100548490546998</c:v>
                </c:pt>
                <c:pt idx="244">
                  <c:v>18.337083349476998</c:v>
                </c:pt>
                <c:pt idx="245">
                  <c:v>17.537370254997999</c:v>
                </c:pt>
                <c:pt idx="246">
                  <c:v>16.906610631183</c:v>
                </c:pt>
                <c:pt idx="247">
                  <c:v>15.802781289505999</c:v>
                </c:pt>
                <c:pt idx="248">
                  <c:v>15.543719301154001</c:v>
                </c:pt>
                <c:pt idx="249">
                  <c:v>14.755269771385001</c:v>
                </c:pt>
                <c:pt idx="250">
                  <c:v>14.225882229969001</c:v>
                </c:pt>
                <c:pt idx="251">
                  <c:v>13.009417241183</c:v>
                </c:pt>
                <c:pt idx="252">
                  <c:v>12.378657617368001</c:v>
                </c:pt>
                <c:pt idx="253">
                  <c:v>11.905587899506999</c:v>
                </c:pt>
                <c:pt idx="254">
                  <c:v>11.432518181646</c:v>
                </c:pt>
                <c:pt idx="255">
                  <c:v>10.531433004767001</c:v>
                </c:pt>
                <c:pt idx="256">
                  <c:v>10.21605319286</c:v>
                </c:pt>
                <c:pt idx="257">
                  <c:v>9.7767741691310004</c:v>
                </c:pt>
                <c:pt idx="258">
                  <c:v>8.9320068158080002</c:v>
                </c:pt>
                <c:pt idx="259">
                  <c:v>8.5265184862119998</c:v>
                </c:pt>
                <c:pt idx="260">
                  <c:v>7.7268053917330004</c:v>
                </c:pt>
                <c:pt idx="261">
                  <c:v>7.073518638496</c:v>
                </c:pt>
                <c:pt idx="262">
                  <c:v>6.9834101208080002</c:v>
                </c:pt>
                <c:pt idx="263">
                  <c:v>6.6229760500569999</c:v>
                </c:pt>
                <c:pt idx="264">
                  <c:v>6.2174877204610004</c:v>
                </c:pt>
                <c:pt idx="265">
                  <c:v>5.4853560142470004</c:v>
                </c:pt>
                <c:pt idx="266">
                  <c:v>4.9447049081200003</c:v>
                </c:pt>
                <c:pt idx="267">
                  <c:v>5.023549861097</c:v>
                </c:pt>
                <c:pt idx="268">
                  <c:v>4.7081700491899996</c:v>
                </c:pt>
                <c:pt idx="269">
                  <c:v>4.0886739900859999</c:v>
                </c:pt>
                <c:pt idx="270">
                  <c:v>3.9309840841320001</c:v>
                </c:pt>
                <c:pt idx="271">
                  <c:v>3.8971933899989999</c:v>
                </c:pt>
                <c:pt idx="272">
                  <c:v>3.8746662605769999</c:v>
                </c:pt>
                <c:pt idx="273">
                  <c:v>3.6043407075139999</c:v>
                </c:pt>
                <c:pt idx="274">
                  <c:v>3.1537981190740001</c:v>
                </c:pt>
                <c:pt idx="275">
                  <c:v>2.9172632601439998</c:v>
                </c:pt>
                <c:pt idx="276">
                  <c:v>2.7370462247680001</c:v>
                </c:pt>
                <c:pt idx="277">
                  <c:v>2.6694648365020002</c:v>
                </c:pt>
                <c:pt idx="278">
                  <c:v>2.5005113658370002</c:v>
                </c:pt>
                <c:pt idx="279">
                  <c:v>2.0161780832649998</c:v>
                </c:pt>
                <c:pt idx="280">
                  <c:v>1.9711238244210001</c:v>
                </c:pt>
                <c:pt idx="281">
                  <c:v>1.6670075772249999</c:v>
                </c:pt>
                <c:pt idx="282">
                  <c:v>1.6670075772249999</c:v>
                </c:pt>
                <c:pt idx="283">
                  <c:v>1.419209153583</c:v>
                </c:pt>
                <c:pt idx="284">
                  <c:v>1.3403642006059999</c:v>
                </c:pt>
                <c:pt idx="285">
                  <c:v>1.261519247629</c:v>
                </c:pt>
                <c:pt idx="286">
                  <c:v>1.317837071184</c:v>
                </c:pt>
                <c:pt idx="287">
                  <c:v>1.0700386475429999</c:v>
                </c:pt>
                <c:pt idx="288">
                  <c:v>0.96866656514399996</c:v>
                </c:pt>
                <c:pt idx="289">
                  <c:v>0.99119369456600004</c:v>
                </c:pt>
                <c:pt idx="290">
                  <c:v>0.97993012985500005</c:v>
                </c:pt>
                <c:pt idx="291">
                  <c:v>1.002457259277</c:v>
                </c:pt>
                <c:pt idx="292">
                  <c:v>0.96866656514399996</c:v>
                </c:pt>
                <c:pt idx="293">
                  <c:v>0.83350378861200003</c:v>
                </c:pt>
                <c:pt idx="294">
                  <c:v>0.81097665918999995</c:v>
                </c:pt>
                <c:pt idx="295">
                  <c:v>0.82224022390100004</c:v>
                </c:pt>
                <c:pt idx="296">
                  <c:v>0.61949605910299999</c:v>
                </c:pt>
                <c:pt idx="297">
                  <c:v>0.57444180026000002</c:v>
                </c:pt>
                <c:pt idx="298">
                  <c:v>0.47306971786099999</c:v>
                </c:pt>
                <c:pt idx="299">
                  <c:v>0.48433328257199998</c:v>
                </c:pt>
                <c:pt idx="300">
                  <c:v>0.45054258843900002</c:v>
                </c:pt>
                <c:pt idx="301">
                  <c:v>0.382961200173</c:v>
                </c:pt>
                <c:pt idx="302">
                  <c:v>0.45054258843900002</c:v>
                </c:pt>
                <c:pt idx="303">
                  <c:v>0.428015459017</c:v>
                </c:pt>
                <c:pt idx="304">
                  <c:v>0.40548832959499997</c:v>
                </c:pt>
                <c:pt idx="305">
                  <c:v>0.41675189430600001</c:v>
                </c:pt>
                <c:pt idx="306">
                  <c:v>0.41675189430600001</c:v>
                </c:pt>
                <c:pt idx="307">
                  <c:v>0.382961200173</c:v>
                </c:pt>
                <c:pt idx="308">
                  <c:v>0.34917050603999999</c:v>
                </c:pt>
                <c:pt idx="309">
                  <c:v>0.31537981190699999</c:v>
                </c:pt>
                <c:pt idx="310">
                  <c:v>0.31537981190699999</c:v>
                </c:pt>
                <c:pt idx="311">
                  <c:v>0.33790694132900001</c:v>
                </c:pt>
                <c:pt idx="312">
                  <c:v>0.34917050603999999</c:v>
                </c:pt>
                <c:pt idx="313">
                  <c:v>0.36043407075099998</c:v>
                </c:pt>
                <c:pt idx="314">
                  <c:v>0.40548832959499997</c:v>
                </c:pt>
                <c:pt idx="315">
                  <c:v>0.41675189430600001</c:v>
                </c:pt>
                <c:pt idx="316">
                  <c:v>0.36043407075099998</c:v>
                </c:pt>
                <c:pt idx="317">
                  <c:v>0.39422476488399999</c:v>
                </c:pt>
                <c:pt idx="318">
                  <c:v>0.428015459017</c:v>
                </c:pt>
                <c:pt idx="319">
                  <c:v>0.43927902372799998</c:v>
                </c:pt>
                <c:pt idx="320">
                  <c:v>0.428015459017</c:v>
                </c:pt>
                <c:pt idx="321">
                  <c:v>0.49559684728300002</c:v>
                </c:pt>
                <c:pt idx="322">
                  <c:v>0.54065110612699996</c:v>
                </c:pt>
                <c:pt idx="323">
                  <c:v>0.55191467083800005</c:v>
                </c:pt>
                <c:pt idx="324">
                  <c:v>0.54065110612699996</c:v>
                </c:pt>
                <c:pt idx="325">
                  <c:v>0.49559684728300002</c:v>
                </c:pt>
                <c:pt idx="326">
                  <c:v>0.51812397670499999</c:v>
                </c:pt>
                <c:pt idx="327">
                  <c:v>0.57444180026000002</c:v>
                </c:pt>
                <c:pt idx="328">
                  <c:v>0.57444180026000002</c:v>
                </c:pt>
                <c:pt idx="329">
                  <c:v>0.56317823554900004</c:v>
                </c:pt>
                <c:pt idx="330">
                  <c:v>0.57444180026000002</c:v>
                </c:pt>
                <c:pt idx="331">
                  <c:v>0.63075962381399997</c:v>
                </c:pt>
                <c:pt idx="332">
                  <c:v>0.64202318852499995</c:v>
                </c:pt>
                <c:pt idx="333">
                  <c:v>0.64202318852499995</c:v>
                </c:pt>
                <c:pt idx="334">
                  <c:v>0.59696892968199999</c:v>
                </c:pt>
                <c:pt idx="335">
                  <c:v>0.55191467083800005</c:v>
                </c:pt>
                <c:pt idx="336">
                  <c:v>0.56317823554900004</c:v>
                </c:pt>
                <c:pt idx="337">
                  <c:v>0.608232494392</c:v>
                </c:pt>
                <c:pt idx="338">
                  <c:v>0.54065110612699996</c:v>
                </c:pt>
                <c:pt idx="339">
                  <c:v>0.59696892968199999</c:v>
                </c:pt>
                <c:pt idx="340">
                  <c:v>0.59696892968199999</c:v>
                </c:pt>
                <c:pt idx="341">
                  <c:v>0.57444180026000002</c:v>
                </c:pt>
                <c:pt idx="342">
                  <c:v>0.57444180026000002</c:v>
                </c:pt>
                <c:pt idx="343">
                  <c:v>0.608232494392</c:v>
                </c:pt>
                <c:pt idx="344">
                  <c:v>0.56317823554900004</c:v>
                </c:pt>
                <c:pt idx="345">
                  <c:v>0.56317823554900004</c:v>
                </c:pt>
                <c:pt idx="346">
                  <c:v>0.52938754141599997</c:v>
                </c:pt>
                <c:pt idx="347">
                  <c:v>0.55191467083800005</c:v>
                </c:pt>
                <c:pt idx="348">
                  <c:v>0.58570536497100001</c:v>
                </c:pt>
                <c:pt idx="349">
                  <c:v>0.65328675323600005</c:v>
                </c:pt>
                <c:pt idx="350">
                  <c:v>0.65328675323600005</c:v>
                </c:pt>
                <c:pt idx="351">
                  <c:v>0.67581388265800002</c:v>
                </c:pt>
                <c:pt idx="352">
                  <c:v>0.73213170621300006</c:v>
                </c:pt>
                <c:pt idx="353">
                  <c:v>0.77718596505699999</c:v>
                </c:pt>
                <c:pt idx="354">
                  <c:v>0.75465883563500002</c:v>
                </c:pt>
                <c:pt idx="355">
                  <c:v>0.76592240034600001</c:v>
                </c:pt>
                <c:pt idx="356">
                  <c:v>0.66455031794700004</c:v>
                </c:pt>
                <c:pt idx="357">
                  <c:v>0.69834101207999999</c:v>
                </c:pt>
                <c:pt idx="358">
                  <c:v>0.77718596505699999</c:v>
                </c:pt>
                <c:pt idx="359">
                  <c:v>0.74339527092400004</c:v>
                </c:pt>
                <c:pt idx="360">
                  <c:v>0.69834101207999999</c:v>
                </c:pt>
                <c:pt idx="361">
                  <c:v>0.68707744736900001</c:v>
                </c:pt>
                <c:pt idx="362">
                  <c:v>0.65328675323600005</c:v>
                </c:pt>
                <c:pt idx="363">
                  <c:v>0.68707744736900001</c:v>
                </c:pt>
                <c:pt idx="364">
                  <c:v>0.66455031794700004</c:v>
                </c:pt>
                <c:pt idx="365">
                  <c:v>0.64202318852499995</c:v>
                </c:pt>
                <c:pt idx="366">
                  <c:v>0.68707744736900001</c:v>
                </c:pt>
                <c:pt idx="367">
                  <c:v>0.77718596505699999</c:v>
                </c:pt>
                <c:pt idx="368">
                  <c:v>0.78844952976799998</c:v>
                </c:pt>
                <c:pt idx="369">
                  <c:v>0.86729448274499998</c:v>
                </c:pt>
                <c:pt idx="370">
                  <c:v>1.024984388699</c:v>
                </c:pt>
                <c:pt idx="371">
                  <c:v>1.0813022122539999</c:v>
                </c:pt>
                <c:pt idx="372">
                  <c:v>1.1038293416760001</c:v>
                </c:pt>
                <c:pt idx="373">
                  <c:v>1.171410729942</c:v>
                </c:pt>
                <c:pt idx="374">
                  <c:v>1.14888360052</c:v>
                </c:pt>
                <c:pt idx="375">
                  <c:v>1.2164649887850001</c:v>
                </c:pt>
                <c:pt idx="376">
                  <c:v>1.284046377051</c:v>
                </c:pt>
                <c:pt idx="377">
                  <c:v>1.3516277653169999</c:v>
                </c:pt>
                <c:pt idx="378">
                  <c:v>1.475526977138</c:v>
                </c:pt>
                <c:pt idx="379">
                  <c:v>1.4867905418489999</c:v>
                </c:pt>
                <c:pt idx="380">
                  <c:v>1.5093176712709999</c:v>
                </c:pt>
                <c:pt idx="381">
                  <c:v>1.7120618360690001</c:v>
                </c:pt>
                <c:pt idx="382">
                  <c:v>1.7007982713580001</c:v>
                </c:pt>
                <c:pt idx="383">
                  <c:v>1.6670075772249999</c:v>
                </c:pt>
                <c:pt idx="384">
                  <c:v>1.633216883092</c:v>
                </c:pt>
                <c:pt idx="385">
                  <c:v>1.576899059537</c:v>
                </c:pt>
                <c:pt idx="386">
                  <c:v>1.588162624248</c:v>
                </c:pt>
                <c:pt idx="387">
                  <c:v>1.599426188959</c:v>
                </c:pt>
                <c:pt idx="388">
                  <c:v>1.5431083654040001</c:v>
                </c:pt>
                <c:pt idx="389">
                  <c:v>1.644480447803</c:v>
                </c:pt>
                <c:pt idx="390">
                  <c:v>1.6782711419359999</c:v>
                </c:pt>
                <c:pt idx="391">
                  <c:v>1.768379659624</c:v>
                </c:pt>
                <c:pt idx="392">
                  <c:v>1.7345889654910001</c:v>
                </c:pt>
                <c:pt idx="393">
                  <c:v>1.9260695655769999</c:v>
                </c:pt>
                <c:pt idx="394">
                  <c:v>2.049968777398</c:v>
                </c:pt>
                <c:pt idx="395">
                  <c:v>2.1062866009530001</c:v>
                </c:pt>
                <c:pt idx="396">
                  <c:v>2.173867989219</c:v>
                </c:pt>
                <c:pt idx="397">
                  <c:v>2.2865036363289999</c:v>
                </c:pt>
                <c:pt idx="398">
                  <c:v>2.613147012947</c:v>
                </c:pt>
                <c:pt idx="399">
                  <c:v>2.9059996954330001</c:v>
                </c:pt>
                <c:pt idx="400">
                  <c:v>3.0974802955189999</c:v>
                </c:pt>
                <c:pt idx="401">
                  <c:v>3.198852377918</c:v>
                </c:pt>
                <c:pt idx="402">
                  <c:v>3.412860107427</c:v>
                </c:pt>
                <c:pt idx="403">
                  <c:v>3.4579143662709999</c:v>
                </c:pt>
                <c:pt idx="404">
                  <c:v>3.5705500133810002</c:v>
                </c:pt>
                <c:pt idx="405">
                  <c:v>3.9197205194209999</c:v>
                </c:pt>
                <c:pt idx="406">
                  <c:v>4.144991813641</c:v>
                </c:pt>
                <c:pt idx="407">
                  <c:v>4.2914181548829999</c:v>
                </c:pt>
                <c:pt idx="408">
                  <c:v>4.5054258843920003</c:v>
                </c:pt>
                <c:pt idx="409">
                  <c:v>4.8771235198539999</c:v>
                </c:pt>
                <c:pt idx="410">
                  <c:v>5.3051389788719998</c:v>
                </c:pt>
                <c:pt idx="411">
                  <c:v>5.5078831436689999</c:v>
                </c:pt>
                <c:pt idx="412">
                  <c:v>6.0034799909530001</c:v>
                </c:pt>
                <c:pt idx="413">
                  <c:v>6.972146556097</c:v>
                </c:pt>
                <c:pt idx="414">
                  <c:v>7.7380689564439997</c:v>
                </c:pt>
                <c:pt idx="415">
                  <c:v>8.5715727450560006</c:v>
                </c:pt>
                <c:pt idx="416">
                  <c:v>9.4276036630910003</c:v>
                </c:pt>
                <c:pt idx="417">
                  <c:v>9.9232005103740004</c:v>
                </c:pt>
                <c:pt idx="418">
                  <c:v>10.520169440056</c:v>
                </c:pt>
                <c:pt idx="419">
                  <c:v>11.466308875778999</c:v>
                </c:pt>
                <c:pt idx="420">
                  <c:v>12.784145946962999</c:v>
                </c:pt>
                <c:pt idx="421">
                  <c:v>14.023138065171</c:v>
                </c:pt>
                <c:pt idx="422">
                  <c:v>14.428626394767001</c:v>
                </c:pt>
                <c:pt idx="423">
                  <c:v>15.72393633653</c:v>
                </c:pt>
                <c:pt idx="424">
                  <c:v>16.579967254564</c:v>
                </c:pt>
                <c:pt idx="425">
                  <c:v>17.762641549217001</c:v>
                </c:pt>
                <c:pt idx="426">
                  <c:v>20.308207173899</c:v>
                </c:pt>
                <c:pt idx="427">
                  <c:v>21.896369798146999</c:v>
                </c:pt>
                <c:pt idx="428">
                  <c:v>23.540850245950999</c:v>
                </c:pt>
                <c:pt idx="429">
                  <c:v>26.018834482367001</c:v>
                </c:pt>
                <c:pt idx="430">
                  <c:v>27.021291741643999</c:v>
                </c:pt>
                <c:pt idx="431">
                  <c:v>28.091330389187</c:v>
                </c:pt>
                <c:pt idx="432">
                  <c:v>28.924834177800001</c:v>
                </c:pt>
                <c:pt idx="433">
                  <c:v>29.972345695921</c:v>
                </c:pt>
                <c:pt idx="434">
                  <c:v>31.729461790834002</c:v>
                </c:pt>
                <c:pt idx="435">
                  <c:v>32.810764003088003</c:v>
                </c:pt>
                <c:pt idx="436">
                  <c:v>33.959647603609</c:v>
                </c:pt>
                <c:pt idx="437">
                  <c:v>36.009616381007</c:v>
                </c:pt>
                <c:pt idx="438">
                  <c:v>37.169763546238002</c:v>
                </c:pt>
                <c:pt idx="439">
                  <c:v>37.879368123029998</c:v>
                </c:pt>
                <c:pt idx="440">
                  <c:v>40.695259300775</c:v>
                </c:pt>
                <c:pt idx="441">
                  <c:v>41.855406466006997</c:v>
                </c:pt>
                <c:pt idx="442">
                  <c:v>41.810352207163</c:v>
                </c:pt>
                <c:pt idx="443">
                  <c:v>43.567468302076001</c:v>
                </c:pt>
                <c:pt idx="444">
                  <c:v>45.549855691208002</c:v>
                </c:pt>
                <c:pt idx="445">
                  <c:v>46.777584244704997</c:v>
                </c:pt>
                <c:pt idx="446">
                  <c:v>48.591018163172997</c:v>
                </c:pt>
                <c:pt idx="447">
                  <c:v>49.514630469474</c:v>
                </c:pt>
                <c:pt idx="448">
                  <c:v>50.73109545826</c:v>
                </c:pt>
                <c:pt idx="449">
                  <c:v>53.772257930225003</c:v>
                </c:pt>
                <c:pt idx="450">
                  <c:v>54.605761718837002</c:v>
                </c:pt>
                <c:pt idx="451">
                  <c:v>55.529374025137997</c:v>
                </c:pt>
                <c:pt idx="452">
                  <c:v>56.002443742998999</c:v>
                </c:pt>
                <c:pt idx="453">
                  <c:v>55.934862354732999</c:v>
                </c:pt>
                <c:pt idx="454">
                  <c:v>56.700784755080001</c:v>
                </c:pt>
                <c:pt idx="455">
                  <c:v>56.374141378461999</c:v>
                </c:pt>
                <c:pt idx="456">
                  <c:v>55.991180178287998</c:v>
                </c:pt>
                <c:pt idx="457">
                  <c:v>56.768366143346</c:v>
                </c:pt>
                <c:pt idx="458">
                  <c:v>55.292839166207003</c:v>
                </c:pt>
                <c:pt idx="459">
                  <c:v>54.380490424618003</c:v>
                </c:pt>
                <c:pt idx="460">
                  <c:v>53.952474965600999</c:v>
                </c:pt>
                <c:pt idx="461">
                  <c:v>52.195358870687002</c:v>
                </c:pt>
                <c:pt idx="462">
                  <c:v>51.373118646785997</c:v>
                </c:pt>
                <c:pt idx="463">
                  <c:v>50.832467540659003</c:v>
                </c:pt>
                <c:pt idx="464">
                  <c:v>48.816289457392998</c:v>
                </c:pt>
                <c:pt idx="465">
                  <c:v>48.861343716237002</c:v>
                </c:pt>
                <c:pt idx="466">
                  <c:v>48.050367057046003</c:v>
                </c:pt>
                <c:pt idx="467">
                  <c:v>46.619894338751998</c:v>
                </c:pt>
                <c:pt idx="468">
                  <c:v>46.000398279648003</c:v>
                </c:pt>
                <c:pt idx="469">
                  <c:v>45.009204585081001</c:v>
                </c:pt>
                <c:pt idx="470">
                  <c:v>43.195770666613001</c:v>
                </c:pt>
                <c:pt idx="471">
                  <c:v>41.877933595427997</c:v>
                </c:pt>
                <c:pt idx="472">
                  <c:v>39.794174123897001</c:v>
                </c:pt>
                <c:pt idx="473">
                  <c:v>38.374964970313002</c:v>
                </c:pt>
                <c:pt idx="474">
                  <c:v>37.721678217075997</c:v>
                </c:pt>
                <c:pt idx="475">
                  <c:v>35.649182310256002</c:v>
                </c:pt>
                <c:pt idx="476">
                  <c:v>34.117337509561999</c:v>
                </c:pt>
                <c:pt idx="477">
                  <c:v>32.731919050111998</c:v>
                </c:pt>
                <c:pt idx="478">
                  <c:v>30.681950272712999</c:v>
                </c:pt>
                <c:pt idx="479">
                  <c:v>27.415516506528</c:v>
                </c:pt>
                <c:pt idx="480">
                  <c:v>26.829811141556998</c:v>
                </c:pt>
                <c:pt idx="481">
                  <c:v>26.356741423696</c:v>
                </c:pt>
                <c:pt idx="482">
                  <c:v>26.289160035430001</c:v>
                </c:pt>
                <c:pt idx="483">
                  <c:v>25.613346152771001</c:v>
                </c:pt>
                <c:pt idx="484">
                  <c:v>25.196594258465002</c:v>
                </c:pt>
                <c:pt idx="485">
                  <c:v>24.768578799448001</c:v>
                </c:pt>
                <c:pt idx="486">
                  <c:v>25.275439211441999</c:v>
                </c:pt>
                <c:pt idx="487">
                  <c:v>24.971322964245001</c:v>
                </c:pt>
                <c:pt idx="488">
                  <c:v>24.216664128609999</c:v>
                </c:pt>
                <c:pt idx="489">
                  <c:v>21.648571374506002</c:v>
                </c:pt>
                <c:pt idx="490">
                  <c:v>20.499687773986</c:v>
                </c:pt>
                <c:pt idx="491">
                  <c:v>19.519757644129999</c:v>
                </c:pt>
                <c:pt idx="492">
                  <c:v>18.753835243784</c:v>
                </c:pt>
                <c:pt idx="493">
                  <c:v>18.201920572944999</c:v>
                </c:pt>
                <c:pt idx="494">
                  <c:v>17.965385714015</c:v>
                </c:pt>
                <c:pt idx="495">
                  <c:v>17.345889654911002</c:v>
                </c:pt>
                <c:pt idx="496">
                  <c:v>15.915416936615999</c:v>
                </c:pt>
                <c:pt idx="497">
                  <c:v>15.093176712715</c:v>
                </c:pt>
                <c:pt idx="498">
                  <c:v>13.685231123842</c:v>
                </c:pt>
                <c:pt idx="499">
                  <c:v>12.97562654705</c:v>
                </c:pt>
                <c:pt idx="500">
                  <c:v>12.018223546617</c:v>
                </c:pt>
                <c:pt idx="501">
                  <c:v>10.914394204941001</c:v>
                </c:pt>
                <c:pt idx="502">
                  <c:v>10.125944675172001</c:v>
                </c:pt>
                <c:pt idx="503">
                  <c:v>8.019658074218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Novych_hosp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0.106557</c:v>
                </c:pt>
                <c:pt idx="1">
                  <c:v>6.1538000000000002E-2</c:v>
                </c:pt>
                <c:pt idx="2">
                  <c:v>0.152671</c:v>
                </c:pt>
                <c:pt idx="3">
                  <c:v>0.29599900000000001</c:v>
                </c:pt>
                <c:pt idx="4">
                  <c:v>0.40625</c:v>
                </c:pt>
                <c:pt idx="5">
                  <c:v>0.30281599999999997</c:v>
                </c:pt>
                <c:pt idx="6">
                  <c:v>0.368421</c:v>
                </c:pt>
                <c:pt idx="7">
                  <c:v>0.40522799999999998</c:v>
                </c:pt>
                <c:pt idx="8">
                  <c:v>0.40229799999999999</c:v>
                </c:pt>
                <c:pt idx="9">
                  <c:v>0.30810799999999999</c:v>
                </c:pt>
                <c:pt idx="10">
                  <c:v>0.36923</c:v>
                </c:pt>
                <c:pt idx="11">
                  <c:v>0.318407</c:v>
                </c:pt>
                <c:pt idx="12">
                  <c:v>0.25108200000000003</c:v>
                </c:pt>
                <c:pt idx="13">
                  <c:v>0.25531900000000002</c:v>
                </c:pt>
                <c:pt idx="14">
                  <c:v>0.32061000000000001</c:v>
                </c:pt>
                <c:pt idx="15">
                  <c:v>0.34532299999999999</c:v>
                </c:pt>
                <c:pt idx="16">
                  <c:v>0.57807299999999995</c:v>
                </c:pt>
                <c:pt idx="17">
                  <c:v>0.68120800000000004</c:v>
                </c:pt>
                <c:pt idx="18">
                  <c:v>0.74838700000000002</c:v>
                </c:pt>
                <c:pt idx="19">
                  <c:v>0.62756500000000004</c:v>
                </c:pt>
                <c:pt idx="20">
                  <c:v>0.63270700000000002</c:v>
                </c:pt>
                <c:pt idx="21">
                  <c:v>0.517814</c:v>
                </c:pt>
                <c:pt idx="22">
                  <c:v>0.37720999999999999</c:v>
                </c:pt>
                <c:pt idx="23">
                  <c:v>0.26785700000000001</c:v>
                </c:pt>
                <c:pt idx="24">
                  <c:v>0.32635199999999998</c:v>
                </c:pt>
                <c:pt idx="25">
                  <c:v>0.32833299999999999</c:v>
                </c:pt>
                <c:pt idx="26">
                  <c:v>0.29500700000000002</c:v>
                </c:pt>
                <c:pt idx="27">
                  <c:v>0.186889</c:v>
                </c:pt>
                <c:pt idx="28">
                  <c:v>0.21520600000000001</c:v>
                </c:pt>
                <c:pt idx="29">
                  <c:v>0.188165</c:v>
                </c:pt>
                <c:pt idx="30">
                  <c:v>0.25325399999999998</c:v>
                </c:pt>
                <c:pt idx="31">
                  <c:v>0.29919400000000002</c:v>
                </c:pt>
                <c:pt idx="32">
                  <c:v>0.28008699999999997</c:v>
                </c:pt>
                <c:pt idx="33">
                  <c:v>0.27481699999999998</c:v>
                </c:pt>
                <c:pt idx="34">
                  <c:v>0.34823900000000002</c:v>
                </c:pt>
                <c:pt idx="35">
                  <c:v>0.33216400000000001</c:v>
                </c:pt>
                <c:pt idx="36">
                  <c:v>0.37489600000000001</c:v>
                </c:pt>
                <c:pt idx="37">
                  <c:v>0.43512600000000001</c:v>
                </c:pt>
                <c:pt idx="38">
                  <c:v>0.54808400000000002</c:v>
                </c:pt>
                <c:pt idx="39">
                  <c:v>0.57666399999999995</c:v>
                </c:pt>
                <c:pt idx="40">
                  <c:v>0.444664</c:v>
                </c:pt>
                <c:pt idx="41">
                  <c:v>0.39999899999999999</c:v>
                </c:pt>
                <c:pt idx="42">
                  <c:v>0.38336900000000002</c:v>
                </c:pt>
                <c:pt idx="43">
                  <c:v>0.37357099999999999</c:v>
                </c:pt>
                <c:pt idx="44">
                  <c:v>0.33226499999999998</c:v>
                </c:pt>
                <c:pt idx="45">
                  <c:v>0.38440999999999997</c:v>
                </c:pt>
                <c:pt idx="46">
                  <c:v>0.41991499999999998</c:v>
                </c:pt>
                <c:pt idx="47">
                  <c:v>0.32483299999999998</c:v>
                </c:pt>
                <c:pt idx="48">
                  <c:v>0.31937100000000002</c:v>
                </c:pt>
                <c:pt idx="49">
                  <c:v>0.32063199999999997</c:v>
                </c:pt>
                <c:pt idx="50">
                  <c:v>0.370336</c:v>
                </c:pt>
                <c:pt idx="51">
                  <c:v>0.37746600000000002</c:v>
                </c:pt>
                <c:pt idx="52">
                  <c:v>0.418848</c:v>
                </c:pt>
                <c:pt idx="53">
                  <c:v>0.395621</c:v>
                </c:pt>
                <c:pt idx="54">
                  <c:v>0.30421599999999999</c:v>
                </c:pt>
                <c:pt idx="55">
                  <c:v>0.32064999999999999</c:v>
                </c:pt>
                <c:pt idx="56">
                  <c:v>0.263955</c:v>
                </c:pt>
                <c:pt idx="57">
                  <c:v>0.175122</c:v>
                </c:pt>
                <c:pt idx="58">
                  <c:v>0.14158599999999999</c:v>
                </c:pt>
                <c:pt idx="59">
                  <c:v>0.167463</c:v>
                </c:pt>
                <c:pt idx="60">
                  <c:v>0.12489699999999999</c:v>
                </c:pt>
                <c:pt idx="61">
                  <c:v>7.5969999999999996E-3</c:v>
                </c:pt>
                <c:pt idx="62">
                  <c:v>-4.6713999999999999E-2</c:v>
                </c:pt>
                <c:pt idx="63">
                  <c:v>-6.2673999999999994E-2</c:v>
                </c:pt>
                <c:pt idx="64">
                  <c:v>-6.6594E-2</c:v>
                </c:pt>
                <c:pt idx="65">
                  <c:v>-0.139873</c:v>
                </c:pt>
                <c:pt idx="66">
                  <c:v>-0.15157499999999999</c:v>
                </c:pt>
                <c:pt idx="67">
                  <c:v>-0.16533200000000001</c:v>
                </c:pt>
                <c:pt idx="68">
                  <c:v>-0.223602</c:v>
                </c:pt>
                <c:pt idx="69">
                  <c:v>-0.24604100000000001</c:v>
                </c:pt>
                <c:pt idx="70">
                  <c:v>-0.25917699999999999</c:v>
                </c:pt>
                <c:pt idx="71">
                  <c:v>-0.29733500000000002</c:v>
                </c:pt>
                <c:pt idx="72">
                  <c:v>-0.30607600000000001</c:v>
                </c:pt>
                <c:pt idx="73">
                  <c:v>-0.25824900000000001</c:v>
                </c:pt>
                <c:pt idx="74">
                  <c:v>-0.25228800000000001</c:v>
                </c:pt>
                <c:pt idx="75">
                  <c:v>-0.30042600000000003</c:v>
                </c:pt>
                <c:pt idx="76">
                  <c:v>-0.30111900000000003</c:v>
                </c:pt>
                <c:pt idx="77">
                  <c:v>-0.33646500000000001</c:v>
                </c:pt>
                <c:pt idx="78">
                  <c:v>-0.30659900000000001</c:v>
                </c:pt>
                <c:pt idx="79">
                  <c:v>-0.31911</c:v>
                </c:pt>
                <c:pt idx="80">
                  <c:v>-0.312477</c:v>
                </c:pt>
                <c:pt idx="81">
                  <c:v>-0.30899300000000002</c:v>
                </c:pt>
                <c:pt idx="82">
                  <c:v>-0.34926499999999999</c:v>
                </c:pt>
                <c:pt idx="83">
                  <c:v>-0.31464300000000001</c:v>
                </c:pt>
                <c:pt idx="84">
                  <c:v>-0.254498</c:v>
                </c:pt>
                <c:pt idx="85">
                  <c:v>-0.277424</c:v>
                </c:pt>
                <c:pt idx="86">
                  <c:v>-0.27415899999999999</c:v>
                </c:pt>
                <c:pt idx="87">
                  <c:v>-0.20863899999999999</c:v>
                </c:pt>
                <c:pt idx="88">
                  <c:v>-0.19244</c:v>
                </c:pt>
                <c:pt idx="89">
                  <c:v>-0.22994400000000001</c:v>
                </c:pt>
                <c:pt idx="90">
                  <c:v>-0.230075</c:v>
                </c:pt>
                <c:pt idx="91">
                  <c:v>-0.28029900000000002</c:v>
                </c:pt>
                <c:pt idx="92">
                  <c:v>-0.237844</c:v>
                </c:pt>
                <c:pt idx="93">
                  <c:v>-0.19472400000000001</c:v>
                </c:pt>
                <c:pt idx="94">
                  <c:v>-0.120088</c:v>
                </c:pt>
                <c:pt idx="95">
                  <c:v>-0.109379</c:v>
                </c:pt>
                <c:pt idx="96">
                  <c:v>-0.17314599999999999</c:v>
                </c:pt>
                <c:pt idx="97">
                  <c:v>-0.148058</c:v>
                </c:pt>
                <c:pt idx="98">
                  <c:v>-9.9293999999999993E-2</c:v>
                </c:pt>
                <c:pt idx="99">
                  <c:v>-8.2402000000000003E-2</c:v>
                </c:pt>
                <c:pt idx="100">
                  <c:v>-0.10145700000000001</c:v>
                </c:pt>
                <c:pt idx="101">
                  <c:v>-7.0113999999999996E-2</c:v>
                </c:pt>
                <c:pt idx="102">
                  <c:v>-5.6346E-2</c:v>
                </c:pt>
                <c:pt idx="103">
                  <c:v>-0.103531</c:v>
                </c:pt>
                <c:pt idx="104">
                  <c:v>-7.9033000000000006E-2</c:v>
                </c:pt>
                <c:pt idx="105">
                  <c:v>-7.1124000000000007E-2</c:v>
                </c:pt>
                <c:pt idx="106">
                  <c:v>-9.9553000000000003E-2</c:v>
                </c:pt>
                <c:pt idx="107">
                  <c:v>-8.0074000000000006E-2</c:v>
                </c:pt>
                <c:pt idx="108">
                  <c:v>-3.0419999999999999E-2</c:v>
                </c:pt>
                <c:pt idx="109">
                  <c:v>-5.3751E-2</c:v>
                </c:pt>
                <c:pt idx="110">
                  <c:v>-0.11018</c:v>
                </c:pt>
                <c:pt idx="111">
                  <c:v>-0.11963799999999999</c:v>
                </c:pt>
                <c:pt idx="112">
                  <c:v>-0.10553999999999999</c:v>
                </c:pt>
                <c:pt idx="113">
                  <c:v>-5.8541999999999997E-2</c:v>
                </c:pt>
                <c:pt idx="114">
                  <c:v>-0.10657899999999999</c:v>
                </c:pt>
                <c:pt idx="115">
                  <c:v>-8.6277999999999994E-2</c:v>
                </c:pt>
                <c:pt idx="116">
                  <c:v>-3.5027999999999997E-2</c:v>
                </c:pt>
                <c:pt idx="117">
                  <c:v>-3.6115000000000001E-2</c:v>
                </c:pt>
                <c:pt idx="118">
                  <c:v>5.8356999999999999E-2</c:v>
                </c:pt>
                <c:pt idx="119">
                  <c:v>0.106848</c:v>
                </c:pt>
                <c:pt idx="120">
                  <c:v>0.181421</c:v>
                </c:pt>
                <c:pt idx="121">
                  <c:v>0.30160199999999998</c:v>
                </c:pt>
                <c:pt idx="122">
                  <c:v>0.32775100000000001</c:v>
                </c:pt>
                <c:pt idx="123">
                  <c:v>0.28044200000000002</c:v>
                </c:pt>
                <c:pt idx="124">
                  <c:v>0.121599</c:v>
                </c:pt>
                <c:pt idx="125">
                  <c:v>8.7549000000000002E-2</c:v>
                </c:pt>
                <c:pt idx="126">
                  <c:v>6.7903000000000005E-2</c:v>
                </c:pt>
                <c:pt idx="127">
                  <c:v>6.8976999999999997E-2</c:v>
                </c:pt>
                <c:pt idx="128">
                  <c:v>5.8032E-2</c:v>
                </c:pt>
                <c:pt idx="129">
                  <c:v>5.8881000000000003E-2</c:v>
                </c:pt>
                <c:pt idx="130">
                  <c:v>2.0240000000000001E-2</c:v>
                </c:pt>
                <c:pt idx="131">
                  <c:v>-9.3076999999999993E-2</c:v>
                </c:pt>
                <c:pt idx="132">
                  <c:v>-0.14246200000000001</c:v>
                </c:pt>
                <c:pt idx="133">
                  <c:v>-0.151893</c:v>
                </c:pt>
                <c:pt idx="134">
                  <c:v>-0.199714</c:v>
                </c:pt>
                <c:pt idx="135">
                  <c:v>-0.23802000000000001</c:v>
                </c:pt>
                <c:pt idx="136">
                  <c:v>-0.24900700000000001</c:v>
                </c:pt>
                <c:pt idx="137">
                  <c:v>-0.25184499999999999</c:v>
                </c:pt>
                <c:pt idx="138">
                  <c:v>-0.29900900000000002</c:v>
                </c:pt>
                <c:pt idx="139">
                  <c:v>-0.28656300000000001</c:v>
                </c:pt>
                <c:pt idx="140">
                  <c:v>-0.28754099999999999</c:v>
                </c:pt>
                <c:pt idx="141">
                  <c:v>-0.26235900000000001</c:v>
                </c:pt>
                <c:pt idx="142">
                  <c:v>-0.260104</c:v>
                </c:pt>
                <c:pt idx="143">
                  <c:v>-0.218582</c:v>
                </c:pt>
                <c:pt idx="144">
                  <c:v>-0.193658</c:v>
                </c:pt>
                <c:pt idx="145">
                  <c:v>-0.23372599999999999</c:v>
                </c:pt>
                <c:pt idx="146">
                  <c:v>-0.23106699999999999</c:v>
                </c:pt>
                <c:pt idx="147">
                  <c:v>-0.19220699999999999</c:v>
                </c:pt>
                <c:pt idx="148">
                  <c:v>-0.18903</c:v>
                </c:pt>
                <c:pt idx="149">
                  <c:v>-0.193774</c:v>
                </c:pt>
                <c:pt idx="150">
                  <c:v>-0.16334699999999999</c:v>
                </c:pt>
                <c:pt idx="151">
                  <c:v>-0.15639</c:v>
                </c:pt>
                <c:pt idx="152">
                  <c:v>-0.20327200000000001</c:v>
                </c:pt>
                <c:pt idx="153">
                  <c:v>-0.16947100000000001</c:v>
                </c:pt>
                <c:pt idx="154">
                  <c:v>-0.16349</c:v>
                </c:pt>
                <c:pt idx="155">
                  <c:v>-0.137817</c:v>
                </c:pt>
                <c:pt idx="156">
                  <c:v>-0.125</c:v>
                </c:pt>
                <c:pt idx="157">
                  <c:v>-7.3122000000000006E-2</c:v>
                </c:pt>
                <c:pt idx="158">
                  <c:v>-5.0043999999999998E-2</c:v>
                </c:pt>
                <c:pt idx="159">
                  <c:v>-0.120306</c:v>
                </c:pt>
                <c:pt idx="160">
                  <c:v>-0.12962899999999999</c:v>
                </c:pt>
                <c:pt idx="161">
                  <c:v>-0.104365</c:v>
                </c:pt>
                <c:pt idx="162">
                  <c:v>-0.109461</c:v>
                </c:pt>
                <c:pt idx="163">
                  <c:v>-0.12349400000000001</c:v>
                </c:pt>
                <c:pt idx="164">
                  <c:v>-9.1042999999999999E-2</c:v>
                </c:pt>
                <c:pt idx="165">
                  <c:v>-9.2817999999999998E-2</c:v>
                </c:pt>
                <c:pt idx="166">
                  <c:v>-0.13531000000000001</c:v>
                </c:pt>
                <c:pt idx="167">
                  <c:v>-0.105062</c:v>
                </c:pt>
                <c:pt idx="168">
                  <c:v>-8.0644999999999994E-2</c:v>
                </c:pt>
                <c:pt idx="169">
                  <c:v>-4.8730999999999997E-2</c:v>
                </c:pt>
                <c:pt idx="170">
                  <c:v>-2.1680999999999999E-2</c:v>
                </c:pt>
                <c:pt idx="171">
                  <c:v>3.8285E-2</c:v>
                </c:pt>
                <c:pt idx="172">
                  <c:v>4.3657000000000001E-2</c:v>
                </c:pt>
                <c:pt idx="173">
                  <c:v>-1.0213E-2</c:v>
                </c:pt>
                <c:pt idx="174">
                  <c:v>2.1288000000000001E-2</c:v>
                </c:pt>
                <c:pt idx="175">
                  <c:v>2.0833000000000001E-2</c:v>
                </c:pt>
                <c:pt idx="176">
                  <c:v>1.3335E-2</c:v>
                </c:pt>
                <c:pt idx="177">
                  <c:v>2.3441E-2</c:v>
                </c:pt>
                <c:pt idx="178">
                  <c:v>5.8622E-2</c:v>
                </c:pt>
                <c:pt idx="179">
                  <c:v>6.5408999999999995E-2</c:v>
                </c:pt>
                <c:pt idx="180">
                  <c:v>-6.8190000000000004E-3</c:v>
                </c:pt>
                <c:pt idx="181">
                  <c:v>3.9719999999999998E-3</c:v>
                </c:pt>
                <c:pt idx="182">
                  <c:v>2.5773999999999998E-2</c:v>
                </c:pt>
                <c:pt idx="183">
                  <c:v>8.2909999999999998E-3</c:v>
                </c:pt>
                <c:pt idx="184">
                  <c:v>-2.1822999999999999E-2</c:v>
                </c:pt>
                <c:pt idx="185">
                  <c:v>-9.3740000000000004E-3</c:v>
                </c:pt>
                <c:pt idx="186">
                  <c:v>-2.0086E-2</c:v>
                </c:pt>
                <c:pt idx="187">
                  <c:v>-9.5204999999999998E-2</c:v>
                </c:pt>
                <c:pt idx="188">
                  <c:v>-0.12311999999999999</c:v>
                </c:pt>
                <c:pt idx="189">
                  <c:v>-0.13181899999999999</c:v>
                </c:pt>
                <c:pt idx="190">
                  <c:v>-0.118508</c:v>
                </c:pt>
                <c:pt idx="191">
                  <c:v>-0.11244800000000001</c:v>
                </c:pt>
                <c:pt idx="192">
                  <c:v>-8.3002000000000006E-2</c:v>
                </c:pt>
                <c:pt idx="193">
                  <c:v>-8.4551000000000001E-2</c:v>
                </c:pt>
                <c:pt idx="194">
                  <c:v>-0.145177</c:v>
                </c:pt>
                <c:pt idx="195">
                  <c:v>-0.11949899999999999</c:v>
                </c:pt>
                <c:pt idx="196">
                  <c:v>-0.12368899999999999</c:v>
                </c:pt>
                <c:pt idx="197">
                  <c:v>-0.148397</c:v>
                </c:pt>
                <c:pt idx="198">
                  <c:v>-0.16947999999999999</c:v>
                </c:pt>
                <c:pt idx="199">
                  <c:v>-0.17177999999999999</c:v>
                </c:pt>
                <c:pt idx="200">
                  <c:v>-0.18452099999999999</c:v>
                </c:pt>
                <c:pt idx="201">
                  <c:v>-0.23922499999999999</c:v>
                </c:pt>
                <c:pt idx="202">
                  <c:v>-0.24040700000000001</c:v>
                </c:pt>
                <c:pt idx="203">
                  <c:v>-0.24860499999999999</c:v>
                </c:pt>
                <c:pt idx="204">
                  <c:v>-0.24757000000000001</c:v>
                </c:pt>
                <c:pt idx="205">
                  <c:v>-0.24818999999999999</c:v>
                </c:pt>
                <c:pt idx="206">
                  <c:v>-0.21440100000000001</c:v>
                </c:pt>
                <c:pt idx="207">
                  <c:v>-0.196239</c:v>
                </c:pt>
                <c:pt idx="208">
                  <c:v>-0.253077</c:v>
                </c:pt>
                <c:pt idx="209">
                  <c:v>-0.24453800000000001</c:v>
                </c:pt>
                <c:pt idx="210">
                  <c:v>-0.237509</c:v>
                </c:pt>
                <c:pt idx="211">
                  <c:v>-0.22936599999999999</c:v>
                </c:pt>
                <c:pt idx="212">
                  <c:v>-0.234596</c:v>
                </c:pt>
                <c:pt idx="213">
                  <c:v>-0.23597399999999999</c:v>
                </c:pt>
                <c:pt idx="214">
                  <c:v>-0.239924</c:v>
                </c:pt>
                <c:pt idx="215">
                  <c:v>-0.28093499999999999</c:v>
                </c:pt>
                <c:pt idx="216">
                  <c:v>-0.31123099999999998</c:v>
                </c:pt>
                <c:pt idx="217">
                  <c:v>-0.23760000000000001</c:v>
                </c:pt>
                <c:pt idx="218">
                  <c:v>-0.244782</c:v>
                </c:pt>
                <c:pt idx="219">
                  <c:v>-0.25057200000000002</c:v>
                </c:pt>
                <c:pt idx="220">
                  <c:v>-0.21878700000000001</c:v>
                </c:pt>
                <c:pt idx="221">
                  <c:v>-0.23675499999999999</c:v>
                </c:pt>
                <c:pt idx="222">
                  <c:v>-0.25668299999999999</c:v>
                </c:pt>
                <c:pt idx="223">
                  <c:v>-0.26330599999999998</c:v>
                </c:pt>
                <c:pt idx="224">
                  <c:v>-0.37019299999999999</c:v>
                </c:pt>
                <c:pt idx="225">
                  <c:v>-0.369479</c:v>
                </c:pt>
                <c:pt idx="226">
                  <c:v>-0.36607899999999999</c:v>
                </c:pt>
                <c:pt idx="227">
                  <c:v>-0.36623</c:v>
                </c:pt>
                <c:pt idx="228">
                  <c:v>-0.347111</c:v>
                </c:pt>
                <c:pt idx="229">
                  <c:v>-0.37101499999999998</c:v>
                </c:pt>
                <c:pt idx="230">
                  <c:v>-0.38539299999999999</c:v>
                </c:pt>
                <c:pt idx="231">
                  <c:v>-0.28425899999999998</c:v>
                </c:pt>
                <c:pt idx="232">
                  <c:v>-0.25859900000000002</c:v>
                </c:pt>
                <c:pt idx="233">
                  <c:v>-0.26114399999999999</c:v>
                </c:pt>
                <c:pt idx="234">
                  <c:v>-0.231686</c:v>
                </c:pt>
                <c:pt idx="235">
                  <c:v>-0.245111</c:v>
                </c:pt>
                <c:pt idx="236">
                  <c:v>-0.30398599999999998</c:v>
                </c:pt>
                <c:pt idx="237">
                  <c:v>-0.32144099999999998</c:v>
                </c:pt>
                <c:pt idx="238">
                  <c:v>-0.346331</c:v>
                </c:pt>
                <c:pt idx="239">
                  <c:v>-0.362126</c:v>
                </c:pt>
                <c:pt idx="240">
                  <c:v>-0.34814200000000001</c:v>
                </c:pt>
                <c:pt idx="241">
                  <c:v>-0.32483499999999998</c:v>
                </c:pt>
                <c:pt idx="242">
                  <c:v>-0.30252400000000002</c:v>
                </c:pt>
                <c:pt idx="243">
                  <c:v>-0.32620500000000002</c:v>
                </c:pt>
                <c:pt idx="244">
                  <c:v>-0.26401400000000003</c:v>
                </c:pt>
                <c:pt idx="245">
                  <c:v>-0.25466699999999998</c:v>
                </c:pt>
                <c:pt idx="246">
                  <c:v>-0.24837200000000001</c:v>
                </c:pt>
                <c:pt idx="247">
                  <c:v>-0.26774500000000001</c:v>
                </c:pt>
                <c:pt idx="248">
                  <c:v>-0.23630300000000001</c:v>
                </c:pt>
                <c:pt idx="249">
                  <c:v>-0.26486999999999999</c:v>
                </c:pt>
                <c:pt idx="250">
                  <c:v>-0.341501</c:v>
                </c:pt>
                <c:pt idx="251">
                  <c:v>-0.36850699999999997</c:v>
                </c:pt>
                <c:pt idx="252">
                  <c:v>-0.37056099999999997</c:v>
                </c:pt>
                <c:pt idx="253">
                  <c:v>-0.36782199999999998</c:v>
                </c:pt>
                <c:pt idx="254">
                  <c:v>-0.36323699999999998</c:v>
                </c:pt>
                <c:pt idx="255">
                  <c:v>-0.36610100000000001</c:v>
                </c:pt>
                <c:pt idx="256">
                  <c:v>-0.35901</c:v>
                </c:pt>
                <c:pt idx="257">
                  <c:v>-0.407912</c:v>
                </c:pt>
                <c:pt idx="258">
                  <c:v>-0.38999899999999998</c:v>
                </c:pt>
                <c:pt idx="259">
                  <c:v>-0.392455</c:v>
                </c:pt>
                <c:pt idx="260">
                  <c:v>-0.42158499999999999</c:v>
                </c:pt>
                <c:pt idx="261">
                  <c:v>-0.44227300000000003</c:v>
                </c:pt>
                <c:pt idx="262">
                  <c:v>-0.38123699999999999</c:v>
                </c:pt>
                <c:pt idx="263">
                  <c:v>-0.39568300000000001</c:v>
                </c:pt>
                <c:pt idx="264">
                  <c:v>-0.44578299999999998</c:v>
                </c:pt>
                <c:pt idx="265">
                  <c:v>-0.460088</c:v>
                </c:pt>
                <c:pt idx="266">
                  <c:v>-0.47298899999999999</c:v>
                </c:pt>
                <c:pt idx="267">
                  <c:v>-0.41083199999999997</c:v>
                </c:pt>
                <c:pt idx="268">
                  <c:v>-0.42818000000000001</c:v>
                </c:pt>
                <c:pt idx="269">
                  <c:v>-0.445801</c:v>
                </c:pt>
                <c:pt idx="270">
                  <c:v>-0.43527500000000002</c:v>
                </c:pt>
                <c:pt idx="271">
                  <c:v>-0.43739800000000001</c:v>
                </c:pt>
                <c:pt idx="272">
                  <c:v>-0.37226199999999998</c:v>
                </c:pt>
                <c:pt idx="273">
                  <c:v>-0.38697300000000001</c:v>
                </c:pt>
                <c:pt idx="274">
                  <c:v>-0.427402</c:v>
                </c:pt>
                <c:pt idx="275">
                  <c:v>-0.44420599999999999</c:v>
                </c:pt>
                <c:pt idx="276">
                  <c:v>-0.36718699999999999</c:v>
                </c:pt>
                <c:pt idx="277">
                  <c:v>-0.36968000000000001</c:v>
                </c:pt>
                <c:pt idx="278">
                  <c:v>-0.45454499999999998</c:v>
                </c:pt>
                <c:pt idx="279">
                  <c:v>-0.53018299999999996</c:v>
                </c:pt>
                <c:pt idx="280">
                  <c:v>-0.51790599999999998</c:v>
                </c:pt>
                <c:pt idx="281">
                  <c:v>-0.50993299999999997</c:v>
                </c:pt>
                <c:pt idx="282">
                  <c:v>-0.49140800000000001</c:v>
                </c:pt>
                <c:pt idx="283">
                  <c:v>-0.51162700000000005</c:v>
                </c:pt>
                <c:pt idx="284">
                  <c:v>-0.522088</c:v>
                </c:pt>
                <c:pt idx="285">
                  <c:v>-0.53333299999999995</c:v>
                </c:pt>
                <c:pt idx="286">
                  <c:v>-0.44811299999999998</c:v>
                </c:pt>
                <c:pt idx="287">
                  <c:v>-0.50261699999999998</c:v>
                </c:pt>
                <c:pt idx="288">
                  <c:v>-0.49411699999999997</c:v>
                </c:pt>
                <c:pt idx="289">
                  <c:v>-0.44303700000000001</c:v>
                </c:pt>
                <c:pt idx="290">
                  <c:v>-0.350746</c:v>
                </c:pt>
                <c:pt idx="291">
                  <c:v>-0.28225800000000001</c:v>
                </c:pt>
                <c:pt idx="292">
                  <c:v>-0.36296200000000001</c:v>
                </c:pt>
                <c:pt idx="293">
                  <c:v>-0.421875</c:v>
                </c:pt>
                <c:pt idx="294">
                  <c:v>-0.29411700000000002</c:v>
                </c:pt>
                <c:pt idx="295">
                  <c:v>-0.33636300000000002</c:v>
                </c:pt>
                <c:pt idx="296">
                  <c:v>-0.43298900000000001</c:v>
                </c:pt>
                <c:pt idx="297">
                  <c:v>-0.47422599999999998</c:v>
                </c:pt>
                <c:pt idx="298">
                  <c:v>-0.53846099999999997</c:v>
                </c:pt>
                <c:pt idx="299">
                  <c:v>-0.556701</c:v>
                </c:pt>
                <c:pt idx="300">
                  <c:v>-0.51807199999999998</c:v>
                </c:pt>
                <c:pt idx="301">
                  <c:v>-0.57499999999999996</c:v>
                </c:pt>
                <c:pt idx="302">
                  <c:v>-0.49367</c:v>
                </c:pt>
                <c:pt idx="303">
                  <c:v>-0.36666599999999999</c:v>
                </c:pt>
                <c:pt idx="304">
                  <c:v>-0.30769200000000002</c:v>
                </c:pt>
                <c:pt idx="305">
                  <c:v>-0.17777699999999999</c:v>
                </c:pt>
                <c:pt idx="306">
                  <c:v>-0.274509</c:v>
                </c:pt>
                <c:pt idx="307">
                  <c:v>-0.20930199999999999</c:v>
                </c:pt>
                <c:pt idx="308">
                  <c:v>-0.35416599999999998</c:v>
                </c:pt>
                <c:pt idx="309">
                  <c:v>-0.36363600000000001</c:v>
                </c:pt>
                <c:pt idx="310">
                  <c:v>-0.31707299999999999</c:v>
                </c:pt>
                <c:pt idx="311">
                  <c:v>-0.21052599999999999</c:v>
                </c:pt>
                <c:pt idx="312">
                  <c:v>-0.22500000000000001</c:v>
                </c:pt>
                <c:pt idx="313">
                  <c:v>-0.238095</c:v>
                </c:pt>
                <c:pt idx="314">
                  <c:v>5.8823E-2</c:v>
                </c:pt>
                <c:pt idx="315">
                  <c:v>-0.119047</c:v>
                </c:pt>
                <c:pt idx="316">
                  <c:v>0</c:v>
                </c:pt>
                <c:pt idx="317">
                  <c:v>6.0606E-2</c:v>
                </c:pt>
                <c:pt idx="318">
                  <c:v>0.15151500000000001</c:v>
                </c:pt>
                <c:pt idx="319">
                  <c:v>0.114285</c:v>
                </c:pt>
                <c:pt idx="320">
                  <c:v>-7.3169999999999999E-2</c:v>
                </c:pt>
                <c:pt idx="321">
                  <c:v>0.189189</c:v>
                </c:pt>
                <c:pt idx="322">
                  <c:v>0.11627899999999999</c:v>
                </c:pt>
                <c:pt idx="323">
                  <c:v>0.25641000000000003</c:v>
                </c:pt>
                <c:pt idx="324">
                  <c:v>0.11627899999999999</c:v>
                </c:pt>
                <c:pt idx="325">
                  <c:v>4.7619000000000002E-2</c:v>
                </c:pt>
                <c:pt idx="326">
                  <c:v>9.5238000000000003E-2</c:v>
                </c:pt>
                <c:pt idx="327">
                  <c:v>-3.7734999999999998E-2</c:v>
                </c:pt>
                <c:pt idx="328">
                  <c:v>4.0815999999999998E-2</c:v>
                </c:pt>
                <c:pt idx="329">
                  <c:v>-9.0909000000000004E-2</c:v>
                </c:pt>
                <c:pt idx="330">
                  <c:v>-7.2727E-2</c:v>
                </c:pt>
                <c:pt idx="331">
                  <c:v>7.6923000000000005E-2</c:v>
                </c:pt>
                <c:pt idx="332">
                  <c:v>0.13999900000000001</c:v>
                </c:pt>
                <c:pt idx="333">
                  <c:v>5.5555E-2</c:v>
                </c:pt>
                <c:pt idx="334">
                  <c:v>-0.19696900000000001</c:v>
                </c:pt>
                <c:pt idx="335">
                  <c:v>-0.10909000000000001</c:v>
                </c:pt>
                <c:pt idx="336">
                  <c:v>-0.137931</c:v>
                </c:pt>
                <c:pt idx="337">
                  <c:v>-0.12903200000000001</c:v>
                </c:pt>
                <c:pt idx="338">
                  <c:v>-0.213114</c:v>
                </c:pt>
                <c:pt idx="339">
                  <c:v>-0.15873000000000001</c:v>
                </c:pt>
                <c:pt idx="340">
                  <c:v>-0.13114700000000001</c:v>
                </c:pt>
                <c:pt idx="341">
                  <c:v>-0.203124</c:v>
                </c:pt>
                <c:pt idx="342">
                  <c:v>-5.5555E-2</c:v>
                </c:pt>
                <c:pt idx="343">
                  <c:v>-0.12903200000000001</c:v>
                </c:pt>
                <c:pt idx="344">
                  <c:v>-0.15254200000000001</c:v>
                </c:pt>
                <c:pt idx="345">
                  <c:v>-0.137931</c:v>
                </c:pt>
                <c:pt idx="346">
                  <c:v>-0.20338899999999999</c:v>
                </c:pt>
                <c:pt idx="347">
                  <c:v>-0.10909000000000001</c:v>
                </c:pt>
                <c:pt idx="348">
                  <c:v>-0.16128999999999999</c:v>
                </c:pt>
                <c:pt idx="349">
                  <c:v>-1.6948999999999999E-2</c:v>
                </c:pt>
                <c:pt idx="350">
                  <c:v>-6.4516000000000004E-2</c:v>
                </c:pt>
                <c:pt idx="351">
                  <c:v>9.0909000000000004E-2</c:v>
                </c:pt>
                <c:pt idx="352">
                  <c:v>0.14035</c:v>
                </c:pt>
                <c:pt idx="353">
                  <c:v>0.25454500000000002</c:v>
                </c:pt>
                <c:pt idx="354">
                  <c:v>0.24074000000000001</c:v>
                </c:pt>
                <c:pt idx="355">
                  <c:v>-1.4492E-2</c:v>
                </c:pt>
                <c:pt idx="356">
                  <c:v>-0.10606</c:v>
                </c:pt>
                <c:pt idx="357">
                  <c:v>-8.8234999999999994E-2</c:v>
                </c:pt>
                <c:pt idx="358">
                  <c:v>-1.4285000000000001E-2</c:v>
                </c:pt>
                <c:pt idx="359">
                  <c:v>-0.131578</c:v>
                </c:pt>
                <c:pt idx="360">
                  <c:v>-0.17333299999999999</c:v>
                </c:pt>
                <c:pt idx="361">
                  <c:v>-0.164383</c:v>
                </c:pt>
                <c:pt idx="362">
                  <c:v>-0.236842</c:v>
                </c:pt>
                <c:pt idx="363">
                  <c:v>-0.12857099999999999</c:v>
                </c:pt>
                <c:pt idx="364">
                  <c:v>-0.253164</c:v>
                </c:pt>
                <c:pt idx="365">
                  <c:v>-0.25</c:v>
                </c:pt>
                <c:pt idx="366">
                  <c:v>-0.164383</c:v>
                </c:pt>
                <c:pt idx="367">
                  <c:v>2.9850000000000002E-2</c:v>
                </c:pt>
                <c:pt idx="368">
                  <c:v>9.375E-2</c:v>
                </c:pt>
                <c:pt idx="369">
                  <c:v>0.115942</c:v>
                </c:pt>
                <c:pt idx="370">
                  <c:v>0.3</c:v>
                </c:pt>
                <c:pt idx="371">
                  <c:v>0.29729699999999998</c:v>
                </c:pt>
                <c:pt idx="372">
                  <c:v>0.44117600000000001</c:v>
                </c:pt>
                <c:pt idx="373">
                  <c:v>0.368421</c:v>
                </c:pt>
                <c:pt idx="374">
                  <c:v>0.36</c:v>
                </c:pt>
                <c:pt idx="375">
                  <c:v>0.349999</c:v>
                </c:pt>
                <c:pt idx="376">
                  <c:v>0.117647</c:v>
                </c:pt>
                <c:pt idx="377">
                  <c:v>0.14285700000000001</c:v>
                </c:pt>
                <c:pt idx="378">
                  <c:v>0.15929199999999999</c:v>
                </c:pt>
                <c:pt idx="379">
                  <c:v>0.14782600000000001</c:v>
                </c:pt>
                <c:pt idx="380">
                  <c:v>0.14529900000000001</c:v>
                </c:pt>
                <c:pt idx="381">
                  <c:v>0.33333299999999999</c:v>
                </c:pt>
                <c:pt idx="382">
                  <c:v>0.21774099999999999</c:v>
                </c:pt>
                <c:pt idx="383">
                  <c:v>2.0688999999999999E-2</c:v>
                </c:pt>
                <c:pt idx="384">
                  <c:v>0</c:v>
                </c:pt>
                <c:pt idx="385">
                  <c:v>-6.0401999999999997E-2</c:v>
                </c:pt>
                <c:pt idx="386">
                  <c:v>-6.6225000000000006E-2</c:v>
                </c:pt>
                <c:pt idx="387">
                  <c:v>-0.13939299999999999</c:v>
                </c:pt>
                <c:pt idx="388">
                  <c:v>-0.15950900000000001</c:v>
                </c:pt>
                <c:pt idx="389">
                  <c:v>-0.10975600000000001</c:v>
                </c:pt>
                <c:pt idx="390">
                  <c:v>-0.15340899999999999</c:v>
                </c:pt>
                <c:pt idx="391">
                  <c:v>-4.8483999999999999E-2</c:v>
                </c:pt>
                <c:pt idx="392">
                  <c:v>-3.1446000000000002E-2</c:v>
                </c:pt>
                <c:pt idx="393">
                  <c:v>6.2111E-2</c:v>
                </c:pt>
                <c:pt idx="394">
                  <c:v>8.3333000000000004E-2</c:v>
                </c:pt>
                <c:pt idx="395">
                  <c:v>0.191082</c:v>
                </c:pt>
                <c:pt idx="396">
                  <c:v>0.191358</c:v>
                </c:pt>
                <c:pt idx="397">
                  <c:v>9.7296999999999995E-2</c:v>
                </c:pt>
                <c:pt idx="398">
                  <c:v>0.33333299999999999</c:v>
                </c:pt>
                <c:pt idx="399">
                  <c:v>0.35789399999999999</c:v>
                </c:pt>
                <c:pt idx="400">
                  <c:v>0.36138599999999999</c:v>
                </c:pt>
                <c:pt idx="401">
                  <c:v>0.33333299999999999</c:v>
                </c:pt>
                <c:pt idx="402">
                  <c:v>0.42253499999999999</c:v>
                </c:pt>
                <c:pt idx="403">
                  <c:v>0.40182600000000002</c:v>
                </c:pt>
                <c:pt idx="404">
                  <c:v>0.182835</c:v>
                </c:pt>
                <c:pt idx="405">
                  <c:v>0.26545400000000002</c:v>
                </c:pt>
                <c:pt idx="406">
                  <c:v>0.183279</c:v>
                </c:pt>
                <c:pt idx="407">
                  <c:v>0.20952299999999999</c:v>
                </c:pt>
                <c:pt idx="408">
                  <c:v>0.197604</c:v>
                </c:pt>
                <c:pt idx="409">
                  <c:v>0.30030000000000001</c:v>
                </c:pt>
                <c:pt idx="410">
                  <c:v>0.37317699999999998</c:v>
                </c:pt>
                <c:pt idx="411">
                  <c:v>0.18401899999999999</c:v>
                </c:pt>
                <c:pt idx="412">
                  <c:v>0.29683599999999999</c:v>
                </c:pt>
                <c:pt idx="413">
                  <c:v>0.42626700000000001</c:v>
                </c:pt>
                <c:pt idx="414">
                  <c:v>0.56136299999999995</c:v>
                </c:pt>
                <c:pt idx="415">
                  <c:v>0.575569</c:v>
                </c:pt>
                <c:pt idx="416">
                  <c:v>0.67065799999999998</c:v>
                </c:pt>
                <c:pt idx="417">
                  <c:v>0.678095</c:v>
                </c:pt>
                <c:pt idx="418">
                  <c:v>0.48489599999999999</c:v>
                </c:pt>
                <c:pt idx="419">
                  <c:v>0.49266799999999999</c:v>
                </c:pt>
                <c:pt idx="420">
                  <c:v>0.50730399999999998</c:v>
                </c:pt>
                <c:pt idx="421">
                  <c:v>0.51829199999999997</c:v>
                </c:pt>
                <c:pt idx="422">
                  <c:v>0.39239099999999999</c:v>
                </c:pt>
                <c:pt idx="423">
                  <c:v>0.471022</c:v>
                </c:pt>
                <c:pt idx="424">
                  <c:v>0.48987799999999998</c:v>
                </c:pt>
                <c:pt idx="425">
                  <c:v>0.36182999999999998</c:v>
                </c:pt>
                <c:pt idx="426">
                  <c:v>0.40420499999999998</c:v>
                </c:pt>
                <c:pt idx="427">
                  <c:v>0.409717</c:v>
                </c:pt>
                <c:pt idx="428">
                  <c:v>0.478076</c:v>
                </c:pt>
                <c:pt idx="429">
                  <c:v>0.48553000000000002</c:v>
                </c:pt>
                <c:pt idx="430">
                  <c:v>0.51451999999999998</c:v>
                </c:pt>
                <c:pt idx="431">
                  <c:v>0.48099700000000001</c:v>
                </c:pt>
                <c:pt idx="432">
                  <c:v>0.26689600000000002</c:v>
                </c:pt>
                <c:pt idx="433">
                  <c:v>0.204072</c:v>
                </c:pt>
                <c:pt idx="434">
                  <c:v>0.20694000000000001</c:v>
                </c:pt>
                <c:pt idx="435">
                  <c:v>0.17507</c:v>
                </c:pt>
                <c:pt idx="436">
                  <c:v>0.127946</c:v>
                </c:pt>
                <c:pt idx="437">
                  <c:v>0.19202</c:v>
                </c:pt>
                <c:pt idx="438">
                  <c:v>0.18704999999999999</c:v>
                </c:pt>
                <c:pt idx="439">
                  <c:v>8.1002000000000005E-2</c:v>
                </c:pt>
                <c:pt idx="440">
                  <c:v>0.120657</c:v>
                </c:pt>
                <c:pt idx="441">
                  <c:v>0.12503700000000001</c:v>
                </c:pt>
                <c:pt idx="442">
                  <c:v>9.0481000000000006E-2</c:v>
                </c:pt>
                <c:pt idx="443">
                  <c:v>8.6515999999999996E-2</c:v>
                </c:pt>
                <c:pt idx="444">
                  <c:v>0.128663</c:v>
                </c:pt>
                <c:pt idx="445">
                  <c:v>0.13811999999999999</c:v>
                </c:pt>
                <c:pt idx="446">
                  <c:v>3.8017000000000002E-2</c:v>
                </c:pt>
                <c:pt idx="447">
                  <c:v>2.7342000000000002E-2</c:v>
                </c:pt>
                <c:pt idx="448">
                  <c:v>7.2890999999999997E-2</c:v>
                </c:pt>
                <c:pt idx="449">
                  <c:v>9.5204999999999998E-2</c:v>
                </c:pt>
                <c:pt idx="450">
                  <c:v>5.6439000000000003E-2</c:v>
                </c:pt>
                <c:pt idx="451">
                  <c:v>8.6141999999999996E-2</c:v>
                </c:pt>
                <c:pt idx="452">
                  <c:v>6.6266000000000005E-2</c:v>
                </c:pt>
                <c:pt idx="453">
                  <c:v>-4.2974999999999999E-2</c:v>
                </c:pt>
                <c:pt idx="454">
                  <c:v>-2.6304999999999999E-2</c:v>
                </c:pt>
                <c:pt idx="455">
                  <c:v>-4.7753999999999998E-2</c:v>
                </c:pt>
                <c:pt idx="456">
                  <c:v>-9.5358999999999999E-2</c:v>
                </c:pt>
                <c:pt idx="457">
                  <c:v>-0.108122</c:v>
                </c:pt>
                <c:pt idx="458">
                  <c:v>-0.102066</c:v>
                </c:pt>
                <c:pt idx="459">
                  <c:v>-0.11833399999999999</c:v>
                </c:pt>
                <c:pt idx="460">
                  <c:v>-0.18937200000000001</c:v>
                </c:pt>
                <c:pt idx="461">
                  <c:v>-0.198131</c:v>
                </c:pt>
                <c:pt idx="462">
                  <c:v>-0.20304</c:v>
                </c:pt>
                <c:pt idx="463">
                  <c:v>-0.21662899999999999</c:v>
                </c:pt>
                <c:pt idx="464">
                  <c:v>-0.24124599999999999</c:v>
                </c:pt>
                <c:pt idx="465">
                  <c:v>-0.19142500000000001</c:v>
                </c:pt>
                <c:pt idx="466">
                  <c:v>-0.19418199999999999</c:v>
                </c:pt>
                <c:pt idx="467">
                  <c:v>-0.25784400000000002</c:v>
                </c:pt>
                <c:pt idx="468">
                  <c:v>-0.23030500000000001</c:v>
                </c:pt>
                <c:pt idx="469">
                  <c:v>-0.236092</c:v>
                </c:pt>
                <c:pt idx="470">
                  <c:v>-0.25156099999999998</c:v>
                </c:pt>
                <c:pt idx="471">
                  <c:v>-0.257884</c:v>
                </c:pt>
                <c:pt idx="472">
                  <c:v>-0.25180000000000002</c:v>
                </c:pt>
                <c:pt idx="473">
                  <c:v>-0.26015199999999999</c:v>
                </c:pt>
                <c:pt idx="474">
                  <c:v>-0.31246099999999999</c:v>
                </c:pt>
                <c:pt idx="475">
                  <c:v>-0.32197900000000002</c:v>
                </c:pt>
                <c:pt idx="476">
                  <c:v>-0.32763500000000001</c:v>
                </c:pt>
                <c:pt idx="477">
                  <c:v>-0.32871299999999998</c:v>
                </c:pt>
                <c:pt idx="478">
                  <c:v>-0.35281499999999999</c:v>
                </c:pt>
                <c:pt idx="479">
                  <c:v>-0.35795300000000002</c:v>
                </c:pt>
                <c:pt idx="480">
                  <c:v>-0.35412100000000002</c:v>
                </c:pt>
                <c:pt idx="481">
                  <c:v>-0.399538</c:v>
                </c:pt>
                <c:pt idx="482">
                  <c:v>-0.35399900000000001</c:v>
                </c:pt>
                <c:pt idx="483">
                  <c:v>-0.33411400000000002</c:v>
                </c:pt>
                <c:pt idx="484">
                  <c:v>-0.30484699999999998</c:v>
                </c:pt>
                <c:pt idx="485">
                  <c:v>-0.24820500000000001</c:v>
                </c:pt>
                <c:pt idx="486">
                  <c:v>-0.14999899999999999</c:v>
                </c:pt>
                <c:pt idx="487">
                  <c:v>-0.154139</c:v>
                </c:pt>
                <c:pt idx="488">
                  <c:v>-0.25398999999999999</c:v>
                </c:pt>
                <c:pt idx="489">
                  <c:v>-0.29390100000000002</c:v>
                </c:pt>
                <c:pt idx="490">
                  <c:v>-0.30613800000000002</c:v>
                </c:pt>
                <c:pt idx="491">
                  <c:v>-0.309836</c:v>
                </c:pt>
                <c:pt idx="492">
                  <c:v>-0.31901800000000002</c:v>
                </c:pt>
                <c:pt idx="493">
                  <c:v>-0.33305800000000002</c:v>
                </c:pt>
                <c:pt idx="494">
                  <c:v>-0.33235599999999998</c:v>
                </c:pt>
                <c:pt idx="495">
                  <c:v>-0.375</c:v>
                </c:pt>
                <c:pt idx="496">
                  <c:v>-0.36005399999999999</c:v>
                </c:pt>
                <c:pt idx="497">
                  <c:v>-0.35638799999999998</c:v>
                </c:pt>
                <c:pt idx="498">
                  <c:v>-0.373388</c:v>
                </c:pt>
                <c:pt idx="499">
                  <c:v>-0.38130999999999998</c:v>
                </c:pt>
                <c:pt idx="500">
                  <c:v>-0.398534</c:v>
                </c:pt>
                <c:pt idx="501">
                  <c:v>-0.43399500000000002</c:v>
                </c:pt>
                <c:pt idx="502">
                  <c:v>-0.47944399999999998</c:v>
                </c:pt>
                <c:pt idx="503">
                  <c:v>-0.562115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ovych_JIP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0.41675189430600001</c:v>
                </c:pt>
                <c:pt idx="1">
                  <c:v>0.46180615315000001</c:v>
                </c:pt>
                <c:pt idx="2">
                  <c:v>0.48433328257199998</c:v>
                </c:pt>
                <c:pt idx="3">
                  <c:v>0.52938754141599997</c:v>
                </c:pt>
                <c:pt idx="4">
                  <c:v>0.51812397670499999</c:v>
                </c:pt>
                <c:pt idx="5">
                  <c:v>0.49559684728300002</c:v>
                </c:pt>
                <c:pt idx="6">
                  <c:v>0.54065110612699996</c:v>
                </c:pt>
                <c:pt idx="7">
                  <c:v>0.55191467083800005</c:v>
                </c:pt>
                <c:pt idx="8">
                  <c:v>0.57444180026000002</c:v>
                </c:pt>
                <c:pt idx="9">
                  <c:v>0.54065110612699996</c:v>
                </c:pt>
                <c:pt idx="10">
                  <c:v>0.55191467083800005</c:v>
                </c:pt>
                <c:pt idx="11">
                  <c:v>0.57444180026000002</c:v>
                </c:pt>
                <c:pt idx="12">
                  <c:v>0.61949605910299999</c:v>
                </c:pt>
                <c:pt idx="13">
                  <c:v>0.64202318852499995</c:v>
                </c:pt>
                <c:pt idx="14">
                  <c:v>0.73213170621300006</c:v>
                </c:pt>
                <c:pt idx="15">
                  <c:v>0.72086814150199996</c:v>
                </c:pt>
                <c:pt idx="16">
                  <c:v>0.84476735332300001</c:v>
                </c:pt>
                <c:pt idx="17">
                  <c:v>1.013720823988</c:v>
                </c:pt>
                <c:pt idx="18">
                  <c:v>1.2277285534960001</c:v>
                </c:pt>
                <c:pt idx="19">
                  <c:v>1.317837071184</c:v>
                </c:pt>
                <c:pt idx="20">
                  <c:v>1.599426188959</c:v>
                </c:pt>
                <c:pt idx="21">
                  <c:v>1.6782711419359999</c:v>
                </c:pt>
                <c:pt idx="22">
                  <c:v>1.8359610478890001</c:v>
                </c:pt>
                <c:pt idx="23">
                  <c:v>2.004914518554</c:v>
                </c:pt>
                <c:pt idx="24">
                  <c:v>1.9823873891320001</c:v>
                </c:pt>
                <c:pt idx="25">
                  <c:v>1.9936509538430001</c:v>
                </c:pt>
                <c:pt idx="26">
                  <c:v>2.1062866009530001</c:v>
                </c:pt>
                <c:pt idx="27">
                  <c:v>2.2076586833520002</c:v>
                </c:pt>
                <c:pt idx="28">
                  <c:v>2.2639765069069999</c:v>
                </c:pt>
                <c:pt idx="29">
                  <c:v>2.387875718728</c:v>
                </c:pt>
                <c:pt idx="30">
                  <c:v>2.5680927541030001</c:v>
                </c:pt>
                <c:pt idx="31">
                  <c:v>2.7370462247680001</c:v>
                </c:pt>
                <c:pt idx="32">
                  <c:v>3.052426036675</c:v>
                </c:pt>
                <c:pt idx="33">
                  <c:v>3.2326430720510002</c:v>
                </c:pt>
                <c:pt idx="34">
                  <c:v>3.3452787191610001</c:v>
                </c:pt>
                <c:pt idx="35">
                  <c:v>3.829612001733</c:v>
                </c:pt>
                <c:pt idx="36">
                  <c:v>4.2463638960400001</c:v>
                </c:pt>
                <c:pt idx="37">
                  <c:v>4.4491080608370002</c:v>
                </c:pt>
                <c:pt idx="38">
                  <c:v>4.9334413434090001</c:v>
                </c:pt>
                <c:pt idx="39">
                  <c:v>5.2938754141609996</c:v>
                </c:pt>
                <c:pt idx="40">
                  <c:v>5.4065110612709999</c:v>
                </c:pt>
                <c:pt idx="41">
                  <c:v>5.8007358261549999</c:v>
                </c:pt>
                <c:pt idx="42">
                  <c:v>5.9358986026869998</c:v>
                </c:pt>
                <c:pt idx="43">
                  <c:v>6.2174877204610004</c:v>
                </c:pt>
                <c:pt idx="44">
                  <c:v>6.5553946617910004</c:v>
                </c:pt>
                <c:pt idx="45">
                  <c:v>6.8595109089869997</c:v>
                </c:pt>
                <c:pt idx="46">
                  <c:v>6.7243481324549998</c:v>
                </c:pt>
                <c:pt idx="47">
                  <c:v>7.1974178503169997</c:v>
                </c:pt>
                <c:pt idx="48">
                  <c:v>7.4114255798249999</c:v>
                </c:pt>
                <c:pt idx="49">
                  <c:v>7.9746038153740004</c:v>
                </c:pt>
                <c:pt idx="50">
                  <c:v>8.6504176980329994</c:v>
                </c:pt>
                <c:pt idx="51">
                  <c:v>9.2586501924259998</c:v>
                </c:pt>
                <c:pt idx="52">
                  <c:v>9.5627664396229992</c:v>
                </c:pt>
                <c:pt idx="53">
                  <c:v>10.204789628148999</c:v>
                </c:pt>
                <c:pt idx="54">
                  <c:v>10.689122910721</c:v>
                </c:pt>
                <c:pt idx="55">
                  <c:v>11.691580169998</c:v>
                </c:pt>
                <c:pt idx="56">
                  <c:v>11.984432852484</c:v>
                </c:pt>
                <c:pt idx="57">
                  <c:v>11.804215817108</c:v>
                </c:pt>
                <c:pt idx="58">
                  <c:v>12.412448311501</c:v>
                </c:pt>
                <c:pt idx="59">
                  <c:v>12.637719605720999</c:v>
                </c:pt>
                <c:pt idx="60">
                  <c:v>13.08826219416</c:v>
                </c:pt>
                <c:pt idx="61">
                  <c:v>13.08826219416</c:v>
                </c:pt>
                <c:pt idx="62">
                  <c:v>12.941835852917</c:v>
                </c:pt>
                <c:pt idx="63">
                  <c:v>13.110789323582001</c:v>
                </c:pt>
                <c:pt idx="64">
                  <c:v>13.302269923669</c:v>
                </c:pt>
                <c:pt idx="65">
                  <c:v>12.86299089994</c:v>
                </c:pt>
                <c:pt idx="66">
                  <c:v>13.167107147136999</c:v>
                </c:pt>
                <c:pt idx="67">
                  <c:v>12.525083958611001</c:v>
                </c:pt>
                <c:pt idx="68">
                  <c:v>12.311076229102</c:v>
                </c:pt>
                <c:pt idx="69">
                  <c:v>11.781688687686</c:v>
                </c:pt>
                <c:pt idx="70">
                  <c:v>11.47757244049</c:v>
                </c:pt>
                <c:pt idx="71">
                  <c:v>11.038293416761</c:v>
                </c:pt>
                <c:pt idx="72">
                  <c:v>10.745440734276</c:v>
                </c:pt>
                <c:pt idx="73">
                  <c:v>10.125944675172001</c:v>
                </c:pt>
                <c:pt idx="74">
                  <c:v>9.9232005103740004</c:v>
                </c:pt>
                <c:pt idx="75">
                  <c:v>9.4050765336689999</c:v>
                </c:pt>
                <c:pt idx="76">
                  <c:v>9.2023323688709997</c:v>
                </c:pt>
                <c:pt idx="77">
                  <c:v>8.6053634391890004</c:v>
                </c:pt>
                <c:pt idx="78">
                  <c:v>8.5265184862119998</c:v>
                </c:pt>
                <c:pt idx="79">
                  <c:v>8.2336658037269999</c:v>
                </c:pt>
                <c:pt idx="80">
                  <c:v>8.0534487683510001</c:v>
                </c:pt>
                <c:pt idx="81">
                  <c:v>8.0872394624839998</c:v>
                </c:pt>
                <c:pt idx="82">
                  <c:v>8.2561929331490003</c:v>
                </c:pt>
                <c:pt idx="83">
                  <c:v>8.0309216389289997</c:v>
                </c:pt>
                <c:pt idx="84">
                  <c:v>7.8957588623969999</c:v>
                </c:pt>
                <c:pt idx="85">
                  <c:v>7.6479604387559998</c:v>
                </c:pt>
                <c:pt idx="86">
                  <c:v>7.3213170621370001</c:v>
                </c:pt>
                <c:pt idx="87">
                  <c:v>6.9608829913859998</c:v>
                </c:pt>
                <c:pt idx="88">
                  <c:v>6.8144566501429997</c:v>
                </c:pt>
                <c:pt idx="89">
                  <c:v>6.4652861441029996</c:v>
                </c:pt>
                <c:pt idx="90">
                  <c:v>6.3075962381490003</c:v>
                </c:pt>
                <c:pt idx="91">
                  <c:v>6.0485342497970001</c:v>
                </c:pt>
                <c:pt idx="92">
                  <c:v>6.0935885086399999</c:v>
                </c:pt>
                <c:pt idx="93">
                  <c:v>6.2174877204610004</c:v>
                </c:pt>
                <c:pt idx="94">
                  <c:v>6.2174877204610004</c:v>
                </c:pt>
                <c:pt idx="95">
                  <c:v>5.902107908554</c:v>
                </c:pt>
                <c:pt idx="96">
                  <c:v>6.0372706850859998</c:v>
                </c:pt>
                <c:pt idx="97">
                  <c:v>6.3301233675709998</c:v>
                </c:pt>
                <c:pt idx="98">
                  <c:v>6.5216039676579998</c:v>
                </c:pt>
                <c:pt idx="99">
                  <c:v>6.4089683205480004</c:v>
                </c:pt>
                <c:pt idx="100">
                  <c:v>6.5553946617910004</c:v>
                </c:pt>
                <c:pt idx="101">
                  <c:v>6.6229760500569999</c:v>
                </c:pt>
                <c:pt idx="102">
                  <c:v>6.972146556097</c:v>
                </c:pt>
                <c:pt idx="103">
                  <c:v>7.0397279443630003</c:v>
                </c:pt>
                <c:pt idx="104">
                  <c:v>6.7919295207210002</c:v>
                </c:pt>
                <c:pt idx="105">
                  <c:v>6.927092297253</c:v>
                </c:pt>
                <c:pt idx="106">
                  <c:v>7.2086814150279999</c:v>
                </c:pt>
                <c:pt idx="107">
                  <c:v>7.073518638496</c:v>
                </c:pt>
                <c:pt idx="108">
                  <c:v>7.1974178503169997</c:v>
                </c:pt>
                <c:pt idx="109">
                  <c:v>7.1523635914729997</c:v>
                </c:pt>
                <c:pt idx="110">
                  <c:v>7.2312085444500003</c:v>
                </c:pt>
                <c:pt idx="111">
                  <c:v>7.2762628032940002</c:v>
                </c:pt>
                <c:pt idx="112">
                  <c:v>7.5803790504900004</c:v>
                </c:pt>
                <c:pt idx="113">
                  <c:v>7.5240612269350002</c:v>
                </c:pt>
                <c:pt idx="114">
                  <c:v>7.5353247916460004</c:v>
                </c:pt>
                <c:pt idx="115">
                  <c:v>7.6141697446230001</c:v>
                </c:pt>
                <c:pt idx="116">
                  <c:v>7.8957588623969999</c:v>
                </c:pt>
                <c:pt idx="117">
                  <c:v>8.1998751095940001</c:v>
                </c:pt>
                <c:pt idx="118">
                  <c:v>8.7067355215879996</c:v>
                </c:pt>
                <c:pt idx="119">
                  <c:v>9.2248594982930001</c:v>
                </c:pt>
                <c:pt idx="120">
                  <c:v>9.5965571337560007</c:v>
                </c:pt>
                <c:pt idx="121">
                  <c:v>10.373743098813</c:v>
                </c:pt>
                <c:pt idx="122">
                  <c:v>10.520169440056</c:v>
                </c:pt>
                <c:pt idx="123">
                  <c:v>10.407533792945999</c:v>
                </c:pt>
                <c:pt idx="124">
                  <c:v>10.779231428409</c:v>
                </c:pt>
                <c:pt idx="125">
                  <c:v>11.105874805027</c:v>
                </c:pt>
                <c:pt idx="126">
                  <c:v>11.083347675604999</c:v>
                </c:pt>
                <c:pt idx="127">
                  <c:v>11.376200358090999</c:v>
                </c:pt>
                <c:pt idx="128">
                  <c:v>11.094611240316</c:v>
                </c:pt>
                <c:pt idx="129">
                  <c:v>11.488836005201</c:v>
                </c:pt>
                <c:pt idx="130">
                  <c:v>11.916851464218</c:v>
                </c:pt>
                <c:pt idx="131">
                  <c:v>11.871797205374</c:v>
                </c:pt>
                <c:pt idx="132">
                  <c:v>11.691580169998</c:v>
                </c:pt>
                <c:pt idx="133">
                  <c:v>11.725370864130999</c:v>
                </c:pt>
                <c:pt idx="134">
                  <c:v>11.443781746357001</c:v>
                </c:pt>
                <c:pt idx="135">
                  <c:v>11.635262346443</c:v>
                </c:pt>
                <c:pt idx="136">
                  <c:v>11.578944522887999</c:v>
                </c:pt>
                <c:pt idx="137">
                  <c:v>11.432518181646</c:v>
                </c:pt>
                <c:pt idx="138">
                  <c:v>10.970712028495001</c:v>
                </c:pt>
                <c:pt idx="139">
                  <c:v>10.925657769651</c:v>
                </c:pt>
                <c:pt idx="140">
                  <c:v>10.666595781299</c:v>
                </c:pt>
                <c:pt idx="141">
                  <c:v>10.508905875345</c:v>
                </c:pt>
                <c:pt idx="142">
                  <c:v>10.182262498727001</c:v>
                </c:pt>
                <c:pt idx="143">
                  <c:v>10.148471804593999</c:v>
                </c:pt>
                <c:pt idx="144">
                  <c:v>9.900673380952</c:v>
                </c:pt>
                <c:pt idx="145">
                  <c:v>9.7880377338419997</c:v>
                </c:pt>
                <c:pt idx="146">
                  <c:v>9.6303478278890005</c:v>
                </c:pt>
                <c:pt idx="147">
                  <c:v>9.4163400983799992</c:v>
                </c:pt>
                <c:pt idx="148">
                  <c:v>9.2699137571369992</c:v>
                </c:pt>
                <c:pt idx="149">
                  <c:v>9.2586501924259998</c:v>
                </c:pt>
                <c:pt idx="150">
                  <c:v>9.2023323688709997</c:v>
                </c:pt>
                <c:pt idx="151">
                  <c:v>9.3938129689580006</c:v>
                </c:pt>
                <c:pt idx="152">
                  <c:v>9.5289757454899995</c:v>
                </c:pt>
                <c:pt idx="153">
                  <c:v>9.4726579219349993</c:v>
                </c:pt>
                <c:pt idx="154">
                  <c:v>9.7655106044199993</c:v>
                </c:pt>
                <c:pt idx="155">
                  <c:v>9.900673380952</c:v>
                </c:pt>
                <c:pt idx="156">
                  <c:v>10.092153981039001</c:v>
                </c:pt>
                <c:pt idx="157">
                  <c:v>9.9119369456629993</c:v>
                </c:pt>
                <c:pt idx="158">
                  <c:v>10.069626851617</c:v>
                </c:pt>
                <c:pt idx="159">
                  <c:v>10.45258805179</c:v>
                </c:pt>
                <c:pt idx="160">
                  <c:v>10.610277957744</c:v>
                </c:pt>
                <c:pt idx="161">
                  <c:v>10.565223698900001</c:v>
                </c:pt>
                <c:pt idx="162">
                  <c:v>10.925657769651</c:v>
                </c:pt>
                <c:pt idx="163">
                  <c:v>11.105874805027</c:v>
                </c:pt>
                <c:pt idx="164">
                  <c:v>11.195983322715</c:v>
                </c:pt>
                <c:pt idx="165">
                  <c:v>11.049556981472</c:v>
                </c:pt>
                <c:pt idx="166">
                  <c:v>10.993239157916999</c:v>
                </c:pt>
                <c:pt idx="167">
                  <c:v>11.162192628582</c:v>
                </c:pt>
                <c:pt idx="168">
                  <c:v>11.567680958177</c:v>
                </c:pt>
                <c:pt idx="169">
                  <c:v>11.792952252397001</c:v>
                </c:pt>
                <c:pt idx="170">
                  <c:v>11.781688687686</c:v>
                </c:pt>
                <c:pt idx="171">
                  <c:v>12.311076229102</c:v>
                </c:pt>
                <c:pt idx="172">
                  <c:v>12.502556829189</c:v>
                </c:pt>
                <c:pt idx="173">
                  <c:v>12.62645604101</c:v>
                </c:pt>
                <c:pt idx="174">
                  <c:v>13.076998629448999</c:v>
                </c:pt>
                <c:pt idx="175">
                  <c:v>13.076998629448999</c:v>
                </c:pt>
                <c:pt idx="176">
                  <c:v>13.065735064738</c:v>
                </c:pt>
                <c:pt idx="177">
                  <c:v>13.583859041443</c:v>
                </c:pt>
                <c:pt idx="178">
                  <c:v>13.369851311933999</c:v>
                </c:pt>
                <c:pt idx="179">
                  <c:v>13.966820241616</c:v>
                </c:pt>
                <c:pt idx="180">
                  <c:v>14.282200053524001</c:v>
                </c:pt>
                <c:pt idx="181">
                  <c:v>14.969277500894</c:v>
                </c:pt>
                <c:pt idx="182">
                  <c:v>15.408556524622</c:v>
                </c:pt>
                <c:pt idx="183">
                  <c:v>16.028052583726002</c:v>
                </c:pt>
                <c:pt idx="184">
                  <c:v>16.129424666125001</c:v>
                </c:pt>
                <c:pt idx="185">
                  <c:v>16.782711419361998</c:v>
                </c:pt>
                <c:pt idx="186">
                  <c:v>16.557440125142001</c:v>
                </c:pt>
                <c:pt idx="187">
                  <c:v>16.670075772252002</c:v>
                </c:pt>
                <c:pt idx="188">
                  <c:v>16.444804478032001</c:v>
                </c:pt>
                <c:pt idx="189">
                  <c:v>16.478595172165001</c:v>
                </c:pt>
                <c:pt idx="190">
                  <c:v>16.568703689852999</c:v>
                </c:pt>
                <c:pt idx="191">
                  <c:v>16.512385866298001</c:v>
                </c:pt>
                <c:pt idx="192">
                  <c:v>16.523649431009002</c:v>
                </c:pt>
                <c:pt idx="193">
                  <c:v>16.579967254564</c:v>
                </c:pt>
                <c:pt idx="194">
                  <c:v>16.636285078118998</c:v>
                </c:pt>
                <c:pt idx="195">
                  <c:v>16.647548642829999</c:v>
                </c:pt>
                <c:pt idx="196">
                  <c:v>16.681339336962999</c:v>
                </c:pt>
                <c:pt idx="197">
                  <c:v>16.275851007368001</c:v>
                </c:pt>
                <c:pt idx="198">
                  <c:v>16.050579713148</c:v>
                </c:pt>
                <c:pt idx="199">
                  <c:v>15.397292959911001</c:v>
                </c:pt>
                <c:pt idx="200">
                  <c:v>15.295920877512</c:v>
                </c:pt>
                <c:pt idx="201">
                  <c:v>14.946750371472</c:v>
                </c:pt>
                <c:pt idx="202">
                  <c:v>14.496207783033</c:v>
                </c:pt>
                <c:pt idx="203">
                  <c:v>14.169564406414001</c:v>
                </c:pt>
                <c:pt idx="204">
                  <c:v>13.944293112195</c:v>
                </c:pt>
                <c:pt idx="205">
                  <c:v>14.068192324015</c:v>
                </c:pt>
                <c:pt idx="206">
                  <c:v>13.944293112195</c:v>
                </c:pt>
                <c:pt idx="207">
                  <c:v>13.595122606154</c:v>
                </c:pt>
                <c:pt idx="208">
                  <c:v>13.369851311933999</c:v>
                </c:pt>
                <c:pt idx="209">
                  <c:v>12.998153676472</c:v>
                </c:pt>
                <c:pt idx="210">
                  <c:v>12.502556829189</c:v>
                </c:pt>
                <c:pt idx="211">
                  <c:v>12.153386323148</c:v>
                </c:pt>
                <c:pt idx="212">
                  <c:v>11.533890264044</c:v>
                </c:pt>
                <c:pt idx="213">
                  <c:v>11.173456193292999</c:v>
                </c:pt>
                <c:pt idx="214">
                  <c:v>11.004502722628001</c:v>
                </c:pt>
                <c:pt idx="215">
                  <c:v>10.722913604854</c:v>
                </c:pt>
                <c:pt idx="216">
                  <c:v>9.9907818986399999</c:v>
                </c:pt>
                <c:pt idx="217">
                  <c:v>9.8443555573969999</c:v>
                </c:pt>
                <c:pt idx="218">
                  <c:v>9.6641385220220002</c:v>
                </c:pt>
                <c:pt idx="219">
                  <c:v>9.4388672278019996</c:v>
                </c:pt>
                <c:pt idx="220">
                  <c:v>9.3262315806919993</c:v>
                </c:pt>
                <c:pt idx="221">
                  <c:v>9.1910688041600004</c:v>
                </c:pt>
                <c:pt idx="222">
                  <c:v>8.9545339452300006</c:v>
                </c:pt>
                <c:pt idx="223">
                  <c:v>8.9320068158080002</c:v>
                </c:pt>
                <c:pt idx="224">
                  <c:v>8.5940998744779993</c:v>
                </c:pt>
                <c:pt idx="225">
                  <c:v>8.2449293684379992</c:v>
                </c:pt>
                <c:pt idx="226">
                  <c:v>7.8169139094210003</c:v>
                </c:pt>
                <c:pt idx="227">
                  <c:v>7.7831232152879997</c:v>
                </c:pt>
                <c:pt idx="228">
                  <c:v>7.264999238583</c:v>
                </c:pt>
                <c:pt idx="229">
                  <c:v>7.0397279443630003</c:v>
                </c:pt>
                <c:pt idx="230">
                  <c:v>7.0284643796520001</c:v>
                </c:pt>
                <c:pt idx="231">
                  <c:v>6.6792938736109999</c:v>
                </c:pt>
                <c:pt idx="232">
                  <c:v>6.3188598028599996</c:v>
                </c:pt>
                <c:pt idx="233">
                  <c:v>6.1724334616169996</c:v>
                </c:pt>
                <c:pt idx="234">
                  <c:v>5.8007358261549999</c:v>
                </c:pt>
                <c:pt idx="235">
                  <c:v>5.5867280966459996</c:v>
                </c:pt>
                <c:pt idx="236">
                  <c:v>5.5078831436689999</c:v>
                </c:pt>
                <c:pt idx="237">
                  <c:v>5.0460769905190004</c:v>
                </c:pt>
                <c:pt idx="238">
                  <c:v>4.8095421315889997</c:v>
                </c:pt>
                <c:pt idx="239">
                  <c:v>4.8433328257220003</c:v>
                </c:pt>
                <c:pt idx="240">
                  <c:v>4.5730072726579998</c:v>
                </c:pt>
                <c:pt idx="241">
                  <c:v>4.3589995431490003</c:v>
                </c:pt>
                <c:pt idx="242">
                  <c:v>4.2351003313289999</c:v>
                </c:pt>
                <c:pt idx="243">
                  <c:v>4.1112011195080003</c:v>
                </c:pt>
                <c:pt idx="244">
                  <c:v>3.9873019076870002</c:v>
                </c:pt>
                <c:pt idx="245">
                  <c:v>3.953511213554</c:v>
                </c:pt>
                <c:pt idx="246">
                  <c:v>3.6381314016470001</c:v>
                </c:pt>
                <c:pt idx="247">
                  <c:v>3.4691779309820001</c:v>
                </c:pt>
                <c:pt idx="248">
                  <c:v>3.3002244603170001</c:v>
                </c:pt>
                <c:pt idx="249">
                  <c:v>3.2551702014730002</c:v>
                </c:pt>
                <c:pt idx="250">
                  <c:v>3.1312709896520001</c:v>
                </c:pt>
                <c:pt idx="251">
                  <c:v>3.052426036675</c:v>
                </c:pt>
                <c:pt idx="252">
                  <c:v>2.973581083699</c:v>
                </c:pt>
                <c:pt idx="253">
                  <c:v>2.804627613034</c:v>
                </c:pt>
                <c:pt idx="254">
                  <c:v>2.7145190953460001</c:v>
                </c:pt>
                <c:pt idx="255">
                  <c:v>2.658201271791</c:v>
                </c:pt>
                <c:pt idx="256">
                  <c:v>2.5230384952590001</c:v>
                </c:pt>
                <c:pt idx="257">
                  <c:v>2.3090307657509999</c:v>
                </c:pt>
                <c:pt idx="258">
                  <c:v>2.1175501656639999</c:v>
                </c:pt>
                <c:pt idx="259">
                  <c:v>1.869751742022</c:v>
                </c:pt>
                <c:pt idx="260">
                  <c:v>1.790906789046</c:v>
                </c:pt>
                <c:pt idx="261">
                  <c:v>1.633216883092</c:v>
                </c:pt>
                <c:pt idx="262">
                  <c:v>1.4980541065599999</c:v>
                </c:pt>
                <c:pt idx="263">
                  <c:v>1.5205812359819999</c:v>
                </c:pt>
                <c:pt idx="264">
                  <c:v>1.430472718294</c:v>
                </c:pt>
                <c:pt idx="265">
                  <c:v>1.3516277653169999</c:v>
                </c:pt>
                <c:pt idx="266">
                  <c:v>1.182674294653</c:v>
                </c:pt>
                <c:pt idx="267">
                  <c:v>1.1038293416760001</c:v>
                </c:pt>
                <c:pt idx="268">
                  <c:v>1.0700386475429999</c:v>
                </c:pt>
                <c:pt idx="269">
                  <c:v>0.90108517687800005</c:v>
                </c:pt>
                <c:pt idx="270">
                  <c:v>0.75465883563500002</c:v>
                </c:pt>
                <c:pt idx="271">
                  <c:v>0.75465883563500002</c:v>
                </c:pt>
                <c:pt idx="272">
                  <c:v>0.72086814150199996</c:v>
                </c:pt>
                <c:pt idx="273">
                  <c:v>0.67581388265800002</c:v>
                </c:pt>
                <c:pt idx="274">
                  <c:v>0.58570536497100001</c:v>
                </c:pt>
                <c:pt idx="275">
                  <c:v>0.59696892968199999</c:v>
                </c:pt>
                <c:pt idx="276">
                  <c:v>0.63075962381399997</c:v>
                </c:pt>
                <c:pt idx="277">
                  <c:v>0.58570536497100001</c:v>
                </c:pt>
                <c:pt idx="278">
                  <c:v>0.51812397670499999</c:v>
                </c:pt>
                <c:pt idx="279">
                  <c:v>0.45054258843900002</c:v>
                </c:pt>
                <c:pt idx="280">
                  <c:v>0.47306971786099999</c:v>
                </c:pt>
                <c:pt idx="281">
                  <c:v>0.428015459017</c:v>
                </c:pt>
                <c:pt idx="282">
                  <c:v>0.36043407075099998</c:v>
                </c:pt>
                <c:pt idx="283">
                  <c:v>0.27032555306299999</c:v>
                </c:pt>
                <c:pt idx="284">
                  <c:v>0.304116247196</c:v>
                </c:pt>
                <c:pt idx="285">
                  <c:v>0.27032555306299999</c:v>
                </c:pt>
                <c:pt idx="286">
                  <c:v>0.23653485893000001</c:v>
                </c:pt>
                <c:pt idx="287">
                  <c:v>0.180217035375</c:v>
                </c:pt>
                <c:pt idx="288">
                  <c:v>0.16895347066399999</c:v>
                </c:pt>
                <c:pt idx="289">
                  <c:v>0.157689905953</c:v>
                </c:pt>
                <c:pt idx="290">
                  <c:v>0.202744164797</c:v>
                </c:pt>
                <c:pt idx="291">
                  <c:v>0.157689905953</c:v>
                </c:pt>
                <c:pt idx="292">
                  <c:v>0.180217035375</c:v>
                </c:pt>
                <c:pt idx="293">
                  <c:v>0.157689905953</c:v>
                </c:pt>
                <c:pt idx="294">
                  <c:v>0.14642634124199999</c:v>
                </c:pt>
                <c:pt idx="295">
                  <c:v>0.11263564710899999</c:v>
                </c:pt>
                <c:pt idx="296">
                  <c:v>0.101372082398</c:v>
                </c:pt>
                <c:pt idx="297">
                  <c:v>0.11263564710899999</c:v>
                </c:pt>
                <c:pt idx="298">
                  <c:v>0.101372082398</c:v>
                </c:pt>
                <c:pt idx="299">
                  <c:v>7.8844952975999999E-2</c:v>
                </c:pt>
                <c:pt idx="300">
                  <c:v>0.11263564710899999</c:v>
                </c:pt>
                <c:pt idx="301">
                  <c:v>0.14642634124199999</c:v>
                </c:pt>
                <c:pt idx="302">
                  <c:v>0.16895347066399999</c:v>
                </c:pt>
                <c:pt idx="303">
                  <c:v>0.180217035375</c:v>
                </c:pt>
                <c:pt idx="304">
                  <c:v>0.12389921181999999</c:v>
                </c:pt>
                <c:pt idx="305">
                  <c:v>0.12389921181999999</c:v>
                </c:pt>
                <c:pt idx="306">
                  <c:v>0.13516277653100001</c:v>
                </c:pt>
                <c:pt idx="307">
                  <c:v>0.12389921181999999</c:v>
                </c:pt>
                <c:pt idx="308">
                  <c:v>9.0108517686999998E-2</c:v>
                </c:pt>
                <c:pt idx="309">
                  <c:v>7.8844952975999999E-2</c:v>
                </c:pt>
                <c:pt idx="310">
                  <c:v>5.6317823554000002E-2</c:v>
                </c:pt>
                <c:pt idx="311">
                  <c:v>6.7581388265E-2</c:v>
                </c:pt>
                <c:pt idx="312">
                  <c:v>7.8844952975999999E-2</c:v>
                </c:pt>
                <c:pt idx="313">
                  <c:v>7.8844952975999999E-2</c:v>
                </c:pt>
                <c:pt idx="314">
                  <c:v>7.8844952975999999E-2</c:v>
                </c:pt>
                <c:pt idx="315">
                  <c:v>9.0108517686999998E-2</c:v>
                </c:pt>
                <c:pt idx="316">
                  <c:v>0.12389921181999999</c:v>
                </c:pt>
                <c:pt idx="317">
                  <c:v>0.12389921181999999</c:v>
                </c:pt>
                <c:pt idx="318">
                  <c:v>0.13516277653100001</c:v>
                </c:pt>
                <c:pt idx="319">
                  <c:v>0.13516277653100001</c:v>
                </c:pt>
                <c:pt idx="320">
                  <c:v>0.13516277653100001</c:v>
                </c:pt>
                <c:pt idx="321">
                  <c:v>0.13516277653100001</c:v>
                </c:pt>
                <c:pt idx="322">
                  <c:v>0.13516277653100001</c:v>
                </c:pt>
                <c:pt idx="323">
                  <c:v>0.12389921181999999</c:v>
                </c:pt>
                <c:pt idx="324">
                  <c:v>0.16895347066399999</c:v>
                </c:pt>
                <c:pt idx="325">
                  <c:v>0.157689905953</c:v>
                </c:pt>
                <c:pt idx="326">
                  <c:v>0.14642634124199999</c:v>
                </c:pt>
                <c:pt idx="327">
                  <c:v>0.14642634124199999</c:v>
                </c:pt>
                <c:pt idx="328">
                  <c:v>0.13516277653100001</c:v>
                </c:pt>
                <c:pt idx="329">
                  <c:v>0.13516277653100001</c:v>
                </c:pt>
                <c:pt idx="330">
                  <c:v>0.11263564710899999</c:v>
                </c:pt>
                <c:pt idx="331">
                  <c:v>0.101372082398</c:v>
                </c:pt>
                <c:pt idx="332">
                  <c:v>0.11263564710899999</c:v>
                </c:pt>
                <c:pt idx="333">
                  <c:v>0.13516277653100001</c:v>
                </c:pt>
                <c:pt idx="334">
                  <c:v>0.13516277653100001</c:v>
                </c:pt>
                <c:pt idx="335">
                  <c:v>0.14642634124199999</c:v>
                </c:pt>
                <c:pt idx="336">
                  <c:v>0.16895347066399999</c:v>
                </c:pt>
                <c:pt idx="337">
                  <c:v>0.16895347066399999</c:v>
                </c:pt>
                <c:pt idx="338">
                  <c:v>0.12389921181999999</c:v>
                </c:pt>
                <c:pt idx="339">
                  <c:v>0.13516277653100001</c:v>
                </c:pt>
                <c:pt idx="340">
                  <c:v>0.13516277653100001</c:v>
                </c:pt>
                <c:pt idx="341">
                  <c:v>0.157689905953</c:v>
                </c:pt>
                <c:pt idx="342">
                  <c:v>0.157689905953</c:v>
                </c:pt>
                <c:pt idx="343">
                  <c:v>0.157689905953</c:v>
                </c:pt>
                <c:pt idx="344">
                  <c:v>0.180217035375</c:v>
                </c:pt>
                <c:pt idx="345">
                  <c:v>0.202744164797</c:v>
                </c:pt>
                <c:pt idx="346">
                  <c:v>0.180217035375</c:v>
                </c:pt>
                <c:pt idx="347">
                  <c:v>0.180217035375</c:v>
                </c:pt>
                <c:pt idx="348">
                  <c:v>0.157689905953</c:v>
                </c:pt>
                <c:pt idx="349">
                  <c:v>0.16895347066399999</c:v>
                </c:pt>
                <c:pt idx="350">
                  <c:v>0.180217035375</c:v>
                </c:pt>
                <c:pt idx="351">
                  <c:v>0.19148060008600001</c:v>
                </c:pt>
                <c:pt idx="352">
                  <c:v>0.225271294219</c:v>
                </c:pt>
                <c:pt idx="353">
                  <c:v>0.25906198835200001</c:v>
                </c:pt>
                <c:pt idx="354">
                  <c:v>0.24779842364099999</c:v>
                </c:pt>
                <c:pt idx="355">
                  <c:v>0.24779842364099999</c:v>
                </c:pt>
                <c:pt idx="356">
                  <c:v>0.23653485893000001</c:v>
                </c:pt>
                <c:pt idx="357">
                  <c:v>0.21400772950800001</c:v>
                </c:pt>
                <c:pt idx="358">
                  <c:v>0.19148060008600001</c:v>
                </c:pt>
                <c:pt idx="359">
                  <c:v>0.14642634124199999</c:v>
                </c:pt>
                <c:pt idx="360">
                  <c:v>0.13516277653100001</c:v>
                </c:pt>
                <c:pt idx="361">
                  <c:v>0.13516277653100001</c:v>
                </c:pt>
                <c:pt idx="362">
                  <c:v>0.12389921181999999</c:v>
                </c:pt>
                <c:pt idx="363">
                  <c:v>0.101372082398</c:v>
                </c:pt>
                <c:pt idx="364">
                  <c:v>0.101372082398</c:v>
                </c:pt>
                <c:pt idx="365">
                  <c:v>0.11263564710899999</c:v>
                </c:pt>
                <c:pt idx="366">
                  <c:v>0.12389921181999999</c:v>
                </c:pt>
                <c:pt idx="367">
                  <c:v>0.14642634124199999</c:v>
                </c:pt>
                <c:pt idx="368">
                  <c:v>0.16895347066399999</c:v>
                </c:pt>
                <c:pt idx="369">
                  <c:v>0.19148060008600001</c:v>
                </c:pt>
                <c:pt idx="370">
                  <c:v>0.25906198835200001</c:v>
                </c:pt>
                <c:pt idx="371">
                  <c:v>0.28158911777399998</c:v>
                </c:pt>
                <c:pt idx="372">
                  <c:v>0.25906198835200001</c:v>
                </c:pt>
                <c:pt idx="373">
                  <c:v>0.25906198835200001</c:v>
                </c:pt>
                <c:pt idx="374">
                  <c:v>0.25906198835200001</c:v>
                </c:pt>
                <c:pt idx="375">
                  <c:v>0.27032555306299999</c:v>
                </c:pt>
                <c:pt idx="376">
                  <c:v>0.29285268248500002</c:v>
                </c:pt>
                <c:pt idx="377">
                  <c:v>0.31537981190699999</c:v>
                </c:pt>
                <c:pt idx="378">
                  <c:v>0.37169763546200002</c:v>
                </c:pt>
                <c:pt idx="379">
                  <c:v>0.39422476488399999</c:v>
                </c:pt>
                <c:pt idx="380">
                  <c:v>0.45054258843900002</c:v>
                </c:pt>
                <c:pt idx="381">
                  <c:v>0.43927902372799998</c:v>
                </c:pt>
                <c:pt idx="382">
                  <c:v>0.428015459017</c:v>
                </c:pt>
                <c:pt idx="383">
                  <c:v>0.428015459017</c:v>
                </c:pt>
                <c:pt idx="384">
                  <c:v>0.382961200173</c:v>
                </c:pt>
                <c:pt idx="385">
                  <c:v>0.33790694132900001</c:v>
                </c:pt>
                <c:pt idx="386">
                  <c:v>0.32664337661800003</c:v>
                </c:pt>
                <c:pt idx="387">
                  <c:v>0.31537981190699999</c:v>
                </c:pt>
                <c:pt idx="388">
                  <c:v>0.34917050603999999</c:v>
                </c:pt>
                <c:pt idx="389">
                  <c:v>0.39422476488399999</c:v>
                </c:pt>
                <c:pt idx="390">
                  <c:v>0.36043407075099998</c:v>
                </c:pt>
                <c:pt idx="391">
                  <c:v>0.34917050603999999</c:v>
                </c:pt>
                <c:pt idx="392">
                  <c:v>0.36043407075099998</c:v>
                </c:pt>
                <c:pt idx="393">
                  <c:v>0.382961200173</c:v>
                </c:pt>
                <c:pt idx="394">
                  <c:v>0.39422476488399999</c:v>
                </c:pt>
                <c:pt idx="395">
                  <c:v>0.37169763546200002</c:v>
                </c:pt>
                <c:pt idx="396">
                  <c:v>0.34917050603999999</c:v>
                </c:pt>
                <c:pt idx="397">
                  <c:v>0.43927902372799998</c:v>
                </c:pt>
                <c:pt idx="398">
                  <c:v>0.48433328257199998</c:v>
                </c:pt>
                <c:pt idx="399">
                  <c:v>0.61949605910299999</c:v>
                </c:pt>
                <c:pt idx="400">
                  <c:v>0.82224022390100004</c:v>
                </c:pt>
                <c:pt idx="401">
                  <c:v>0.78844952976799998</c:v>
                </c:pt>
                <c:pt idx="402">
                  <c:v>0.82224022390100004</c:v>
                </c:pt>
                <c:pt idx="403">
                  <c:v>0.86729448274499998</c:v>
                </c:pt>
                <c:pt idx="404">
                  <c:v>0.84476735332300001</c:v>
                </c:pt>
                <c:pt idx="405">
                  <c:v>1.047511518121</c:v>
                </c:pt>
                <c:pt idx="406">
                  <c:v>1.024984388699</c:v>
                </c:pt>
                <c:pt idx="407">
                  <c:v>0.856030918034</c:v>
                </c:pt>
                <c:pt idx="408">
                  <c:v>0.99119369456600004</c:v>
                </c:pt>
                <c:pt idx="409">
                  <c:v>1.047511518121</c:v>
                </c:pt>
                <c:pt idx="410">
                  <c:v>1.0813022122539999</c:v>
                </c:pt>
                <c:pt idx="411">
                  <c:v>1.1263564710980001</c:v>
                </c:pt>
                <c:pt idx="412">
                  <c:v>1.14888360052</c:v>
                </c:pt>
                <c:pt idx="413">
                  <c:v>1.193937859364</c:v>
                </c:pt>
                <c:pt idx="414">
                  <c:v>1.3628913300279999</c:v>
                </c:pt>
                <c:pt idx="415">
                  <c:v>1.419209153583</c:v>
                </c:pt>
                <c:pt idx="416">
                  <c:v>1.644480447803</c:v>
                </c:pt>
                <c:pt idx="417">
                  <c:v>1.802170353757</c:v>
                </c:pt>
                <c:pt idx="418">
                  <c:v>1.9260695655769999</c:v>
                </c:pt>
                <c:pt idx="419">
                  <c:v>1.903542436155</c:v>
                </c:pt>
                <c:pt idx="420">
                  <c:v>2.1062866009530001</c:v>
                </c:pt>
                <c:pt idx="421">
                  <c:v>2.365348589306</c:v>
                </c:pt>
                <c:pt idx="422">
                  <c:v>2.4216664128610002</c:v>
                </c:pt>
                <c:pt idx="423">
                  <c:v>2.5906198835250001</c:v>
                </c:pt>
                <c:pt idx="424">
                  <c:v>2.75957335419</c:v>
                </c:pt>
                <c:pt idx="425">
                  <c:v>3.0298989072540001</c:v>
                </c:pt>
                <c:pt idx="426">
                  <c:v>3.4804414956929999</c:v>
                </c:pt>
                <c:pt idx="427">
                  <c:v>3.6043407075139999</c:v>
                </c:pt>
                <c:pt idx="428">
                  <c:v>3.7732941781779998</c:v>
                </c:pt>
                <c:pt idx="429">
                  <c:v>4.0774104253749996</c:v>
                </c:pt>
                <c:pt idx="430">
                  <c:v>4.392790237282</c:v>
                </c:pt>
                <c:pt idx="431">
                  <c:v>4.5504801432360003</c:v>
                </c:pt>
                <c:pt idx="432">
                  <c:v>4.7644878727449997</c:v>
                </c:pt>
                <c:pt idx="433">
                  <c:v>5.1136583787849998</c:v>
                </c:pt>
                <c:pt idx="434">
                  <c:v>5.3952474965599997</c:v>
                </c:pt>
                <c:pt idx="435">
                  <c:v>5.5078831436689999</c:v>
                </c:pt>
                <c:pt idx="436">
                  <c:v>5.6768366143340003</c:v>
                </c:pt>
                <c:pt idx="437">
                  <c:v>5.6543094849119999</c:v>
                </c:pt>
                <c:pt idx="438">
                  <c:v>5.9696892968200004</c:v>
                </c:pt>
                <c:pt idx="439">
                  <c:v>6.0710613792180004</c:v>
                </c:pt>
                <c:pt idx="440">
                  <c:v>5.9922164262419999</c:v>
                </c:pt>
                <c:pt idx="441">
                  <c:v>6.0710613792180004</c:v>
                </c:pt>
                <c:pt idx="442">
                  <c:v>6.4089683205480004</c:v>
                </c:pt>
                <c:pt idx="443">
                  <c:v>6.78066595601</c:v>
                </c:pt>
                <c:pt idx="444">
                  <c:v>7.3100534974259999</c:v>
                </c:pt>
                <c:pt idx="445">
                  <c:v>7.4790069680910003</c:v>
                </c:pt>
                <c:pt idx="446">
                  <c:v>7.7493325211549999</c:v>
                </c:pt>
                <c:pt idx="447">
                  <c:v>8.1548208507499993</c:v>
                </c:pt>
                <c:pt idx="448">
                  <c:v>8.6729448274549998</c:v>
                </c:pt>
                <c:pt idx="449">
                  <c:v>8.8982161216750004</c:v>
                </c:pt>
                <c:pt idx="450">
                  <c:v>9.0784331570510002</c:v>
                </c:pt>
                <c:pt idx="451">
                  <c:v>9.1572781100270007</c:v>
                </c:pt>
                <c:pt idx="452">
                  <c:v>9.2023323688709997</c:v>
                </c:pt>
                <c:pt idx="453">
                  <c:v>8.9657975099409999</c:v>
                </c:pt>
                <c:pt idx="454">
                  <c:v>9.0559060276289998</c:v>
                </c:pt>
                <c:pt idx="455">
                  <c:v>8.9883246393630003</c:v>
                </c:pt>
                <c:pt idx="456">
                  <c:v>9.1347509806050002</c:v>
                </c:pt>
                <c:pt idx="457">
                  <c:v>8.9883246393630003</c:v>
                </c:pt>
                <c:pt idx="458">
                  <c:v>8.8193711686979999</c:v>
                </c:pt>
                <c:pt idx="459">
                  <c:v>8.6278905686110008</c:v>
                </c:pt>
                <c:pt idx="460">
                  <c:v>8.72926265101</c:v>
                </c:pt>
                <c:pt idx="461">
                  <c:v>8.4702006626579998</c:v>
                </c:pt>
                <c:pt idx="462">
                  <c:v>8.5377820509229991</c:v>
                </c:pt>
                <c:pt idx="463">
                  <c:v>8.3688285802590006</c:v>
                </c:pt>
                <c:pt idx="464">
                  <c:v>8.3575650155479995</c:v>
                </c:pt>
                <c:pt idx="465">
                  <c:v>8.3237743214149997</c:v>
                </c:pt>
                <c:pt idx="466">
                  <c:v>8.4026192743920003</c:v>
                </c:pt>
                <c:pt idx="467">
                  <c:v>8.3125107567040004</c:v>
                </c:pt>
                <c:pt idx="468">
                  <c:v>8.0985030271949991</c:v>
                </c:pt>
                <c:pt idx="469">
                  <c:v>7.6930146975999998</c:v>
                </c:pt>
                <c:pt idx="470">
                  <c:v>7.2762628032940002</c:v>
                </c:pt>
                <c:pt idx="471">
                  <c:v>6.9834101208080002</c:v>
                </c:pt>
                <c:pt idx="472">
                  <c:v>6.8144566501429997</c:v>
                </c:pt>
                <c:pt idx="473">
                  <c:v>6.4314954499699999</c:v>
                </c:pt>
                <c:pt idx="474">
                  <c:v>6.2738055440159997</c:v>
                </c:pt>
                <c:pt idx="475">
                  <c:v>6.6117124853459996</c:v>
                </c:pt>
                <c:pt idx="476">
                  <c:v>6.532867532369</c:v>
                </c:pt>
                <c:pt idx="477">
                  <c:v>6.4652861441029996</c:v>
                </c:pt>
                <c:pt idx="478">
                  <c:v>6.3864411911259999</c:v>
                </c:pt>
                <c:pt idx="479">
                  <c:v>5.8119993908660001</c:v>
                </c:pt>
                <c:pt idx="480">
                  <c:v>5.6655730496230001</c:v>
                </c:pt>
                <c:pt idx="481">
                  <c:v>5.6655730496230001</c:v>
                </c:pt>
                <c:pt idx="482">
                  <c:v>5.2826118494500003</c:v>
                </c:pt>
                <c:pt idx="483">
                  <c:v>5.1023948140739996</c:v>
                </c:pt>
                <c:pt idx="484">
                  <c:v>5.0460769905190004</c:v>
                </c:pt>
                <c:pt idx="485">
                  <c:v>4.8208056962999999</c:v>
                </c:pt>
                <c:pt idx="486">
                  <c:v>4.9221777786979999</c:v>
                </c:pt>
                <c:pt idx="487">
                  <c:v>4.9672320375419998</c:v>
                </c:pt>
                <c:pt idx="488">
                  <c:v>4.6743793550569999</c:v>
                </c:pt>
                <c:pt idx="489">
                  <c:v>4.2576274607500002</c:v>
                </c:pt>
                <c:pt idx="490">
                  <c:v>4.1224646842189996</c:v>
                </c:pt>
                <c:pt idx="491">
                  <c:v>3.8408755664440002</c:v>
                </c:pt>
                <c:pt idx="492">
                  <c:v>3.8859298252880001</c:v>
                </c:pt>
                <c:pt idx="493">
                  <c:v>3.7395034840450001</c:v>
                </c:pt>
                <c:pt idx="494">
                  <c:v>3.7169763546230001</c:v>
                </c:pt>
                <c:pt idx="495">
                  <c:v>3.5705500133810002</c:v>
                </c:pt>
                <c:pt idx="496">
                  <c:v>3.4466508015600001</c:v>
                </c:pt>
                <c:pt idx="497">
                  <c:v>3.367805848583</c:v>
                </c:pt>
                <c:pt idx="498">
                  <c:v>3.22137950734</c:v>
                </c:pt>
                <c:pt idx="499">
                  <c:v>2.8834725660110001</c:v>
                </c:pt>
                <c:pt idx="500">
                  <c:v>2.6919919659240001</c:v>
                </c:pt>
                <c:pt idx="501">
                  <c:v>2.3315578951729998</c:v>
                </c:pt>
                <c:pt idx="502">
                  <c:v>2.1513408597970001</c:v>
                </c:pt>
                <c:pt idx="503">
                  <c:v>1.712061836069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CR_testu_7dni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3.0074E-2</c:v>
                </c:pt>
                <c:pt idx="1">
                  <c:v>5.2435000000000002E-2</c:v>
                </c:pt>
                <c:pt idx="2">
                  <c:v>4.6292E-2</c:v>
                </c:pt>
                <c:pt idx="3">
                  <c:v>0.149538</c:v>
                </c:pt>
                <c:pt idx="4">
                  <c:v>0.188191</c:v>
                </c:pt>
                <c:pt idx="5">
                  <c:v>6.9886000000000004E-2</c:v>
                </c:pt>
                <c:pt idx="6">
                  <c:v>4.4394999999999997E-2</c:v>
                </c:pt>
                <c:pt idx="7">
                  <c:v>6.9422999999999999E-2</c:v>
                </c:pt>
                <c:pt idx="8">
                  <c:v>8.0935999999999994E-2</c:v>
                </c:pt>
                <c:pt idx="9">
                  <c:v>8.2905999999999994E-2</c:v>
                </c:pt>
                <c:pt idx="10">
                  <c:v>0.20478099999999999</c:v>
                </c:pt>
                <c:pt idx="11">
                  <c:v>0.31778800000000001</c:v>
                </c:pt>
                <c:pt idx="12">
                  <c:v>0.224858</c:v>
                </c:pt>
                <c:pt idx="13">
                  <c:v>0.19816500000000001</c:v>
                </c:pt>
                <c:pt idx="14">
                  <c:v>0.18851599999999999</c:v>
                </c:pt>
                <c:pt idx="15">
                  <c:v>0.18325900000000001</c:v>
                </c:pt>
                <c:pt idx="16">
                  <c:v>0.16411600000000001</c:v>
                </c:pt>
                <c:pt idx="17">
                  <c:v>0.19053800000000001</c:v>
                </c:pt>
                <c:pt idx="18">
                  <c:v>0.21329100000000001</c:v>
                </c:pt>
                <c:pt idx="19">
                  <c:v>0.108228</c:v>
                </c:pt>
                <c:pt idx="20">
                  <c:v>4.5204000000000001E-2</c:v>
                </c:pt>
                <c:pt idx="21">
                  <c:v>2.4198999999999998E-2</c:v>
                </c:pt>
                <c:pt idx="22">
                  <c:v>-2.2249000000000001E-2</c:v>
                </c:pt>
                <c:pt idx="23">
                  <c:v>-5.9804999999999997E-2</c:v>
                </c:pt>
                <c:pt idx="24">
                  <c:v>-2.1781999999999999E-2</c:v>
                </c:pt>
                <c:pt idx="25">
                  <c:v>-8.9999999999999998E-4</c:v>
                </c:pt>
                <c:pt idx="26">
                  <c:v>-8.4166000000000005E-2</c:v>
                </c:pt>
                <c:pt idx="27">
                  <c:v>-0.15998200000000001</c:v>
                </c:pt>
                <c:pt idx="28">
                  <c:v>-0.196852</c:v>
                </c:pt>
                <c:pt idx="29">
                  <c:v>-0.21845700000000001</c:v>
                </c:pt>
                <c:pt idx="30">
                  <c:v>-0.21137600000000001</c:v>
                </c:pt>
                <c:pt idx="31">
                  <c:v>-0.17585100000000001</c:v>
                </c:pt>
                <c:pt idx="32">
                  <c:v>-0.15041399999999999</c:v>
                </c:pt>
                <c:pt idx="33">
                  <c:v>-0.17799899999999999</c:v>
                </c:pt>
                <c:pt idx="34">
                  <c:v>-0.13431899999999999</c:v>
                </c:pt>
                <c:pt idx="35">
                  <c:v>-9.4222E-2</c:v>
                </c:pt>
                <c:pt idx="36">
                  <c:v>-8.3239999999999995E-2</c:v>
                </c:pt>
                <c:pt idx="37">
                  <c:v>-7.8410999999999995E-2</c:v>
                </c:pt>
                <c:pt idx="38">
                  <c:v>2.9659999999999999E-3</c:v>
                </c:pt>
                <c:pt idx="39">
                  <c:v>8.2562999999999998E-2</c:v>
                </c:pt>
                <c:pt idx="40">
                  <c:v>5.2729999999999999E-2</c:v>
                </c:pt>
                <c:pt idx="41">
                  <c:v>5.4650000000000002E-3</c:v>
                </c:pt>
                <c:pt idx="42">
                  <c:v>2.3514E-2</c:v>
                </c:pt>
                <c:pt idx="43">
                  <c:v>6.5471000000000001E-2</c:v>
                </c:pt>
                <c:pt idx="44">
                  <c:v>9.9923999999999999E-2</c:v>
                </c:pt>
                <c:pt idx="45">
                  <c:v>0.20727499999999999</c:v>
                </c:pt>
                <c:pt idx="46">
                  <c:v>0.30797799999999997</c:v>
                </c:pt>
                <c:pt idx="47">
                  <c:v>0.231625</c:v>
                </c:pt>
                <c:pt idx="48">
                  <c:v>0.18815200000000001</c:v>
                </c:pt>
                <c:pt idx="49">
                  <c:v>0.16217100000000001</c:v>
                </c:pt>
                <c:pt idx="50">
                  <c:v>0.15190300000000001</c:v>
                </c:pt>
                <c:pt idx="51">
                  <c:v>0.13319900000000001</c:v>
                </c:pt>
                <c:pt idx="52">
                  <c:v>0.15486800000000001</c:v>
                </c:pt>
                <c:pt idx="53">
                  <c:v>0.20454600000000001</c:v>
                </c:pt>
                <c:pt idx="54">
                  <c:v>0.12392400000000001</c:v>
                </c:pt>
                <c:pt idx="55">
                  <c:v>6.0368999999999999E-2</c:v>
                </c:pt>
                <c:pt idx="56">
                  <c:v>3.2682999999999997E-2</c:v>
                </c:pt>
                <c:pt idx="57">
                  <c:v>-2.7518000000000001E-2</c:v>
                </c:pt>
                <c:pt idx="58">
                  <c:v>-7.5171000000000002E-2</c:v>
                </c:pt>
                <c:pt idx="59">
                  <c:v>-7.1312E-2</c:v>
                </c:pt>
                <c:pt idx="60">
                  <c:v>-5.6516999999999998E-2</c:v>
                </c:pt>
                <c:pt idx="61">
                  <c:v>-0.11640300000000001</c:v>
                </c:pt>
                <c:pt idx="62">
                  <c:v>-0.170233</c:v>
                </c:pt>
                <c:pt idx="63">
                  <c:v>-0.182002</c:v>
                </c:pt>
                <c:pt idx="64">
                  <c:v>-0.158299</c:v>
                </c:pt>
                <c:pt idx="65">
                  <c:v>-0.15728900000000001</c:v>
                </c:pt>
                <c:pt idx="66">
                  <c:v>-0.15389800000000001</c:v>
                </c:pt>
                <c:pt idx="67">
                  <c:v>-0.134522</c:v>
                </c:pt>
                <c:pt idx="68">
                  <c:v>-0.18928200000000001</c:v>
                </c:pt>
                <c:pt idx="69">
                  <c:v>-0.21679000000000001</c:v>
                </c:pt>
                <c:pt idx="70">
                  <c:v>-0.231321</c:v>
                </c:pt>
                <c:pt idx="71">
                  <c:v>-0.27933200000000002</c:v>
                </c:pt>
                <c:pt idx="72">
                  <c:v>-0.31312099999999998</c:v>
                </c:pt>
                <c:pt idx="73">
                  <c:v>-0.295404</c:v>
                </c:pt>
                <c:pt idx="74">
                  <c:v>-0.27338000000000001</c:v>
                </c:pt>
                <c:pt idx="75">
                  <c:v>-0.31636700000000001</c:v>
                </c:pt>
                <c:pt idx="76">
                  <c:v>-0.34317300000000001</c:v>
                </c:pt>
                <c:pt idx="77">
                  <c:v>-0.39085799999999998</c:v>
                </c:pt>
                <c:pt idx="78">
                  <c:v>-0.38964100000000002</c:v>
                </c:pt>
                <c:pt idx="79">
                  <c:v>-0.378077</c:v>
                </c:pt>
                <c:pt idx="80">
                  <c:v>-0.33446199999999998</c:v>
                </c:pt>
                <c:pt idx="81">
                  <c:v>-0.28570699999999999</c:v>
                </c:pt>
                <c:pt idx="82">
                  <c:v>-0.33516600000000002</c:v>
                </c:pt>
                <c:pt idx="83">
                  <c:v>-0.30463299999999999</c:v>
                </c:pt>
                <c:pt idx="84">
                  <c:v>-0.220415</c:v>
                </c:pt>
                <c:pt idx="85">
                  <c:v>-0.20410400000000001</c:v>
                </c:pt>
                <c:pt idx="86">
                  <c:v>-0.21491199999999999</c:v>
                </c:pt>
                <c:pt idx="87">
                  <c:v>-0.14849999999999999</c:v>
                </c:pt>
                <c:pt idx="88">
                  <c:v>-0.11307399999999999</c:v>
                </c:pt>
                <c:pt idx="89">
                  <c:v>-0.195877</c:v>
                </c:pt>
                <c:pt idx="90">
                  <c:v>-0.197329</c:v>
                </c:pt>
                <c:pt idx="91">
                  <c:v>-0.22976199999999999</c:v>
                </c:pt>
                <c:pt idx="92">
                  <c:v>-0.21116299999999999</c:v>
                </c:pt>
                <c:pt idx="93">
                  <c:v>-0.194047</c:v>
                </c:pt>
                <c:pt idx="94">
                  <c:v>-0.12501100000000001</c:v>
                </c:pt>
                <c:pt idx="95">
                  <c:v>-6.9797999999999999E-2</c:v>
                </c:pt>
                <c:pt idx="96">
                  <c:v>-0.15792500000000001</c:v>
                </c:pt>
                <c:pt idx="97">
                  <c:v>-0.15118400000000001</c:v>
                </c:pt>
                <c:pt idx="98">
                  <c:v>-0.120729</c:v>
                </c:pt>
                <c:pt idx="99">
                  <c:v>-9.2433000000000001E-2</c:v>
                </c:pt>
                <c:pt idx="100">
                  <c:v>-7.4048000000000003E-2</c:v>
                </c:pt>
                <c:pt idx="101">
                  <c:v>3.2856000000000003E-2</c:v>
                </c:pt>
                <c:pt idx="102">
                  <c:v>9.7572999999999993E-2</c:v>
                </c:pt>
                <c:pt idx="103">
                  <c:v>-4.8040000000000001E-3</c:v>
                </c:pt>
                <c:pt idx="104">
                  <c:v>-7.6189999999999999E-3</c:v>
                </c:pt>
                <c:pt idx="105">
                  <c:v>1.6794E-2</c:v>
                </c:pt>
                <c:pt idx="106">
                  <c:v>4.3001999999999999E-2</c:v>
                </c:pt>
                <c:pt idx="107">
                  <c:v>2.9309000000000002E-2</c:v>
                </c:pt>
                <c:pt idx="108">
                  <c:v>0.105074</c:v>
                </c:pt>
                <c:pt idx="109">
                  <c:v>0.16555500000000001</c:v>
                </c:pt>
                <c:pt idx="110">
                  <c:v>5.2597999999999999E-2</c:v>
                </c:pt>
                <c:pt idx="111">
                  <c:v>1.7745E-2</c:v>
                </c:pt>
                <c:pt idx="112">
                  <c:v>6.0020000000000004E-3</c:v>
                </c:pt>
                <c:pt idx="113">
                  <c:v>2.2407E-2</c:v>
                </c:pt>
                <c:pt idx="114">
                  <c:v>-0.11683499999999999</c:v>
                </c:pt>
                <c:pt idx="115">
                  <c:v>-0.215027</c:v>
                </c:pt>
                <c:pt idx="116">
                  <c:v>-0.260967</c:v>
                </c:pt>
                <c:pt idx="117">
                  <c:v>-0.335509</c:v>
                </c:pt>
                <c:pt idx="118">
                  <c:v>-0.37013000000000001</c:v>
                </c:pt>
                <c:pt idx="119">
                  <c:v>-0.39663100000000001</c:v>
                </c:pt>
                <c:pt idx="120">
                  <c:v>-0.36564600000000003</c:v>
                </c:pt>
                <c:pt idx="121">
                  <c:v>-0.19953399999999999</c:v>
                </c:pt>
                <c:pt idx="122">
                  <c:v>-8.6241999999999999E-2</c:v>
                </c:pt>
                <c:pt idx="123">
                  <c:v>7.1130000000000004E-3</c:v>
                </c:pt>
                <c:pt idx="124">
                  <c:v>-6.1303999999999997E-2</c:v>
                </c:pt>
                <c:pt idx="125">
                  <c:v>-5.6641999999999998E-2</c:v>
                </c:pt>
                <c:pt idx="126">
                  <c:v>-7.8849999999999996E-3</c:v>
                </c:pt>
                <c:pt idx="127">
                  <c:v>9.7710000000000005E-2</c:v>
                </c:pt>
                <c:pt idx="128">
                  <c:v>0.19445799999999999</c:v>
                </c:pt>
                <c:pt idx="129">
                  <c:v>0.34700300000000001</c:v>
                </c:pt>
                <c:pt idx="130">
                  <c:v>0.33971299999999999</c:v>
                </c:pt>
                <c:pt idx="131">
                  <c:v>0.157583</c:v>
                </c:pt>
                <c:pt idx="132">
                  <c:v>6.6553000000000001E-2</c:v>
                </c:pt>
                <c:pt idx="133">
                  <c:v>1.6633999999999999E-2</c:v>
                </c:pt>
                <c:pt idx="134">
                  <c:v>-2.9933000000000001E-2</c:v>
                </c:pt>
                <c:pt idx="135">
                  <c:v>-0.112923</c:v>
                </c:pt>
                <c:pt idx="136">
                  <c:v>-0.19601199999999999</c:v>
                </c:pt>
                <c:pt idx="137">
                  <c:v>-0.20738799999999999</c:v>
                </c:pt>
                <c:pt idx="138">
                  <c:v>-0.276835</c:v>
                </c:pt>
                <c:pt idx="139">
                  <c:v>-0.29592099999999999</c:v>
                </c:pt>
                <c:pt idx="140">
                  <c:v>-0.28154800000000002</c:v>
                </c:pt>
                <c:pt idx="141">
                  <c:v>-0.27067200000000002</c:v>
                </c:pt>
                <c:pt idx="142">
                  <c:v>-0.268513</c:v>
                </c:pt>
                <c:pt idx="143">
                  <c:v>-0.19952600000000001</c:v>
                </c:pt>
                <c:pt idx="144">
                  <c:v>-0.16722999999999999</c:v>
                </c:pt>
                <c:pt idx="145">
                  <c:v>-0.23766300000000001</c:v>
                </c:pt>
                <c:pt idx="146">
                  <c:v>-0.24160300000000001</c:v>
                </c:pt>
                <c:pt idx="147">
                  <c:v>-0.225327</c:v>
                </c:pt>
                <c:pt idx="148">
                  <c:v>-0.18920300000000001</c:v>
                </c:pt>
                <c:pt idx="149">
                  <c:v>-0.18625900000000001</c:v>
                </c:pt>
                <c:pt idx="150">
                  <c:v>-0.106697</c:v>
                </c:pt>
                <c:pt idx="151">
                  <c:v>-5.7043000000000003E-2</c:v>
                </c:pt>
                <c:pt idx="152">
                  <c:v>-0.14738399999999999</c:v>
                </c:pt>
                <c:pt idx="153">
                  <c:v>-0.14457500000000001</c:v>
                </c:pt>
                <c:pt idx="154">
                  <c:v>-0.135959</c:v>
                </c:pt>
                <c:pt idx="155">
                  <c:v>-0.11581900000000001</c:v>
                </c:pt>
                <c:pt idx="156">
                  <c:v>-0.13384599999999999</c:v>
                </c:pt>
                <c:pt idx="157">
                  <c:v>-5.8125999999999997E-2</c:v>
                </c:pt>
                <c:pt idx="158">
                  <c:v>-2.0317000000000002E-2</c:v>
                </c:pt>
                <c:pt idx="159">
                  <c:v>-0.118465</c:v>
                </c:pt>
                <c:pt idx="160">
                  <c:v>-0.140349</c:v>
                </c:pt>
                <c:pt idx="161">
                  <c:v>-0.14354800000000001</c:v>
                </c:pt>
                <c:pt idx="162">
                  <c:v>-0.14110500000000001</c:v>
                </c:pt>
                <c:pt idx="163">
                  <c:v>-0.161555</c:v>
                </c:pt>
                <c:pt idx="164">
                  <c:v>-8.7868000000000002E-2</c:v>
                </c:pt>
                <c:pt idx="165">
                  <c:v>-4.5378000000000002E-2</c:v>
                </c:pt>
                <c:pt idx="166">
                  <c:v>-0.12972900000000001</c:v>
                </c:pt>
                <c:pt idx="167">
                  <c:v>-0.128936</c:v>
                </c:pt>
                <c:pt idx="168">
                  <c:v>-0.11285000000000001</c:v>
                </c:pt>
                <c:pt idx="169">
                  <c:v>-8.2314999999999999E-2</c:v>
                </c:pt>
                <c:pt idx="170">
                  <c:v>-6.8375000000000005E-2</c:v>
                </c:pt>
                <c:pt idx="171">
                  <c:v>4.0451000000000001E-2</c:v>
                </c:pt>
                <c:pt idx="172">
                  <c:v>9.1449000000000003E-2</c:v>
                </c:pt>
                <c:pt idx="173">
                  <c:v>-1.882E-2</c:v>
                </c:pt>
                <c:pt idx="174">
                  <c:v>-3.7929999999999998E-2</c:v>
                </c:pt>
                <c:pt idx="175">
                  <c:v>-1.4104999999999999E-2</c:v>
                </c:pt>
                <c:pt idx="176">
                  <c:v>1.276E-3</c:v>
                </c:pt>
                <c:pt idx="177">
                  <c:v>-1.4747E-2</c:v>
                </c:pt>
                <c:pt idx="178">
                  <c:v>6.2941999999999998E-2</c:v>
                </c:pt>
                <c:pt idx="179">
                  <c:v>0.119438</c:v>
                </c:pt>
                <c:pt idx="180">
                  <c:v>4.692E-3</c:v>
                </c:pt>
                <c:pt idx="181">
                  <c:v>-3.9164999999999998E-2</c:v>
                </c:pt>
                <c:pt idx="182">
                  <c:v>-4.6237E-2</c:v>
                </c:pt>
                <c:pt idx="183">
                  <c:v>-6.8538000000000002E-2</c:v>
                </c:pt>
                <c:pt idx="184">
                  <c:v>-9.5892000000000005E-2</c:v>
                </c:pt>
                <c:pt idx="185">
                  <c:v>-3.9574999999999999E-2</c:v>
                </c:pt>
                <c:pt idx="186">
                  <c:v>-1.5658999999999999E-2</c:v>
                </c:pt>
                <c:pt idx="187">
                  <c:v>-0.112275</c:v>
                </c:pt>
                <c:pt idx="188">
                  <c:v>-0.154806</c:v>
                </c:pt>
                <c:pt idx="189">
                  <c:v>-0.171738</c:v>
                </c:pt>
                <c:pt idx="190">
                  <c:v>-0.17141000000000001</c:v>
                </c:pt>
                <c:pt idx="191">
                  <c:v>-0.19669900000000001</c:v>
                </c:pt>
                <c:pt idx="192">
                  <c:v>-0.14702399999999999</c:v>
                </c:pt>
                <c:pt idx="193">
                  <c:v>-0.122711</c:v>
                </c:pt>
                <c:pt idx="194">
                  <c:v>-0.201852</c:v>
                </c:pt>
                <c:pt idx="195">
                  <c:v>-0.21385199999999999</c:v>
                </c:pt>
                <c:pt idx="196">
                  <c:v>-0.21347099999999999</c:v>
                </c:pt>
                <c:pt idx="197">
                  <c:v>-0.22109400000000001</c:v>
                </c:pt>
                <c:pt idx="198">
                  <c:v>-0.237542</c:v>
                </c:pt>
                <c:pt idx="199">
                  <c:v>-0.190169</c:v>
                </c:pt>
                <c:pt idx="200">
                  <c:v>-0.14426600000000001</c:v>
                </c:pt>
                <c:pt idx="201">
                  <c:v>-0.222664</c:v>
                </c:pt>
                <c:pt idx="202">
                  <c:v>-0.25199199999999999</c:v>
                </c:pt>
                <c:pt idx="203">
                  <c:v>-0.25007000000000001</c:v>
                </c:pt>
                <c:pt idx="204">
                  <c:v>-0.24385399999999999</c:v>
                </c:pt>
                <c:pt idx="205">
                  <c:v>-0.24687799999999999</c:v>
                </c:pt>
                <c:pt idx="206">
                  <c:v>-0.18976399999999999</c:v>
                </c:pt>
                <c:pt idx="207">
                  <c:v>-0.17225199999999999</c:v>
                </c:pt>
                <c:pt idx="208">
                  <c:v>-0.25880900000000001</c:v>
                </c:pt>
                <c:pt idx="209">
                  <c:v>-0.27067799999999997</c:v>
                </c:pt>
                <c:pt idx="210">
                  <c:v>-0.26084299999999999</c:v>
                </c:pt>
                <c:pt idx="211">
                  <c:v>-0.247915</c:v>
                </c:pt>
                <c:pt idx="212">
                  <c:v>-0.24829999999999999</c:v>
                </c:pt>
                <c:pt idx="213">
                  <c:v>-0.23657300000000001</c:v>
                </c:pt>
                <c:pt idx="214">
                  <c:v>-0.213506</c:v>
                </c:pt>
                <c:pt idx="215">
                  <c:v>-0.28738200000000003</c:v>
                </c:pt>
                <c:pt idx="216">
                  <c:v>-0.38637700000000003</c:v>
                </c:pt>
                <c:pt idx="217">
                  <c:v>-0.37913599999999997</c:v>
                </c:pt>
                <c:pt idx="218">
                  <c:v>-0.35760399999999998</c:v>
                </c:pt>
                <c:pt idx="219">
                  <c:v>-0.322243</c:v>
                </c:pt>
                <c:pt idx="220">
                  <c:v>-0.182453</c:v>
                </c:pt>
                <c:pt idx="221">
                  <c:v>-0.13170599999999999</c:v>
                </c:pt>
                <c:pt idx="222">
                  <c:v>-0.14795700000000001</c:v>
                </c:pt>
                <c:pt idx="223">
                  <c:v>-4.2908000000000002E-2</c:v>
                </c:pt>
                <c:pt idx="224">
                  <c:v>-4.4889999999999999E-2</c:v>
                </c:pt>
                <c:pt idx="225">
                  <c:v>-6.8567000000000003E-2</c:v>
                </c:pt>
                <c:pt idx="226">
                  <c:v>-8.9814000000000005E-2</c:v>
                </c:pt>
                <c:pt idx="227">
                  <c:v>-9.2440999999999995E-2</c:v>
                </c:pt>
                <c:pt idx="228">
                  <c:v>-8.5430000000000006E-2</c:v>
                </c:pt>
                <c:pt idx="229">
                  <c:v>-0.17436199999999999</c:v>
                </c:pt>
                <c:pt idx="230">
                  <c:v>-0.25914900000000002</c:v>
                </c:pt>
                <c:pt idx="231">
                  <c:v>-0.24965200000000001</c:v>
                </c:pt>
                <c:pt idx="232">
                  <c:v>-0.20905199999999999</c:v>
                </c:pt>
                <c:pt idx="233">
                  <c:v>-0.18692</c:v>
                </c:pt>
                <c:pt idx="234">
                  <c:v>-0.113346</c:v>
                </c:pt>
                <c:pt idx="235">
                  <c:v>-8.2713999999999996E-2</c:v>
                </c:pt>
                <c:pt idx="236">
                  <c:v>-0.19065399999999999</c:v>
                </c:pt>
                <c:pt idx="237">
                  <c:v>-0.19919999999999999</c:v>
                </c:pt>
                <c:pt idx="238">
                  <c:v>-0.18579899999999999</c:v>
                </c:pt>
                <c:pt idx="239">
                  <c:v>-0.16448099999999999</c:v>
                </c:pt>
                <c:pt idx="240">
                  <c:v>-0.163552</c:v>
                </c:pt>
                <c:pt idx="241">
                  <c:v>-8.7510000000000004E-2</c:v>
                </c:pt>
                <c:pt idx="242">
                  <c:v>-4.5301000000000001E-2</c:v>
                </c:pt>
                <c:pt idx="243">
                  <c:v>-0.147346</c:v>
                </c:pt>
                <c:pt idx="244">
                  <c:v>-0.147754</c:v>
                </c:pt>
                <c:pt idx="245">
                  <c:v>-0.133659</c:v>
                </c:pt>
                <c:pt idx="246">
                  <c:v>-0.154973</c:v>
                </c:pt>
                <c:pt idx="247">
                  <c:v>-0.185332</c:v>
                </c:pt>
                <c:pt idx="248">
                  <c:v>-0.14465900000000001</c:v>
                </c:pt>
                <c:pt idx="249">
                  <c:v>-0.105265</c:v>
                </c:pt>
                <c:pt idx="250">
                  <c:v>-0.19925100000000001</c:v>
                </c:pt>
                <c:pt idx="251">
                  <c:v>-0.172675</c:v>
                </c:pt>
                <c:pt idx="252">
                  <c:v>-0.168681</c:v>
                </c:pt>
                <c:pt idx="253">
                  <c:v>-0.154696</c:v>
                </c:pt>
                <c:pt idx="254">
                  <c:v>-0.16127900000000001</c:v>
                </c:pt>
                <c:pt idx="255">
                  <c:v>-0.11502</c:v>
                </c:pt>
                <c:pt idx="256">
                  <c:v>-5.4725999999999997E-2</c:v>
                </c:pt>
                <c:pt idx="257">
                  <c:v>-0.16453499999999999</c:v>
                </c:pt>
                <c:pt idx="258">
                  <c:v>-3.8578000000000001E-2</c:v>
                </c:pt>
                <c:pt idx="259">
                  <c:v>5.4855000000000001E-2</c:v>
                </c:pt>
                <c:pt idx="260">
                  <c:v>0.15814700000000001</c:v>
                </c:pt>
                <c:pt idx="261">
                  <c:v>0.185225</c:v>
                </c:pt>
                <c:pt idx="262">
                  <c:v>0.300037</c:v>
                </c:pt>
                <c:pt idx="263">
                  <c:v>0.31187599999999999</c:v>
                </c:pt>
                <c:pt idx="264">
                  <c:v>1.7318E-2</c:v>
                </c:pt>
                <c:pt idx="265">
                  <c:v>-4.1570000000000003E-2</c:v>
                </c:pt>
                <c:pt idx="266">
                  <c:v>-0.111053</c:v>
                </c:pt>
                <c:pt idx="267">
                  <c:v>-0.15547</c:v>
                </c:pt>
                <c:pt idx="268">
                  <c:v>-0.23238400000000001</c:v>
                </c:pt>
                <c:pt idx="269">
                  <c:v>-0.23213500000000001</c:v>
                </c:pt>
                <c:pt idx="270">
                  <c:v>-0.18563199999999999</c:v>
                </c:pt>
                <c:pt idx="271">
                  <c:v>-0.29133700000000001</c:v>
                </c:pt>
                <c:pt idx="272">
                  <c:v>-0.23741399999999999</c:v>
                </c:pt>
                <c:pt idx="273">
                  <c:v>-0.19645000000000001</c:v>
                </c:pt>
                <c:pt idx="274">
                  <c:v>-0.125052</c:v>
                </c:pt>
                <c:pt idx="275">
                  <c:v>-8.2663E-2</c:v>
                </c:pt>
                <c:pt idx="276">
                  <c:v>7.7679999999999999E-2</c:v>
                </c:pt>
                <c:pt idx="277">
                  <c:v>0.145867</c:v>
                </c:pt>
                <c:pt idx="278">
                  <c:v>-2.2074E-2</c:v>
                </c:pt>
                <c:pt idx="279">
                  <c:v>3.0724999999999999E-2</c:v>
                </c:pt>
                <c:pt idx="280">
                  <c:v>-1.5925999999999999E-2</c:v>
                </c:pt>
                <c:pt idx="281">
                  <c:v>-1.6524E-2</c:v>
                </c:pt>
                <c:pt idx="282">
                  <c:v>-0.10242</c:v>
                </c:pt>
                <c:pt idx="283">
                  <c:v>-3.7198000000000002E-2</c:v>
                </c:pt>
                <c:pt idx="284">
                  <c:v>-1.6671999999999999E-2</c:v>
                </c:pt>
                <c:pt idx="285">
                  <c:v>-0.16018199999999999</c:v>
                </c:pt>
                <c:pt idx="286">
                  <c:v>-0.126697</c:v>
                </c:pt>
                <c:pt idx="287">
                  <c:v>-0.12642500000000001</c:v>
                </c:pt>
                <c:pt idx="288">
                  <c:v>-9.7673999999999997E-2</c:v>
                </c:pt>
                <c:pt idx="289">
                  <c:v>-6.1987E-2</c:v>
                </c:pt>
                <c:pt idx="290">
                  <c:v>7.5103000000000003E-2</c:v>
                </c:pt>
                <c:pt idx="291">
                  <c:v>0.119695</c:v>
                </c:pt>
                <c:pt idx="292">
                  <c:v>-4.437E-2</c:v>
                </c:pt>
                <c:pt idx="293">
                  <c:v>-3.8259000000000001E-2</c:v>
                </c:pt>
                <c:pt idx="294">
                  <c:v>-8.8266999999999998E-2</c:v>
                </c:pt>
                <c:pt idx="295">
                  <c:v>-0.116358</c:v>
                </c:pt>
                <c:pt idx="296">
                  <c:v>-0.18327399999999999</c:v>
                </c:pt>
                <c:pt idx="297">
                  <c:v>-0.16925899999999999</c:v>
                </c:pt>
                <c:pt idx="298">
                  <c:v>-8.9373999999999995E-2</c:v>
                </c:pt>
                <c:pt idx="299">
                  <c:v>-0.19187299999999999</c:v>
                </c:pt>
                <c:pt idx="300">
                  <c:v>-0.15010000000000001</c:v>
                </c:pt>
                <c:pt idx="301">
                  <c:v>-3.9412999999999997E-2</c:v>
                </c:pt>
                <c:pt idx="302">
                  <c:v>4.2095E-2</c:v>
                </c:pt>
                <c:pt idx="303">
                  <c:v>0.14412900000000001</c:v>
                </c:pt>
                <c:pt idx="304">
                  <c:v>0.34656599999999999</c:v>
                </c:pt>
                <c:pt idx="305">
                  <c:v>0.470084</c:v>
                </c:pt>
                <c:pt idx="306">
                  <c:v>0.31007699999999999</c:v>
                </c:pt>
                <c:pt idx="307">
                  <c:v>0.138317</c:v>
                </c:pt>
                <c:pt idx="308">
                  <c:v>-8.1045000000000006E-2</c:v>
                </c:pt>
                <c:pt idx="309">
                  <c:v>-0.231347</c:v>
                </c:pt>
                <c:pt idx="310">
                  <c:v>-0.35026200000000002</c:v>
                </c:pt>
                <c:pt idx="311">
                  <c:v>-0.41513600000000001</c:v>
                </c:pt>
                <c:pt idx="312">
                  <c:v>-0.43572300000000003</c:v>
                </c:pt>
                <c:pt idx="313">
                  <c:v>-0.44075900000000001</c:v>
                </c:pt>
                <c:pt idx="314">
                  <c:v>-0.32143899999999997</c:v>
                </c:pt>
                <c:pt idx="315">
                  <c:v>-0.17183999999999999</c:v>
                </c:pt>
                <c:pt idx="316">
                  <c:v>-0.11973200000000001</c:v>
                </c:pt>
                <c:pt idx="317">
                  <c:v>-4.7861000000000001E-2</c:v>
                </c:pt>
                <c:pt idx="318">
                  <c:v>0.11876100000000001</c:v>
                </c:pt>
                <c:pt idx="319">
                  <c:v>0.315388</c:v>
                </c:pt>
                <c:pt idx="320">
                  <c:v>0.18992700000000001</c:v>
                </c:pt>
                <c:pt idx="321">
                  <c:v>8.4816000000000003E-2</c:v>
                </c:pt>
                <c:pt idx="322">
                  <c:v>-1.1166000000000001E-2</c:v>
                </c:pt>
                <c:pt idx="323">
                  <c:v>-6.7155999999999993E-2</c:v>
                </c:pt>
                <c:pt idx="324">
                  <c:v>-0.11966300000000001</c:v>
                </c:pt>
                <c:pt idx="325">
                  <c:v>-9.9598999999999993E-2</c:v>
                </c:pt>
                <c:pt idx="326">
                  <c:v>-6.1051000000000001E-2</c:v>
                </c:pt>
                <c:pt idx="327">
                  <c:v>-0.116143</c:v>
                </c:pt>
                <c:pt idx="328">
                  <c:v>-0.111441</c:v>
                </c:pt>
                <c:pt idx="329">
                  <c:v>-8.7474999999999997E-2</c:v>
                </c:pt>
                <c:pt idx="330">
                  <c:v>-0.10523100000000001</c:v>
                </c:pt>
                <c:pt idx="331">
                  <c:v>-0.13234699999999999</c:v>
                </c:pt>
                <c:pt idx="332">
                  <c:v>-6.0664000000000003E-2</c:v>
                </c:pt>
                <c:pt idx="333">
                  <c:v>3.4026000000000001E-2</c:v>
                </c:pt>
                <c:pt idx="334">
                  <c:v>-4.0304E-2</c:v>
                </c:pt>
                <c:pt idx="335">
                  <c:v>-4.9563999999999997E-2</c:v>
                </c:pt>
                <c:pt idx="336">
                  <c:v>-4.1397000000000003E-2</c:v>
                </c:pt>
                <c:pt idx="337">
                  <c:v>-8.3843000000000001E-2</c:v>
                </c:pt>
                <c:pt idx="338">
                  <c:v>-0.123464</c:v>
                </c:pt>
                <c:pt idx="339">
                  <c:v>-8.6099999999999996E-2</c:v>
                </c:pt>
                <c:pt idx="340">
                  <c:v>-2.5928E-2</c:v>
                </c:pt>
                <c:pt idx="341">
                  <c:v>-7.5850000000000001E-2</c:v>
                </c:pt>
                <c:pt idx="342">
                  <c:v>-0.10198</c:v>
                </c:pt>
                <c:pt idx="343">
                  <c:v>-9.3768000000000004E-2</c:v>
                </c:pt>
                <c:pt idx="344">
                  <c:v>-0.111877</c:v>
                </c:pt>
                <c:pt idx="345">
                  <c:v>-0.156449</c:v>
                </c:pt>
                <c:pt idx="346">
                  <c:v>-0.116924</c:v>
                </c:pt>
                <c:pt idx="347">
                  <c:v>-5.3793000000000001E-2</c:v>
                </c:pt>
                <c:pt idx="348">
                  <c:v>-0.12539700000000001</c:v>
                </c:pt>
                <c:pt idx="349">
                  <c:v>-0.13194400000000001</c:v>
                </c:pt>
                <c:pt idx="350">
                  <c:v>-0.12629099999999999</c:v>
                </c:pt>
                <c:pt idx="351">
                  <c:v>-0.152309</c:v>
                </c:pt>
                <c:pt idx="352">
                  <c:v>-0.19688600000000001</c:v>
                </c:pt>
                <c:pt idx="353">
                  <c:v>-0.18329400000000001</c:v>
                </c:pt>
                <c:pt idx="354">
                  <c:v>-0.15351200000000001</c:v>
                </c:pt>
                <c:pt idx="355">
                  <c:v>-0.20091400000000001</c:v>
                </c:pt>
                <c:pt idx="356">
                  <c:v>-0.21406900000000001</c:v>
                </c:pt>
                <c:pt idx="357">
                  <c:v>-0.212066</c:v>
                </c:pt>
                <c:pt idx="358">
                  <c:v>-0.24190500000000001</c:v>
                </c:pt>
                <c:pt idx="359">
                  <c:v>-0.28736600000000001</c:v>
                </c:pt>
                <c:pt idx="360">
                  <c:v>-0.28545199999999998</c:v>
                </c:pt>
                <c:pt idx="361">
                  <c:v>-0.26613999999999999</c:v>
                </c:pt>
                <c:pt idx="362">
                  <c:v>-0.33318999999999999</c:v>
                </c:pt>
                <c:pt idx="363">
                  <c:v>-0.33131300000000002</c:v>
                </c:pt>
                <c:pt idx="364">
                  <c:v>-0.27246700000000001</c:v>
                </c:pt>
                <c:pt idx="365">
                  <c:v>-0.17469100000000001</c:v>
                </c:pt>
                <c:pt idx="366">
                  <c:v>-2.3931000000000001E-2</c:v>
                </c:pt>
                <c:pt idx="367">
                  <c:v>7.8933000000000003E-2</c:v>
                </c:pt>
                <c:pt idx="368">
                  <c:v>0.18856600000000001</c:v>
                </c:pt>
                <c:pt idx="369">
                  <c:v>0.113216</c:v>
                </c:pt>
                <c:pt idx="370">
                  <c:v>0.16681000000000001</c:v>
                </c:pt>
                <c:pt idx="371">
                  <c:v>8.7621000000000004E-2</c:v>
                </c:pt>
                <c:pt idx="372">
                  <c:v>-0.13201399999999999</c:v>
                </c:pt>
                <c:pt idx="373">
                  <c:v>-0.241065</c:v>
                </c:pt>
                <c:pt idx="374">
                  <c:v>-0.176704</c:v>
                </c:pt>
                <c:pt idx="375">
                  <c:v>-0.14430999999999999</c:v>
                </c:pt>
                <c:pt idx="376">
                  <c:v>-0.26388800000000001</c:v>
                </c:pt>
                <c:pt idx="377">
                  <c:v>-0.391652</c:v>
                </c:pt>
                <c:pt idx="378">
                  <c:v>-0.44141200000000003</c:v>
                </c:pt>
                <c:pt idx="379">
                  <c:v>-0.41408099999999998</c:v>
                </c:pt>
                <c:pt idx="380">
                  <c:v>-0.34337299999999998</c:v>
                </c:pt>
                <c:pt idx="381">
                  <c:v>-0.323716</c:v>
                </c:pt>
                <c:pt idx="382">
                  <c:v>-0.29632900000000001</c:v>
                </c:pt>
                <c:pt idx="383">
                  <c:v>-0.33968100000000001</c:v>
                </c:pt>
                <c:pt idx="384">
                  <c:v>-0.24520900000000001</c:v>
                </c:pt>
                <c:pt idx="385">
                  <c:v>-0.15448000000000001</c:v>
                </c:pt>
                <c:pt idx="386">
                  <c:v>-0.12623300000000001</c:v>
                </c:pt>
                <c:pt idx="387">
                  <c:v>-8.9437000000000003E-2</c:v>
                </c:pt>
                <c:pt idx="388">
                  <c:v>1.9016999999999999E-2</c:v>
                </c:pt>
                <c:pt idx="389">
                  <c:v>9.0594999999999995E-2</c:v>
                </c:pt>
                <c:pt idx="390">
                  <c:v>-1.0253999999999999E-2</c:v>
                </c:pt>
                <c:pt idx="391">
                  <c:v>-2.3118E-2</c:v>
                </c:pt>
                <c:pt idx="392">
                  <c:v>-9.4107999999999997E-2</c:v>
                </c:pt>
                <c:pt idx="393">
                  <c:v>-0.16400000000000001</c:v>
                </c:pt>
                <c:pt idx="394">
                  <c:v>-0.22597900000000001</c:v>
                </c:pt>
                <c:pt idx="395">
                  <c:v>-0.22131300000000001</c:v>
                </c:pt>
                <c:pt idx="396">
                  <c:v>-0.20751700000000001</c:v>
                </c:pt>
                <c:pt idx="397">
                  <c:v>-0.27477400000000002</c:v>
                </c:pt>
                <c:pt idx="398">
                  <c:v>-0.249359</c:v>
                </c:pt>
                <c:pt idx="399">
                  <c:v>-0.195495</c:v>
                </c:pt>
                <c:pt idx="400">
                  <c:v>-0.20383299999999999</c:v>
                </c:pt>
                <c:pt idx="401">
                  <c:v>-0.21458199999999999</c:v>
                </c:pt>
                <c:pt idx="402">
                  <c:v>-0.11930399999999999</c:v>
                </c:pt>
                <c:pt idx="403">
                  <c:v>-4.9644000000000001E-2</c:v>
                </c:pt>
                <c:pt idx="404">
                  <c:v>-0.129218</c:v>
                </c:pt>
                <c:pt idx="405">
                  <c:v>-0.1222</c:v>
                </c:pt>
                <c:pt idx="406">
                  <c:v>-0.151866</c:v>
                </c:pt>
                <c:pt idx="407">
                  <c:v>-0.115665</c:v>
                </c:pt>
                <c:pt idx="408">
                  <c:v>-7.5719999999999996E-2</c:v>
                </c:pt>
                <c:pt idx="409">
                  <c:v>3.4666000000000002E-2</c:v>
                </c:pt>
                <c:pt idx="410">
                  <c:v>9.5715999999999996E-2</c:v>
                </c:pt>
                <c:pt idx="411">
                  <c:v>1.9925999999999999E-2</c:v>
                </c:pt>
                <c:pt idx="412">
                  <c:v>3.6912E-2</c:v>
                </c:pt>
                <c:pt idx="413">
                  <c:v>3.4535000000000003E-2</c:v>
                </c:pt>
                <c:pt idx="414">
                  <c:v>1.4164E-2</c:v>
                </c:pt>
                <c:pt idx="415">
                  <c:v>4.0584000000000002E-2</c:v>
                </c:pt>
                <c:pt idx="416">
                  <c:v>0.17055699999999999</c:v>
                </c:pt>
                <c:pt idx="417">
                  <c:v>0.27522200000000002</c:v>
                </c:pt>
                <c:pt idx="418">
                  <c:v>0.18385499999999999</c:v>
                </c:pt>
                <c:pt idx="419">
                  <c:v>0.17680499999999999</c:v>
                </c:pt>
                <c:pt idx="420">
                  <c:v>0.25295000000000001</c:v>
                </c:pt>
                <c:pt idx="421">
                  <c:v>0.32805299999999998</c:v>
                </c:pt>
                <c:pt idx="422">
                  <c:v>0.24099699999999999</c:v>
                </c:pt>
                <c:pt idx="423">
                  <c:v>0.249311</c:v>
                </c:pt>
                <c:pt idx="424">
                  <c:v>0.28519299999999997</c:v>
                </c:pt>
                <c:pt idx="425">
                  <c:v>0.16959299999999999</c:v>
                </c:pt>
                <c:pt idx="426">
                  <c:v>0.115605</c:v>
                </c:pt>
                <c:pt idx="427">
                  <c:v>9.6450000000000008E-3</c:v>
                </c:pt>
                <c:pt idx="428">
                  <c:v>-7.5704999999999995E-2</c:v>
                </c:pt>
                <c:pt idx="429">
                  <c:v>-7.9749E-2</c:v>
                </c:pt>
                <c:pt idx="430">
                  <c:v>-4.3746E-2</c:v>
                </c:pt>
                <c:pt idx="431">
                  <c:v>-3.7055999999999999E-2</c:v>
                </c:pt>
                <c:pt idx="432">
                  <c:v>-0.17296400000000001</c:v>
                </c:pt>
                <c:pt idx="433">
                  <c:v>-0.24957799999999999</c:v>
                </c:pt>
                <c:pt idx="434">
                  <c:v>-0.188472</c:v>
                </c:pt>
                <c:pt idx="435">
                  <c:v>-8.3156999999999995E-2</c:v>
                </c:pt>
                <c:pt idx="436">
                  <c:v>-4.7808000000000003E-2</c:v>
                </c:pt>
                <c:pt idx="437">
                  <c:v>4.1585999999999998E-2</c:v>
                </c:pt>
                <c:pt idx="438">
                  <c:v>0.134381</c:v>
                </c:pt>
                <c:pt idx="439">
                  <c:v>8.3666000000000004E-2</c:v>
                </c:pt>
                <c:pt idx="440">
                  <c:v>0.114881</c:v>
                </c:pt>
                <c:pt idx="441">
                  <c:v>0.17335600000000001</c:v>
                </c:pt>
                <c:pt idx="442">
                  <c:v>0.104154</c:v>
                </c:pt>
                <c:pt idx="443">
                  <c:v>2.7921000000000001E-2</c:v>
                </c:pt>
                <c:pt idx="444">
                  <c:v>8.2764000000000004E-2</c:v>
                </c:pt>
                <c:pt idx="445">
                  <c:v>0.148342</c:v>
                </c:pt>
                <c:pt idx="446">
                  <c:v>4.4326999999999998E-2</c:v>
                </c:pt>
                <c:pt idx="447">
                  <c:v>-2.7625E-2</c:v>
                </c:pt>
                <c:pt idx="448">
                  <c:v>5.0130000000000001E-3</c:v>
                </c:pt>
                <c:pt idx="449">
                  <c:v>8.3670999999999995E-2</c:v>
                </c:pt>
                <c:pt idx="450">
                  <c:v>9.6852999999999995E-2</c:v>
                </c:pt>
                <c:pt idx="451">
                  <c:v>0.12815399999999999</c:v>
                </c:pt>
                <c:pt idx="452">
                  <c:v>0.16689899999999999</c:v>
                </c:pt>
                <c:pt idx="453">
                  <c:v>8.7832999999999994E-2</c:v>
                </c:pt>
                <c:pt idx="454">
                  <c:v>3.3960999999999998E-2</c:v>
                </c:pt>
                <c:pt idx="455">
                  <c:v>3.9406999999999998E-2</c:v>
                </c:pt>
                <c:pt idx="456">
                  <c:v>-2.5177999999999999E-2</c:v>
                </c:pt>
                <c:pt idx="457">
                  <c:v>-7.6000999999999999E-2</c:v>
                </c:pt>
                <c:pt idx="458">
                  <c:v>-5.2020999999999998E-2</c:v>
                </c:pt>
                <c:pt idx="459">
                  <c:v>-3.2613999999999997E-2</c:v>
                </c:pt>
                <c:pt idx="460">
                  <c:v>-0.118691</c:v>
                </c:pt>
                <c:pt idx="461">
                  <c:v>-0.16176199999999999</c:v>
                </c:pt>
                <c:pt idx="462">
                  <c:v>-0.17055100000000001</c:v>
                </c:pt>
                <c:pt idx="463">
                  <c:v>-0.18654899999999999</c:v>
                </c:pt>
                <c:pt idx="464">
                  <c:v>-0.20402500000000001</c:v>
                </c:pt>
                <c:pt idx="465">
                  <c:v>-0.19021399999999999</c:v>
                </c:pt>
                <c:pt idx="466">
                  <c:v>-0.16117699999999999</c:v>
                </c:pt>
                <c:pt idx="467">
                  <c:v>-0.22139700000000001</c:v>
                </c:pt>
                <c:pt idx="468">
                  <c:v>-0.24589</c:v>
                </c:pt>
                <c:pt idx="469">
                  <c:v>-0.229106</c:v>
                </c:pt>
                <c:pt idx="470">
                  <c:v>-0.233908</c:v>
                </c:pt>
                <c:pt idx="471">
                  <c:v>-0.23145199999999999</c:v>
                </c:pt>
                <c:pt idx="472">
                  <c:v>-0.20232</c:v>
                </c:pt>
                <c:pt idx="473">
                  <c:v>-0.16509299999999999</c:v>
                </c:pt>
                <c:pt idx="474">
                  <c:v>-0.22092100000000001</c:v>
                </c:pt>
                <c:pt idx="475">
                  <c:v>-0.247502</c:v>
                </c:pt>
                <c:pt idx="476">
                  <c:v>-0.23535600000000001</c:v>
                </c:pt>
                <c:pt idx="477">
                  <c:v>-0.216751</c:v>
                </c:pt>
                <c:pt idx="478">
                  <c:v>-0.18407499999999999</c:v>
                </c:pt>
                <c:pt idx="479">
                  <c:v>-0.230518</c:v>
                </c:pt>
                <c:pt idx="480">
                  <c:v>-0.25135999999999997</c:v>
                </c:pt>
                <c:pt idx="481">
                  <c:v>-0.32652900000000001</c:v>
                </c:pt>
                <c:pt idx="482">
                  <c:v>-0.35722199999999998</c:v>
                </c:pt>
                <c:pt idx="483">
                  <c:v>-0.37840299999999999</c:v>
                </c:pt>
                <c:pt idx="484">
                  <c:v>-0.45592700000000003</c:v>
                </c:pt>
                <c:pt idx="485">
                  <c:v>-0.49260900000000002</c:v>
                </c:pt>
                <c:pt idx="486">
                  <c:v>-0.38560899999999998</c:v>
                </c:pt>
                <c:pt idx="487">
                  <c:v>-0.35449700000000001</c:v>
                </c:pt>
                <c:pt idx="488">
                  <c:v>-0.39660499999999999</c:v>
                </c:pt>
                <c:pt idx="489">
                  <c:v>-0.334845</c:v>
                </c:pt>
                <c:pt idx="490">
                  <c:v>-0.23635400000000001</c:v>
                </c:pt>
                <c:pt idx="491">
                  <c:v>-0.12156599999999999</c:v>
                </c:pt>
                <c:pt idx="492">
                  <c:v>0.102696</c:v>
                </c:pt>
                <c:pt idx="493">
                  <c:v>0.26872499999999999</c:v>
                </c:pt>
                <c:pt idx="494">
                  <c:v>0.35361799999999999</c:v>
                </c:pt>
                <c:pt idx="495">
                  <c:v>0.15537699999999999</c:v>
                </c:pt>
                <c:pt idx="496">
                  <c:v>9.8785999999999999E-2</c:v>
                </c:pt>
                <c:pt idx="497">
                  <c:v>0.13616700000000001</c:v>
                </c:pt>
                <c:pt idx="498">
                  <c:v>0.12714800000000001</c:v>
                </c:pt>
                <c:pt idx="499">
                  <c:v>7.6618000000000006E-2</c:v>
                </c:pt>
                <c:pt idx="500">
                  <c:v>9.7229999999999997E-2</c:v>
                </c:pt>
                <c:pt idx="501">
                  <c:v>0.107088</c:v>
                </c:pt>
                <c:pt idx="502">
                  <c:v>-1.0017E-2</c:v>
                </c:pt>
                <c:pt idx="503">
                  <c:v>-0.174018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Novych_JIP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0.37036999999999998</c:v>
                </c:pt>
                <c:pt idx="1">
                  <c:v>0.36666599999999999</c:v>
                </c:pt>
                <c:pt idx="2">
                  <c:v>0.228571</c:v>
                </c:pt>
                <c:pt idx="3">
                  <c:v>0.38235200000000003</c:v>
                </c:pt>
                <c:pt idx="4">
                  <c:v>0.24324299999999999</c:v>
                </c:pt>
                <c:pt idx="5">
                  <c:v>0.222222</c:v>
                </c:pt>
                <c:pt idx="6">
                  <c:v>0.230769</c:v>
                </c:pt>
                <c:pt idx="7">
                  <c:v>8.8887999999999995E-2</c:v>
                </c:pt>
                <c:pt idx="8">
                  <c:v>6.25E-2</c:v>
                </c:pt>
                <c:pt idx="9">
                  <c:v>-9.4339000000000006E-2</c:v>
                </c:pt>
                <c:pt idx="10">
                  <c:v>-3.9215E-2</c:v>
                </c:pt>
                <c:pt idx="11">
                  <c:v>0</c:v>
                </c:pt>
                <c:pt idx="12">
                  <c:v>7.8431000000000001E-2</c:v>
                </c:pt>
                <c:pt idx="13">
                  <c:v>1.7857000000000001E-2</c:v>
                </c:pt>
                <c:pt idx="14">
                  <c:v>0.10169400000000001</c:v>
                </c:pt>
                <c:pt idx="15">
                  <c:v>0.163636</c:v>
                </c:pt>
                <c:pt idx="16">
                  <c:v>0.27118599999999998</c:v>
                </c:pt>
                <c:pt idx="17">
                  <c:v>0.63636300000000001</c:v>
                </c:pt>
                <c:pt idx="18">
                  <c:v>0.816666</c:v>
                </c:pt>
                <c:pt idx="19">
                  <c:v>0.828125</c:v>
                </c:pt>
                <c:pt idx="20">
                  <c:v>0.94520499999999996</c:v>
                </c:pt>
                <c:pt idx="21">
                  <c:v>1.0135130000000001</c:v>
                </c:pt>
                <c:pt idx="22">
                  <c:v>1.063291</c:v>
                </c:pt>
                <c:pt idx="23">
                  <c:v>0.76237600000000005</c:v>
                </c:pt>
                <c:pt idx="24">
                  <c:v>0.53043399999999996</c:v>
                </c:pt>
                <c:pt idx="25">
                  <c:v>0.40476099999999998</c:v>
                </c:pt>
                <c:pt idx="26">
                  <c:v>0.23841000000000001</c:v>
                </c:pt>
                <c:pt idx="27">
                  <c:v>0.18787799999999999</c:v>
                </c:pt>
                <c:pt idx="28">
                  <c:v>0.168604</c:v>
                </c:pt>
                <c:pt idx="29">
                  <c:v>9.8445000000000005E-2</c:v>
                </c:pt>
                <c:pt idx="30">
                  <c:v>0.12871199999999999</c:v>
                </c:pt>
                <c:pt idx="31">
                  <c:v>0.20297000000000001</c:v>
                </c:pt>
                <c:pt idx="32">
                  <c:v>0.32843099999999997</c:v>
                </c:pt>
                <c:pt idx="33">
                  <c:v>0.24782599999999999</c:v>
                </c:pt>
                <c:pt idx="34">
                  <c:v>0.32589200000000002</c:v>
                </c:pt>
                <c:pt idx="35">
                  <c:v>0.44680799999999998</c:v>
                </c:pt>
                <c:pt idx="36">
                  <c:v>0.46123999999999998</c:v>
                </c:pt>
                <c:pt idx="37">
                  <c:v>0.47939999999999999</c:v>
                </c:pt>
                <c:pt idx="38">
                  <c:v>0.47474699999999997</c:v>
                </c:pt>
                <c:pt idx="39">
                  <c:v>0.49681500000000001</c:v>
                </c:pt>
                <c:pt idx="40">
                  <c:v>0.41176400000000002</c:v>
                </c:pt>
                <c:pt idx="41">
                  <c:v>0.39945599999999998</c:v>
                </c:pt>
                <c:pt idx="42">
                  <c:v>0.28223799999999999</c:v>
                </c:pt>
                <c:pt idx="43">
                  <c:v>0.25169999999999998</c:v>
                </c:pt>
                <c:pt idx="44">
                  <c:v>0.22012499999999999</c:v>
                </c:pt>
                <c:pt idx="45">
                  <c:v>0.162213</c:v>
                </c:pt>
                <c:pt idx="46">
                  <c:v>0.14149100000000001</c:v>
                </c:pt>
                <c:pt idx="47">
                  <c:v>0.125</c:v>
                </c:pt>
                <c:pt idx="48">
                  <c:v>0.10033400000000001</c:v>
                </c:pt>
                <c:pt idx="49">
                  <c:v>0.136436</c:v>
                </c:pt>
                <c:pt idx="50">
                  <c:v>0.18885399999999999</c:v>
                </c:pt>
                <c:pt idx="51">
                  <c:v>0.18958</c:v>
                </c:pt>
                <c:pt idx="52">
                  <c:v>0.24304500000000001</c:v>
                </c:pt>
                <c:pt idx="53">
                  <c:v>0.30924800000000002</c:v>
                </c:pt>
                <c:pt idx="54">
                  <c:v>0.272117</c:v>
                </c:pt>
                <c:pt idx="55">
                  <c:v>0.31226199999999998</c:v>
                </c:pt>
                <c:pt idx="56">
                  <c:v>0.23148099999999999</c:v>
                </c:pt>
                <c:pt idx="57">
                  <c:v>0.14410400000000001</c:v>
                </c:pt>
                <c:pt idx="58">
                  <c:v>0.150313</c:v>
                </c:pt>
                <c:pt idx="59">
                  <c:v>0.144897</c:v>
                </c:pt>
                <c:pt idx="60">
                  <c:v>0.113026</c:v>
                </c:pt>
                <c:pt idx="61">
                  <c:v>1.4847000000000001E-2</c:v>
                </c:pt>
                <c:pt idx="62">
                  <c:v>-4.0099999999999997E-2</c:v>
                </c:pt>
                <c:pt idx="63">
                  <c:v>-3.3222000000000002E-2</c:v>
                </c:pt>
                <c:pt idx="64">
                  <c:v>-5.5198999999999998E-2</c:v>
                </c:pt>
                <c:pt idx="65">
                  <c:v>-9.2208999999999999E-2</c:v>
                </c:pt>
                <c:pt idx="66">
                  <c:v>-9.5901E-2</c:v>
                </c:pt>
                <c:pt idx="67">
                  <c:v>-0.14461499999999999</c:v>
                </c:pt>
                <c:pt idx="68">
                  <c:v>-0.18736</c:v>
                </c:pt>
                <c:pt idx="69">
                  <c:v>-0.209372</c:v>
                </c:pt>
                <c:pt idx="70">
                  <c:v>-0.22861400000000001</c:v>
                </c:pt>
                <c:pt idx="71">
                  <c:v>-0.27083299999999999</c:v>
                </c:pt>
                <c:pt idx="72">
                  <c:v>-0.28000000000000003</c:v>
                </c:pt>
                <c:pt idx="73">
                  <c:v>-0.29929800000000001</c:v>
                </c:pt>
                <c:pt idx="74">
                  <c:v>-0.28432099999999999</c:v>
                </c:pt>
                <c:pt idx="75">
                  <c:v>-0.32058500000000001</c:v>
                </c:pt>
                <c:pt idx="76">
                  <c:v>-0.31517099999999998</c:v>
                </c:pt>
                <c:pt idx="77">
                  <c:v>-0.32805600000000001</c:v>
                </c:pt>
                <c:pt idx="78">
                  <c:v>-0.32229099999999999</c:v>
                </c:pt>
                <c:pt idx="79">
                  <c:v>-0.32439899999999999</c:v>
                </c:pt>
                <c:pt idx="80">
                  <c:v>-0.28140700000000002</c:v>
                </c:pt>
                <c:pt idx="81">
                  <c:v>-0.24737899999999999</c:v>
                </c:pt>
                <c:pt idx="82">
                  <c:v>-0.230849</c:v>
                </c:pt>
                <c:pt idx="83">
                  <c:v>-0.21734300000000001</c:v>
                </c:pt>
                <c:pt idx="84">
                  <c:v>-0.19885700000000001</c:v>
                </c:pt>
                <c:pt idx="85">
                  <c:v>-0.21774099999999999</c:v>
                </c:pt>
                <c:pt idx="86">
                  <c:v>-0.22894400000000001</c:v>
                </c:pt>
                <c:pt idx="87">
                  <c:v>-0.240786</c:v>
                </c:pt>
                <c:pt idx="88">
                  <c:v>-0.24937899999999999</c:v>
                </c:pt>
                <c:pt idx="89">
                  <c:v>-0.30926500000000001</c:v>
                </c:pt>
                <c:pt idx="90">
                  <c:v>-0.295597</c:v>
                </c:pt>
                <c:pt idx="91">
                  <c:v>-0.32025300000000001</c:v>
                </c:pt>
                <c:pt idx="92">
                  <c:v>-0.28909299999999999</c:v>
                </c:pt>
                <c:pt idx="93">
                  <c:v>-0.243835</c:v>
                </c:pt>
                <c:pt idx="94">
                  <c:v>-0.21590899999999999</c:v>
                </c:pt>
                <c:pt idx="95">
                  <c:v>-0.20845900000000001</c:v>
                </c:pt>
                <c:pt idx="96">
                  <c:v>-0.18540999999999999</c:v>
                </c:pt>
                <c:pt idx="97">
                  <c:v>-9.2083999999999999E-2</c:v>
                </c:pt>
                <c:pt idx="98">
                  <c:v>-8.0951999999999996E-2</c:v>
                </c:pt>
                <c:pt idx="99">
                  <c:v>-0.102523</c:v>
                </c:pt>
                <c:pt idx="100">
                  <c:v>-7.9113000000000003E-2</c:v>
                </c:pt>
                <c:pt idx="101">
                  <c:v>-3.6065E-2</c:v>
                </c:pt>
                <c:pt idx="102">
                  <c:v>4.3844000000000001E-2</c:v>
                </c:pt>
                <c:pt idx="103">
                  <c:v>-3.2507000000000001E-2</c:v>
                </c:pt>
                <c:pt idx="104">
                  <c:v>-5.4857999999999997E-2</c:v>
                </c:pt>
                <c:pt idx="105">
                  <c:v>-7.0996000000000004E-2</c:v>
                </c:pt>
                <c:pt idx="106">
                  <c:v>-5.1851000000000001E-2</c:v>
                </c:pt>
                <c:pt idx="107">
                  <c:v>-5.9880000000000003E-2</c:v>
                </c:pt>
                <c:pt idx="108">
                  <c:v>-5.6128999999999998E-2</c:v>
                </c:pt>
                <c:pt idx="109">
                  <c:v>-8.5014000000000006E-2</c:v>
                </c:pt>
                <c:pt idx="110">
                  <c:v>-9.9579000000000001E-2</c:v>
                </c:pt>
                <c:pt idx="111">
                  <c:v>-6.5123E-2</c:v>
                </c:pt>
                <c:pt idx="112">
                  <c:v>-6.9155999999999995E-2</c:v>
                </c:pt>
                <c:pt idx="113">
                  <c:v>-8.9917999999999998E-2</c:v>
                </c:pt>
                <c:pt idx="114">
                  <c:v>-7.7241000000000004E-2</c:v>
                </c:pt>
                <c:pt idx="115">
                  <c:v>-6.6297999999999996E-2</c:v>
                </c:pt>
                <c:pt idx="116">
                  <c:v>-2.2315000000000002E-2</c:v>
                </c:pt>
                <c:pt idx="117">
                  <c:v>-8.1740000000000007E-3</c:v>
                </c:pt>
                <c:pt idx="118">
                  <c:v>1.5768000000000001E-2</c:v>
                </c:pt>
                <c:pt idx="119">
                  <c:v>5.5412000000000003E-2</c:v>
                </c:pt>
                <c:pt idx="120">
                  <c:v>0.116644</c:v>
                </c:pt>
                <c:pt idx="121">
                  <c:v>0.19146099999999999</c:v>
                </c:pt>
                <c:pt idx="122">
                  <c:v>0.18829499999999999</c:v>
                </c:pt>
                <c:pt idx="123">
                  <c:v>0.14074</c:v>
                </c:pt>
                <c:pt idx="124">
                  <c:v>0.10635799999999999</c:v>
                </c:pt>
                <c:pt idx="125">
                  <c:v>5.5674000000000001E-2</c:v>
                </c:pt>
                <c:pt idx="126">
                  <c:v>3.0366000000000001E-2</c:v>
                </c:pt>
                <c:pt idx="127">
                  <c:v>-5.9049999999999997E-3</c:v>
                </c:pt>
                <c:pt idx="128">
                  <c:v>-5.1059E-2</c:v>
                </c:pt>
                <c:pt idx="129">
                  <c:v>-1.3539000000000001E-2</c:v>
                </c:pt>
                <c:pt idx="130">
                  <c:v>-7.5040000000000003E-3</c:v>
                </c:pt>
                <c:pt idx="131">
                  <c:v>-6.1441999999999997E-2</c:v>
                </c:pt>
                <c:pt idx="132">
                  <c:v>-9.3449000000000004E-2</c:v>
                </c:pt>
                <c:pt idx="133">
                  <c:v>-9.1622999999999996E-2</c:v>
                </c:pt>
                <c:pt idx="134">
                  <c:v>-0.11575199999999999</c:v>
                </c:pt>
                <c:pt idx="135">
                  <c:v>-9.1467999999999994E-2</c:v>
                </c:pt>
                <c:pt idx="136">
                  <c:v>-0.112262</c:v>
                </c:pt>
                <c:pt idx="137">
                  <c:v>-0.151337</c:v>
                </c:pt>
                <c:pt idx="138">
                  <c:v>-0.191029</c:v>
                </c:pt>
                <c:pt idx="139">
                  <c:v>-0.191666</c:v>
                </c:pt>
                <c:pt idx="140">
                  <c:v>-0.19609499999999999</c:v>
                </c:pt>
                <c:pt idx="141">
                  <c:v>-0.20392399999999999</c:v>
                </c:pt>
                <c:pt idx="142">
                  <c:v>-0.23389799999999999</c:v>
                </c:pt>
                <c:pt idx="143">
                  <c:v>-0.21856</c:v>
                </c:pt>
                <c:pt idx="144">
                  <c:v>-0.209532</c:v>
                </c:pt>
                <c:pt idx="145">
                  <c:v>-0.224107</c:v>
                </c:pt>
                <c:pt idx="146">
                  <c:v>-0.22903499999999999</c:v>
                </c:pt>
                <c:pt idx="147">
                  <c:v>-0.218691</c:v>
                </c:pt>
                <c:pt idx="148">
                  <c:v>-0.223584</c:v>
                </c:pt>
                <c:pt idx="149">
                  <c:v>-0.21564800000000001</c:v>
                </c:pt>
                <c:pt idx="150">
                  <c:v>-0.186254</c:v>
                </c:pt>
                <c:pt idx="151">
                  <c:v>-0.13664499999999999</c:v>
                </c:pt>
                <c:pt idx="152">
                  <c:v>-0.15484500000000001</c:v>
                </c:pt>
                <c:pt idx="153">
                  <c:v>-0.137435</c:v>
                </c:pt>
                <c:pt idx="154">
                  <c:v>-8.3509E-2</c:v>
                </c:pt>
                <c:pt idx="155">
                  <c:v>-7.3760999999999993E-2</c:v>
                </c:pt>
                <c:pt idx="156">
                  <c:v>-6.7637000000000003E-2</c:v>
                </c:pt>
                <c:pt idx="157">
                  <c:v>-6.0831999999999997E-2</c:v>
                </c:pt>
                <c:pt idx="158">
                  <c:v>-4.1799999999999997E-2</c:v>
                </c:pt>
                <c:pt idx="159">
                  <c:v>-4.6247999999999997E-2</c:v>
                </c:pt>
                <c:pt idx="160">
                  <c:v>-4.5592000000000001E-2</c:v>
                </c:pt>
                <c:pt idx="161">
                  <c:v>-5.1567000000000002E-2</c:v>
                </c:pt>
                <c:pt idx="162">
                  <c:v>-5.0880000000000002E-2</c:v>
                </c:pt>
                <c:pt idx="163">
                  <c:v>-3.2384000000000003E-2</c:v>
                </c:pt>
                <c:pt idx="164">
                  <c:v>-1.9723000000000001E-2</c:v>
                </c:pt>
                <c:pt idx="165">
                  <c:v>-4.4790000000000003E-2</c:v>
                </c:pt>
                <c:pt idx="166">
                  <c:v>-8.6997000000000005E-2</c:v>
                </c:pt>
                <c:pt idx="167">
                  <c:v>-8.5792999999999994E-2</c:v>
                </c:pt>
                <c:pt idx="168">
                  <c:v>-5.9523E-2</c:v>
                </c:pt>
                <c:pt idx="169">
                  <c:v>-7.263E-2</c:v>
                </c:pt>
                <c:pt idx="170">
                  <c:v>-6.3562999999999995E-2</c:v>
                </c:pt>
                <c:pt idx="171">
                  <c:v>-1.9730000000000001E-2</c:v>
                </c:pt>
                <c:pt idx="172">
                  <c:v>9.01E-4</c:v>
                </c:pt>
                <c:pt idx="173">
                  <c:v>-9.7169999999999999E-3</c:v>
                </c:pt>
                <c:pt idx="174">
                  <c:v>-6.8430000000000001E-3</c:v>
                </c:pt>
                <c:pt idx="175">
                  <c:v>-3.3305000000000001E-2</c:v>
                </c:pt>
                <c:pt idx="176">
                  <c:v>-3.7344000000000002E-2</c:v>
                </c:pt>
                <c:pt idx="177">
                  <c:v>-1.4704999999999999E-2</c:v>
                </c:pt>
                <c:pt idx="178">
                  <c:v>-3.5742999999999997E-2</c:v>
                </c:pt>
                <c:pt idx="179">
                  <c:v>-7.2049999999999996E-3</c:v>
                </c:pt>
                <c:pt idx="180">
                  <c:v>-3.7205000000000002E-2</c:v>
                </c:pt>
                <c:pt idx="181">
                  <c:v>-7.4679999999999998E-3</c:v>
                </c:pt>
                <c:pt idx="182">
                  <c:v>2.5486999999999999E-2</c:v>
                </c:pt>
                <c:pt idx="183">
                  <c:v>4.3255000000000002E-2</c:v>
                </c:pt>
                <c:pt idx="184">
                  <c:v>4.9084000000000003E-2</c:v>
                </c:pt>
                <c:pt idx="185">
                  <c:v>8.1277000000000002E-2</c:v>
                </c:pt>
                <c:pt idx="186">
                  <c:v>4.4776000000000003E-2</c:v>
                </c:pt>
                <c:pt idx="187">
                  <c:v>-2.9508E-2</c:v>
                </c:pt>
                <c:pt idx="188">
                  <c:v>-5.5627000000000003E-2</c:v>
                </c:pt>
                <c:pt idx="189">
                  <c:v>-8.3333000000000004E-2</c:v>
                </c:pt>
                <c:pt idx="190">
                  <c:v>-0.100855</c:v>
                </c:pt>
                <c:pt idx="191">
                  <c:v>-0.11097600000000001</c:v>
                </c:pt>
                <c:pt idx="192">
                  <c:v>-0.116797</c:v>
                </c:pt>
                <c:pt idx="193">
                  <c:v>-0.106253</c:v>
                </c:pt>
                <c:pt idx="194">
                  <c:v>-0.13977800000000001</c:v>
                </c:pt>
                <c:pt idx="195">
                  <c:v>-0.120238</c:v>
                </c:pt>
                <c:pt idx="196">
                  <c:v>-0.12831000000000001</c:v>
                </c:pt>
                <c:pt idx="197">
                  <c:v>-0.13936799999999999</c:v>
                </c:pt>
                <c:pt idx="198">
                  <c:v>-0.15379999999999999</c:v>
                </c:pt>
                <c:pt idx="199">
                  <c:v>-0.167985</c:v>
                </c:pt>
                <c:pt idx="200">
                  <c:v>-0.17896000000000001</c:v>
                </c:pt>
                <c:pt idx="201">
                  <c:v>-0.226239</c:v>
                </c:pt>
                <c:pt idx="202">
                  <c:v>-0.24338599999999999</c:v>
                </c:pt>
                <c:pt idx="203">
                  <c:v>-0.251635</c:v>
                </c:pt>
                <c:pt idx="204">
                  <c:v>-0.24188599999999999</c:v>
                </c:pt>
                <c:pt idx="205">
                  <c:v>-0.21198700000000001</c:v>
                </c:pt>
                <c:pt idx="206">
                  <c:v>-0.19295899999999999</c:v>
                </c:pt>
                <c:pt idx="207">
                  <c:v>-0.200132</c:v>
                </c:pt>
                <c:pt idx="208">
                  <c:v>-0.221639</c:v>
                </c:pt>
                <c:pt idx="209">
                  <c:v>-0.22079599999999999</c:v>
                </c:pt>
                <c:pt idx="210">
                  <c:v>-0.22809399999999999</c:v>
                </c:pt>
                <c:pt idx="211">
                  <c:v>-0.24912999999999999</c:v>
                </c:pt>
                <c:pt idx="212">
                  <c:v>-0.26752500000000001</c:v>
                </c:pt>
                <c:pt idx="213">
                  <c:v>-0.27801999999999999</c:v>
                </c:pt>
                <c:pt idx="214">
                  <c:v>-0.26980500000000002</c:v>
                </c:pt>
                <c:pt idx="215">
                  <c:v>-0.29585699999999998</c:v>
                </c:pt>
                <c:pt idx="216">
                  <c:v>-0.31978499999999999</c:v>
                </c:pt>
                <c:pt idx="217">
                  <c:v>-0.30579800000000001</c:v>
                </c:pt>
                <c:pt idx="218">
                  <c:v>-0.29844599999999999</c:v>
                </c:pt>
                <c:pt idx="219">
                  <c:v>-0.26555600000000001</c:v>
                </c:pt>
                <c:pt idx="220">
                  <c:v>-0.25606400000000001</c:v>
                </c:pt>
                <c:pt idx="221">
                  <c:v>-0.24653700000000001</c:v>
                </c:pt>
                <c:pt idx="222">
                  <c:v>-0.24429600000000001</c:v>
                </c:pt>
                <c:pt idx="223">
                  <c:v>-0.22558500000000001</c:v>
                </c:pt>
                <c:pt idx="224">
                  <c:v>-0.24230299999999999</c:v>
                </c:pt>
                <c:pt idx="225">
                  <c:v>-0.25458199999999997</c:v>
                </c:pt>
                <c:pt idx="226">
                  <c:v>-0.26560800000000001</c:v>
                </c:pt>
                <c:pt idx="227">
                  <c:v>-0.26254</c:v>
                </c:pt>
                <c:pt idx="228">
                  <c:v>-0.28412799999999999</c:v>
                </c:pt>
                <c:pt idx="229">
                  <c:v>-0.30011100000000002</c:v>
                </c:pt>
                <c:pt idx="230">
                  <c:v>-0.30666599999999999</c:v>
                </c:pt>
                <c:pt idx="231">
                  <c:v>-0.31445000000000001</c:v>
                </c:pt>
                <c:pt idx="232">
                  <c:v>-0.31418000000000001</c:v>
                </c:pt>
                <c:pt idx="233">
                  <c:v>-0.31328299999999998</c:v>
                </c:pt>
                <c:pt idx="234">
                  <c:v>-0.31697599999999998</c:v>
                </c:pt>
                <c:pt idx="235">
                  <c:v>-0.30140800000000001</c:v>
                </c:pt>
                <c:pt idx="236">
                  <c:v>-0.322714</c:v>
                </c:pt>
                <c:pt idx="237">
                  <c:v>-0.36</c:v>
                </c:pt>
                <c:pt idx="238">
                  <c:v>-0.35595700000000002</c:v>
                </c:pt>
                <c:pt idx="239">
                  <c:v>-0.321766</c:v>
                </c:pt>
                <c:pt idx="240">
                  <c:v>-0.34410299999999999</c:v>
                </c:pt>
                <c:pt idx="241">
                  <c:v>-0.30769200000000002</c:v>
                </c:pt>
                <c:pt idx="242">
                  <c:v>-0.321299</c:v>
                </c:pt>
                <c:pt idx="243">
                  <c:v>-0.33027499999999999</c:v>
                </c:pt>
                <c:pt idx="244">
                  <c:v>-0.29622199999999999</c:v>
                </c:pt>
                <c:pt idx="245">
                  <c:v>-0.29799900000000001</c:v>
                </c:pt>
                <c:pt idx="246">
                  <c:v>-0.32567800000000002</c:v>
                </c:pt>
                <c:pt idx="247">
                  <c:v>-0.32751000000000002</c:v>
                </c:pt>
                <c:pt idx="248">
                  <c:v>-0.30237999999999998</c:v>
                </c:pt>
                <c:pt idx="249">
                  <c:v>-0.31678400000000001</c:v>
                </c:pt>
                <c:pt idx="250">
                  <c:v>-0.32195099999999999</c:v>
                </c:pt>
                <c:pt idx="251">
                  <c:v>-0.33251199999999997</c:v>
                </c:pt>
                <c:pt idx="252">
                  <c:v>-0.33333299999999999</c:v>
                </c:pt>
                <c:pt idx="253">
                  <c:v>-0.30252099999999998</c:v>
                </c:pt>
                <c:pt idx="254">
                  <c:v>-0.30144900000000002</c:v>
                </c:pt>
                <c:pt idx="255">
                  <c:v>-0.26707999999999998</c:v>
                </c:pt>
                <c:pt idx="256">
                  <c:v>-0.31076900000000002</c:v>
                </c:pt>
                <c:pt idx="257">
                  <c:v>-0.35126499999999999</c:v>
                </c:pt>
                <c:pt idx="258">
                  <c:v>-0.40506300000000001</c:v>
                </c:pt>
                <c:pt idx="259">
                  <c:v>-0.43537399999999998</c:v>
                </c:pt>
                <c:pt idx="260">
                  <c:v>-0.42181800000000003</c:v>
                </c:pt>
                <c:pt idx="261">
                  <c:v>-0.468864</c:v>
                </c:pt>
                <c:pt idx="262">
                  <c:v>-0.47430800000000001</c:v>
                </c:pt>
                <c:pt idx="263">
                  <c:v>-0.439834</c:v>
                </c:pt>
                <c:pt idx="264">
                  <c:v>-0.43805300000000003</c:v>
                </c:pt>
                <c:pt idx="265">
                  <c:v>-0.43127900000000002</c:v>
                </c:pt>
                <c:pt idx="266">
                  <c:v>-0.44444400000000001</c:v>
                </c:pt>
                <c:pt idx="267">
                  <c:v>-0.4269</c:v>
                </c:pt>
                <c:pt idx="268">
                  <c:v>-0.42424200000000001</c:v>
                </c:pt>
                <c:pt idx="269">
                  <c:v>-0.47368399999999999</c:v>
                </c:pt>
                <c:pt idx="270">
                  <c:v>-0.53472200000000003</c:v>
                </c:pt>
                <c:pt idx="271">
                  <c:v>-0.52482200000000001</c:v>
                </c:pt>
                <c:pt idx="272">
                  <c:v>-0.5</c:v>
                </c:pt>
                <c:pt idx="273">
                  <c:v>-0.50413200000000002</c:v>
                </c:pt>
                <c:pt idx="274">
                  <c:v>-0.51401799999999997</c:v>
                </c:pt>
                <c:pt idx="275">
                  <c:v>-0.469999</c:v>
                </c:pt>
                <c:pt idx="276">
                  <c:v>-0.34883700000000001</c:v>
                </c:pt>
                <c:pt idx="277">
                  <c:v>-0.31578899999999999</c:v>
                </c:pt>
                <c:pt idx="278">
                  <c:v>-0.41025600000000001</c:v>
                </c:pt>
                <c:pt idx="279">
                  <c:v>-0.41176400000000002</c:v>
                </c:pt>
                <c:pt idx="280">
                  <c:v>-0.38235200000000003</c:v>
                </c:pt>
                <c:pt idx="281">
                  <c:v>-0.387096</c:v>
                </c:pt>
                <c:pt idx="282">
                  <c:v>-0.47540900000000003</c:v>
                </c:pt>
                <c:pt idx="283">
                  <c:v>-0.586206</c:v>
                </c:pt>
                <c:pt idx="284">
                  <c:v>-0.50909000000000004</c:v>
                </c:pt>
                <c:pt idx="285">
                  <c:v>-0.52941099999999996</c:v>
                </c:pt>
                <c:pt idx="286">
                  <c:v>-0.54347800000000002</c:v>
                </c:pt>
                <c:pt idx="287">
                  <c:v>-0.652173</c:v>
                </c:pt>
                <c:pt idx="288">
                  <c:v>-0.64285700000000001</c:v>
                </c:pt>
                <c:pt idx="289">
                  <c:v>-0.5625</c:v>
                </c:pt>
                <c:pt idx="290">
                  <c:v>-0.37930999999999998</c:v>
                </c:pt>
                <c:pt idx="291">
                  <c:v>-0.48148099999999999</c:v>
                </c:pt>
                <c:pt idx="292">
                  <c:v>-0.38461499999999998</c:v>
                </c:pt>
                <c:pt idx="293">
                  <c:v>-0.36363600000000001</c:v>
                </c:pt>
                <c:pt idx="294">
                  <c:v>-0.31578899999999999</c:v>
                </c:pt>
                <c:pt idx="295">
                  <c:v>-0.44444400000000001</c:v>
                </c:pt>
                <c:pt idx="296">
                  <c:v>-0.5</c:v>
                </c:pt>
                <c:pt idx="297">
                  <c:v>-0.47368399999999999</c:v>
                </c:pt>
                <c:pt idx="298">
                  <c:v>-0.4375</c:v>
                </c:pt>
                <c:pt idx="299">
                  <c:v>-0.5625</c:v>
                </c:pt>
                <c:pt idx="300">
                  <c:v>-0.28571400000000002</c:v>
                </c:pt>
                <c:pt idx="301">
                  <c:v>0</c:v>
                </c:pt>
                <c:pt idx="302">
                  <c:v>0.25</c:v>
                </c:pt>
                <c:pt idx="303">
                  <c:v>0.14285700000000001</c:v>
                </c:pt>
                <c:pt idx="304">
                  <c:v>0.1</c:v>
                </c:pt>
                <c:pt idx="305">
                  <c:v>0.222222</c:v>
                </c:pt>
                <c:pt idx="306">
                  <c:v>0.2</c:v>
                </c:pt>
                <c:pt idx="307">
                  <c:v>-0.15384600000000001</c:v>
                </c:pt>
                <c:pt idx="308">
                  <c:v>-0.46666600000000003</c:v>
                </c:pt>
                <c:pt idx="309">
                  <c:v>-0.61111099999999996</c:v>
                </c:pt>
                <c:pt idx="310">
                  <c:v>-0.6875</c:v>
                </c:pt>
                <c:pt idx="311">
                  <c:v>-0.45454499999999998</c:v>
                </c:pt>
                <c:pt idx="312">
                  <c:v>-0.41666599999999998</c:v>
                </c:pt>
                <c:pt idx="313">
                  <c:v>-0.5</c:v>
                </c:pt>
                <c:pt idx="314">
                  <c:v>-0.36363600000000001</c:v>
                </c:pt>
                <c:pt idx="315">
                  <c:v>-0.111111</c:v>
                </c:pt>
                <c:pt idx="316">
                  <c:v>0.375</c:v>
                </c:pt>
                <c:pt idx="317">
                  <c:v>0.83333299999999999</c:v>
                </c:pt>
                <c:pt idx="318">
                  <c:v>0.71428499999999995</c:v>
                </c:pt>
                <c:pt idx="319">
                  <c:v>0.5</c:v>
                </c:pt>
                <c:pt idx="320">
                  <c:v>0.33333299999999999</c:v>
                </c:pt>
                <c:pt idx="321">
                  <c:v>0.5</c:v>
                </c:pt>
                <c:pt idx="322">
                  <c:v>0</c:v>
                </c:pt>
                <c:pt idx="323">
                  <c:v>-8.3333000000000004E-2</c:v>
                </c:pt>
                <c:pt idx="324">
                  <c:v>0.15384600000000001</c:v>
                </c:pt>
                <c:pt idx="325">
                  <c:v>7.6923000000000005E-2</c:v>
                </c:pt>
                <c:pt idx="326">
                  <c:v>0</c:v>
                </c:pt>
                <c:pt idx="327">
                  <c:v>-7.1428000000000005E-2</c:v>
                </c:pt>
                <c:pt idx="328">
                  <c:v>-7.6923000000000005E-2</c:v>
                </c:pt>
                <c:pt idx="329">
                  <c:v>-0.2</c:v>
                </c:pt>
                <c:pt idx="330">
                  <c:v>-0.375</c:v>
                </c:pt>
                <c:pt idx="331">
                  <c:v>-0.4375</c:v>
                </c:pt>
                <c:pt idx="332">
                  <c:v>-0.28571400000000002</c:v>
                </c:pt>
                <c:pt idx="333">
                  <c:v>-0.14285700000000001</c:v>
                </c:pt>
                <c:pt idx="334">
                  <c:v>-0.14285700000000001</c:v>
                </c:pt>
                <c:pt idx="335">
                  <c:v>0</c:v>
                </c:pt>
                <c:pt idx="336">
                  <c:v>0.15384600000000001</c:v>
                </c:pt>
                <c:pt idx="337">
                  <c:v>7.1428000000000005E-2</c:v>
                </c:pt>
                <c:pt idx="338">
                  <c:v>0</c:v>
                </c:pt>
                <c:pt idx="339">
                  <c:v>0</c:v>
                </c:pt>
                <c:pt idx="340">
                  <c:v>-7.6923000000000005E-2</c:v>
                </c:pt>
                <c:pt idx="341">
                  <c:v>0</c:v>
                </c:pt>
                <c:pt idx="342">
                  <c:v>-0.125</c:v>
                </c:pt>
                <c:pt idx="343">
                  <c:v>-0.125</c:v>
                </c:pt>
                <c:pt idx="344">
                  <c:v>6.6666000000000003E-2</c:v>
                </c:pt>
                <c:pt idx="345">
                  <c:v>0.28571400000000002</c:v>
                </c:pt>
                <c:pt idx="346">
                  <c:v>0.14285700000000001</c:v>
                </c:pt>
                <c:pt idx="347">
                  <c:v>6.6666000000000003E-2</c:v>
                </c:pt>
                <c:pt idx="348">
                  <c:v>-0.125</c:v>
                </c:pt>
                <c:pt idx="349">
                  <c:v>-0.117647</c:v>
                </c:pt>
                <c:pt idx="350">
                  <c:v>-5.8823E-2</c:v>
                </c:pt>
                <c:pt idx="351">
                  <c:v>-5.5555E-2</c:v>
                </c:pt>
                <c:pt idx="352">
                  <c:v>5.2630999999999997E-2</c:v>
                </c:pt>
                <c:pt idx="353">
                  <c:v>0.277777</c:v>
                </c:pt>
                <c:pt idx="354">
                  <c:v>0.29411700000000002</c:v>
                </c:pt>
                <c:pt idx="355">
                  <c:v>0.29411700000000002</c:v>
                </c:pt>
                <c:pt idx="356">
                  <c:v>0.105263</c:v>
                </c:pt>
                <c:pt idx="357">
                  <c:v>-0.05</c:v>
                </c:pt>
                <c:pt idx="358">
                  <c:v>-0.227272</c:v>
                </c:pt>
                <c:pt idx="359">
                  <c:v>-0.45833299999999999</c:v>
                </c:pt>
                <c:pt idx="360">
                  <c:v>-0.5</c:v>
                </c:pt>
                <c:pt idx="361">
                  <c:v>-0.47826000000000002</c:v>
                </c:pt>
                <c:pt idx="362">
                  <c:v>-0.54166599999999998</c:v>
                </c:pt>
                <c:pt idx="363">
                  <c:v>-0.60869499999999999</c:v>
                </c:pt>
                <c:pt idx="364">
                  <c:v>-0.57142800000000005</c:v>
                </c:pt>
                <c:pt idx="365">
                  <c:v>-0.44444400000000001</c:v>
                </c:pt>
                <c:pt idx="366">
                  <c:v>-0.3125</c:v>
                </c:pt>
                <c:pt idx="367">
                  <c:v>0</c:v>
                </c:pt>
                <c:pt idx="368">
                  <c:v>0.25</c:v>
                </c:pt>
                <c:pt idx="369">
                  <c:v>0.54545399999999999</c:v>
                </c:pt>
                <c:pt idx="370">
                  <c:v>1.0909089999999999</c:v>
                </c:pt>
                <c:pt idx="371">
                  <c:v>1.0833330000000001</c:v>
                </c:pt>
                <c:pt idx="372">
                  <c:v>0.91666599999999998</c:v>
                </c:pt>
                <c:pt idx="373">
                  <c:v>0.4375</c:v>
                </c:pt>
                <c:pt idx="374">
                  <c:v>0.4375</c:v>
                </c:pt>
                <c:pt idx="375">
                  <c:v>0.41176400000000002</c:v>
                </c:pt>
                <c:pt idx="376">
                  <c:v>0.13043399999999999</c:v>
                </c:pt>
                <c:pt idx="377">
                  <c:v>3.7037E-2</c:v>
                </c:pt>
                <c:pt idx="378">
                  <c:v>0.26923000000000002</c:v>
                </c:pt>
                <c:pt idx="379">
                  <c:v>0.4</c:v>
                </c:pt>
                <c:pt idx="380">
                  <c:v>0.42857099999999998</c:v>
                </c:pt>
                <c:pt idx="381">
                  <c:v>0.44444400000000001</c:v>
                </c:pt>
                <c:pt idx="382">
                  <c:v>0.35714200000000002</c:v>
                </c:pt>
                <c:pt idx="383">
                  <c:v>0.117647</c:v>
                </c:pt>
                <c:pt idx="384">
                  <c:v>-8.1081E-2</c:v>
                </c:pt>
                <c:pt idx="385">
                  <c:v>-0.16666600000000001</c:v>
                </c:pt>
                <c:pt idx="386">
                  <c:v>-0.30952299999999999</c:v>
                </c:pt>
                <c:pt idx="387">
                  <c:v>-0.36363600000000001</c:v>
                </c:pt>
                <c:pt idx="388">
                  <c:v>-0.26190400000000003</c:v>
                </c:pt>
                <c:pt idx="389">
                  <c:v>-0.16666600000000001</c:v>
                </c:pt>
                <c:pt idx="390">
                  <c:v>-0.238095</c:v>
                </c:pt>
                <c:pt idx="391">
                  <c:v>-0.205128</c:v>
                </c:pt>
                <c:pt idx="392">
                  <c:v>0</c:v>
                </c:pt>
                <c:pt idx="393">
                  <c:v>-2.8570999999999999E-2</c:v>
                </c:pt>
                <c:pt idx="394">
                  <c:v>0</c:v>
                </c:pt>
                <c:pt idx="395">
                  <c:v>-0.131578</c:v>
                </c:pt>
                <c:pt idx="396">
                  <c:v>-0.13888800000000001</c:v>
                </c:pt>
                <c:pt idx="397">
                  <c:v>0.114285</c:v>
                </c:pt>
                <c:pt idx="398">
                  <c:v>0.162162</c:v>
                </c:pt>
                <c:pt idx="399">
                  <c:v>0.52777700000000005</c:v>
                </c:pt>
                <c:pt idx="400">
                  <c:v>0.78048700000000004</c:v>
                </c:pt>
                <c:pt idx="401">
                  <c:v>0.74999899999999997</c:v>
                </c:pt>
                <c:pt idx="402">
                  <c:v>0.92105199999999998</c:v>
                </c:pt>
                <c:pt idx="403">
                  <c:v>0.92499900000000002</c:v>
                </c:pt>
                <c:pt idx="404">
                  <c:v>0.63043400000000005</c:v>
                </c:pt>
                <c:pt idx="405">
                  <c:v>0.52459</c:v>
                </c:pt>
                <c:pt idx="406">
                  <c:v>0.18181800000000001</c:v>
                </c:pt>
                <c:pt idx="407">
                  <c:v>-1.2987E-2</c:v>
                </c:pt>
                <c:pt idx="408">
                  <c:v>0.12820500000000001</c:v>
                </c:pt>
                <c:pt idx="409">
                  <c:v>0.13414599999999999</c:v>
                </c:pt>
                <c:pt idx="410">
                  <c:v>0.14285700000000001</c:v>
                </c:pt>
                <c:pt idx="411">
                  <c:v>0</c:v>
                </c:pt>
                <c:pt idx="412">
                  <c:v>-6.4219999999999999E-2</c:v>
                </c:pt>
                <c:pt idx="413">
                  <c:v>8.1631999999999996E-2</c:v>
                </c:pt>
                <c:pt idx="414">
                  <c:v>0.31521700000000002</c:v>
                </c:pt>
                <c:pt idx="415">
                  <c:v>0.24752399999999999</c:v>
                </c:pt>
                <c:pt idx="416">
                  <c:v>0.39047599999999999</c:v>
                </c:pt>
                <c:pt idx="417">
                  <c:v>0.49532700000000002</c:v>
                </c:pt>
                <c:pt idx="418">
                  <c:v>0.34645599999999999</c:v>
                </c:pt>
                <c:pt idx="419">
                  <c:v>0.385245</c:v>
                </c:pt>
                <c:pt idx="420">
                  <c:v>0.46093699999999999</c:v>
                </c:pt>
                <c:pt idx="421">
                  <c:v>0.47887299999999999</c:v>
                </c:pt>
                <c:pt idx="422">
                  <c:v>0.35220099999999999</c:v>
                </c:pt>
                <c:pt idx="423">
                  <c:v>0.33720899999999998</c:v>
                </c:pt>
                <c:pt idx="424">
                  <c:v>0.34615299999999999</c:v>
                </c:pt>
                <c:pt idx="425">
                  <c:v>0.372448</c:v>
                </c:pt>
                <c:pt idx="426">
                  <c:v>0.492753</c:v>
                </c:pt>
                <c:pt idx="427">
                  <c:v>0.37930999999999998</c:v>
                </c:pt>
                <c:pt idx="428">
                  <c:v>0.419491</c:v>
                </c:pt>
                <c:pt idx="429">
                  <c:v>0.37642500000000001</c:v>
                </c:pt>
                <c:pt idx="430">
                  <c:v>0.439114</c:v>
                </c:pt>
                <c:pt idx="431">
                  <c:v>0.38831599999999999</c:v>
                </c:pt>
                <c:pt idx="432">
                  <c:v>0.26646700000000001</c:v>
                </c:pt>
                <c:pt idx="433">
                  <c:v>0.26815600000000001</c:v>
                </c:pt>
                <c:pt idx="434">
                  <c:v>0.26052599999999998</c:v>
                </c:pt>
                <c:pt idx="435">
                  <c:v>0.26030900000000001</c:v>
                </c:pt>
                <c:pt idx="436">
                  <c:v>0.15068400000000001</c:v>
                </c:pt>
                <c:pt idx="437">
                  <c:v>0.12808900000000001</c:v>
                </c:pt>
                <c:pt idx="438">
                  <c:v>0.13006300000000001</c:v>
                </c:pt>
                <c:pt idx="439">
                  <c:v>3.8535E-2</c:v>
                </c:pt>
                <c:pt idx="440">
                  <c:v>7.5750000000000001E-3</c:v>
                </c:pt>
                <c:pt idx="441">
                  <c:v>-1.8214000000000001E-2</c:v>
                </c:pt>
                <c:pt idx="442">
                  <c:v>2.1543E-2</c:v>
                </c:pt>
                <c:pt idx="443">
                  <c:v>4.1522000000000003E-2</c:v>
                </c:pt>
                <c:pt idx="444">
                  <c:v>0.109401</c:v>
                </c:pt>
                <c:pt idx="445">
                  <c:v>9.9336999999999995E-2</c:v>
                </c:pt>
                <c:pt idx="446">
                  <c:v>9.5541000000000001E-2</c:v>
                </c:pt>
                <c:pt idx="447">
                  <c:v>0.18107599999999999</c:v>
                </c:pt>
                <c:pt idx="448">
                  <c:v>0.20500699999999999</c:v>
                </c:pt>
                <c:pt idx="449">
                  <c:v>0.17910400000000001</c:v>
                </c:pt>
                <c:pt idx="450">
                  <c:v>0.114799</c:v>
                </c:pt>
                <c:pt idx="451">
                  <c:v>8.8353000000000001E-2</c:v>
                </c:pt>
                <c:pt idx="452">
                  <c:v>7.2178000000000006E-2</c:v>
                </c:pt>
                <c:pt idx="453">
                  <c:v>-2.0910000000000002E-2</c:v>
                </c:pt>
                <c:pt idx="454">
                  <c:v>-5.5229E-2</c:v>
                </c:pt>
                <c:pt idx="455">
                  <c:v>-0.10337</c:v>
                </c:pt>
                <c:pt idx="456">
                  <c:v>-0.10584300000000001</c:v>
                </c:pt>
                <c:pt idx="457">
                  <c:v>-0.14560999999999999</c:v>
                </c:pt>
                <c:pt idx="458">
                  <c:v>-0.144262</c:v>
                </c:pt>
                <c:pt idx="459">
                  <c:v>-0.143176</c:v>
                </c:pt>
                <c:pt idx="460">
                  <c:v>-0.165769</c:v>
                </c:pt>
                <c:pt idx="461">
                  <c:v>-0.187027</c:v>
                </c:pt>
                <c:pt idx="462">
                  <c:v>-0.18582099999999999</c:v>
                </c:pt>
                <c:pt idx="463">
                  <c:v>-0.18797800000000001</c:v>
                </c:pt>
                <c:pt idx="464">
                  <c:v>-0.18551000000000001</c:v>
                </c:pt>
                <c:pt idx="465">
                  <c:v>-0.148617</c:v>
                </c:pt>
                <c:pt idx="466">
                  <c:v>-0.124413</c:v>
                </c:pt>
                <c:pt idx="467">
                  <c:v>-0.166101</c:v>
                </c:pt>
                <c:pt idx="468">
                  <c:v>-0.18202499999999999</c:v>
                </c:pt>
                <c:pt idx="469">
                  <c:v>-0.22031899999999999</c:v>
                </c:pt>
                <c:pt idx="470">
                  <c:v>-0.23640600000000001</c:v>
                </c:pt>
                <c:pt idx="471">
                  <c:v>-0.27229999999999999</c:v>
                </c:pt>
                <c:pt idx="472">
                  <c:v>-0.27196100000000001</c:v>
                </c:pt>
                <c:pt idx="473">
                  <c:v>-0.30703799999999998</c:v>
                </c:pt>
                <c:pt idx="474">
                  <c:v>-0.32810600000000001</c:v>
                </c:pt>
                <c:pt idx="475">
                  <c:v>-0.275308</c:v>
                </c:pt>
                <c:pt idx="476">
                  <c:v>-0.240837</c:v>
                </c:pt>
                <c:pt idx="477">
                  <c:v>-0.20608499999999999</c:v>
                </c:pt>
                <c:pt idx="478">
                  <c:v>-0.20699300000000001</c:v>
                </c:pt>
                <c:pt idx="479">
                  <c:v>-0.221719</c:v>
                </c:pt>
                <c:pt idx="480">
                  <c:v>-0.207874</c:v>
                </c:pt>
                <c:pt idx="481">
                  <c:v>-0.25811200000000001</c:v>
                </c:pt>
                <c:pt idx="482">
                  <c:v>-0.30104300000000001</c:v>
                </c:pt>
                <c:pt idx="483">
                  <c:v>-0.308396</c:v>
                </c:pt>
                <c:pt idx="484">
                  <c:v>-0.30434699999999998</c:v>
                </c:pt>
                <c:pt idx="485">
                  <c:v>-0.29950900000000003</c:v>
                </c:pt>
                <c:pt idx="486">
                  <c:v>-0.22103300000000001</c:v>
                </c:pt>
                <c:pt idx="487">
                  <c:v>-0.222222</c:v>
                </c:pt>
                <c:pt idx="488">
                  <c:v>-0.29660999999999998</c:v>
                </c:pt>
                <c:pt idx="489">
                  <c:v>-0.29608899999999999</c:v>
                </c:pt>
                <c:pt idx="490">
                  <c:v>-0.30019099999999999</c:v>
                </c:pt>
                <c:pt idx="491">
                  <c:v>-0.31526100000000001</c:v>
                </c:pt>
                <c:pt idx="492">
                  <c:v>-0.282744</c:v>
                </c:pt>
                <c:pt idx="493">
                  <c:v>-0.31687199999999999</c:v>
                </c:pt>
                <c:pt idx="494">
                  <c:v>-0.31106400000000001</c:v>
                </c:pt>
                <c:pt idx="495">
                  <c:v>-0.31827899999999998</c:v>
                </c:pt>
                <c:pt idx="496">
                  <c:v>-0.29493000000000003</c:v>
                </c:pt>
                <c:pt idx="497">
                  <c:v>-0.27250600000000003</c:v>
                </c:pt>
                <c:pt idx="498">
                  <c:v>-0.275949</c:v>
                </c:pt>
                <c:pt idx="499">
                  <c:v>-0.33506399999999997</c:v>
                </c:pt>
                <c:pt idx="500">
                  <c:v>-0.36939300000000003</c:v>
                </c:pt>
                <c:pt idx="501">
                  <c:v>-0.41690100000000002</c:v>
                </c:pt>
                <c:pt idx="502">
                  <c:v>-0.46348299999999998</c:v>
                </c:pt>
                <c:pt idx="503">
                  <c:v>-0.57182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ento_novych_JIP_znovych_hosp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0.27407407407395717</c:v>
                </c:pt>
                <c:pt idx="1">
                  <c:v>0.29710144927529236</c:v>
                </c:pt>
                <c:pt idx="2">
                  <c:v>0.2847682119204441</c:v>
                </c:pt>
                <c:pt idx="3">
                  <c:v>0.2901234567902114</c:v>
                </c:pt>
                <c:pt idx="4">
                  <c:v>0.25555555555556653</c:v>
                </c:pt>
                <c:pt idx="5">
                  <c:v>0.23783783783781448</c:v>
                </c:pt>
                <c:pt idx="6">
                  <c:v>0.23076923076919792</c:v>
                </c:pt>
                <c:pt idx="7">
                  <c:v>0.22790697674414956</c:v>
                </c:pt>
                <c:pt idx="8">
                  <c:v>0.20901639344263936</c:v>
                </c:pt>
                <c:pt idx="9">
                  <c:v>0.19834710743801348</c:v>
                </c:pt>
                <c:pt idx="10">
                  <c:v>0.18352059925090894</c:v>
                </c:pt>
                <c:pt idx="11">
                  <c:v>0.1924528301886666</c:v>
                </c:pt>
                <c:pt idx="12">
                  <c:v>0.19031141868485746</c:v>
                </c:pt>
                <c:pt idx="13">
                  <c:v>0.19322033898279783</c:v>
                </c:pt>
                <c:pt idx="14">
                  <c:v>0.18786127167612485</c:v>
                </c:pt>
                <c:pt idx="15">
                  <c:v>0.17112299465221598</c:v>
                </c:pt>
                <c:pt idx="16">
                  <c:v>0.15789473684199706</c:v>
                </c:pt>
                <c:pt idx="17">
                  <c:v>0.1796407185628382</c:v>
                </c:pt>
                <c:pt idx="18">
                  <c:v>0.20110701106998166</c:v>
                </c:pt>
                <c:pt idx="19">
                  <c:v>0.21081081081070185</c:v>
                </c:pt>
                <c:pt idx="20">
                  <c:v>0.23316912972082443</c:v>
                </c:pt>
                <c:pt idx="21">
                  <c:v>0.23317683881061357</c:v>
                </c:pt>
                <c:pt idx="22">
                  <c:v>0.23252496433656761</c:v>
                </c:pt>
                <c:pt idx="23">
                  <c:v>0.25070422535205139</c:v>
                </c:pt>
                <c:pt idx="24">
                  <c:v>0.2315789473683596</c:v>
                </c:pt>
                <c:pt idx="25">
                  <c:v>0.22208281053944876</c:v>
                </c:pt>
                <c:pt idx="26">
                  <c:v>0.21845794392518131</c:v>
                </c:pt>
                <c:pt idx="27">
                  <c:v>0.23031727379550185</c:v>
                </c:pt>
                <c:pt idx="28">
                  <c:v>0.21314952279956043</c:v>
                </c:pt>
                <c:pt idx="29">
                  <c:v>0.21115537848605684</c:v>
                </c:pt>
                <c:pt idx="30">
                  <c:v>0.215297450424871</c:v>
                </c:pt>
                <c:pt idx="31">
                  <c:v>0.21523472099199059</c:v>
                </c:pt>
                <c:pt idx="32">
                  <c:v>0.23162393162386299</c:v>
                </c:pt>
                <c:pt idx="33">
                  <c:v>0.2352459016393014</c:v>
                </c:pt>
                <c:pt idx="34">
                  <c:v>0.20959774170781209</c:v>
                </c:pt>
                <c:pt idx="35">
                  <c:v>0.22368421052628581</c:v>
                </c:pt>
                <c:pt idx="36">
                  <c:v>0.22793228536880647</c:v>
                </c:pt>
                <c:pt idx="37">
                  <c:v>0.21775082690184511</c:v>
                </c:pt>
                <c:pt idx="38">
                  <c:v>0.22121212121208467</c:v>
                </c:pt>
                <c:pt idx="39">
                  <c:v>0.22296015180265311</c:v>
                </c:pt>
                <c:pt idx="40">
                  <c:v>0.21887824897400715</c:v>
                </c:pt>
                <c:pt idx="41">
                  <c:v>0.21387043189367386</c:v>
                </c:pt>
                <c:pt idx="42">
                  <c:v>0.20569867291178326</c:v>
                </c:pt>
                <c:pt idx="43">
                  <c:v>0.19963833634717726</c:v>
                </c:pt>
                <c:pt idx="44">
                  <c:v>0.19993129508759866</c:v>
                </c:pt>
                <c:pt idx="45">
                  <c:v>0.19481765834931383</c:v>
                </c:pt>
                <c:pt idx="46">
                  <c:v>0.1781557743956822</c:v>
                </c:pt>
                <c:pt idx="47">
                  <c:v>0.17824267782426634</c:v>
                </c:pt>
                <c:pt idx="48">
                  <c:v>0.17407407407405903</c:v>
                </c:pt>
                <c:pt idx="49">
                  <c:v>0.17310513447430931</c:v>
                </c:pt>
                <c:pt idx="50">
                  <c:v>0.17139031466189386</c:v>
                </c:pt>
                <c:pt idx="51">
                  <c:v>0.17064563006019162</c:v>
                </c:pt>
                <c:pt idx="52">
                  <c:v>0.16488638570595934</c:v>
                </c:pt>
                <c:pt idx="53">
                  <c:v>0.16918767507002666</c:v>
                </c:pt>
                <c:pt idx="54">
                  <c:v>0.16949455259867244</c:v>
                </c:pt>
                <c:pt idx="55">
                  <c:v>0.17285595337218038</c:v>
                </c:pt>
                <c:pt idx="56">
                  <c:v>0.16782334384857769</c:v>
                </c:pt>
                <c:pt idx="57">
                  <c:v>0.16757275343779421</c:v>
                </c:pt>
                <c:pt idx="58">
                  <c:v>0.168321368565749</c:v>
                </c:pt>
                <c:pt idx="59">
                  <c:v>0.16405907296388147</c:v>
                </c:pt>
                <c:pt idx="60">
                  <c:v>0.16975894813732301</c:v>
                </c:pt>
                <c:pt idx="61">
                  <c:v>0.17179183914842824</c:v>
                </c:pt>
                <c:pt idx="62">
                  <c:v>0.16959409594095115</c:v>
                </c:pt>
                <c:pt idx="63">
                  <c:v>0.17295690936106484</c:v>
                </c:pt>
                <c:pt idx="64">
                  <c:v>0.17125870069605686</c:v>
                </c:pt>
                <c:pt idx="65">
                  <c:v>0.17116306954435417</c:v>
                </c:pt>
                <c:pt idx="66">
                  <c:v>0.18239975035106473</c:v>
                </c:pt>
                <c:pt idx="67">
                  <c:v>0.17777777777777495</c:v>
                </c:pt>
                <c:pt idx="68">
                  <c:v>0.17844897959182721</c:v>
                </c:pt>
                <c:pt idx="69">
                  <c:v>0.17713801862827339</c:v>
                </c:pt>
                <c:pt idx="70">
                  <c:v>0.17780492060722428</c:v>
                </c:pt>
                <c:pt idx="71">
                  <c:v>0.17866909753872948</c:v>
                </c:pt>
                <c:pt idx="72">
                  <c:v>0.18044259504444637</c:v>
                </c:pt>
                <c:pt idx="73">
                  <c:v>0.17388781431334099</c:v>
                </c:pt>
                <c:pt idx="74">
                  <c:v>0.17393879565645762</c:v>
                </c:pt>
                <c:pt idx="75">
                  <c:v>0.16978446522976134</c:v>
                </c:pt>
                <c:pt idx="76">
                  <c:v>0.17221753794265182</c:v>
                </c:pt>
                <c:pt idx="77">
                  <c:v>0.17738565126536526</c:v>
                </c:pt>
                <c:pt idx="78">
                  <c:v>0.1761694205259296</c:v>
                </c:pt>
                <c:pt idx="79">
                  <c:v>0.17551020408162601</c:v>
                </c:pt>
                <c:pt idx="80">
                  <c:v>0.18485005170629232</c:v>
                </c:pt>
                <c:pt idx="81">
                  <c:v>0.19110992813413488</c:v>
                </c:pt>
                <c:pt idx="82">
                  <c:v>0.19940152339498873</c:v>
                </c:pt>
                <c:pt idx="83">
                  <c:v>0.2004498172617232</c:v>
                </c:pt>
                <c:pt idx="84">
                  <c:v>0.18594164456231105</c:v>
                </c:pt>
                <c:pt idx="85">
                  <c:v>0.1926787741203107</c:v>
                </c:pt>
                <c:pt idx="86">
                  <c:v>0.19061583577710528</c:v>
                </c:pt>
                <c:pt idx="87">
                  <c:v>0.18536292741450358</c:v>
                </c:pt>
                <c:pt idx="88">
                  <c:v>0.18507188742732852</c:v>
                </c:pt>
                <c:pt idx="89">
                  <c:v>0.1738340399757663</c:v>
                </c:pt>
                <c:pt idx="90">
                  <c:v>0.17252002464570479</c:v>
                </c:pt>
                <c:pt idx="91">
                  <c:v>0.17457737321196723</c:v>
                </c:pt>
                <c:pt idx="92">
                  <c:v>0.17790200591908048</c:v>
                </c:pt>
                <c:pt idx="93">
                  <c:v>0.17726396917146314</c:v>
                </c:pt>
                <c:pt idx="94">
                  <c:v>0.17358490566036103</c:v>
                </c:pt>
                <c:pt idx="95">
                  <c:v>0.16374999999999512</c:v>
                </c:pt>
                <c:pt idx="96">
                  <c:v>0.16802507836990824</c:v>
                </c:pt>
                <c:pt idx="97">
                  <c:v>0.17661847894404911</c:v>
                </c:pt>
                <c:pt idx="98">
                  <c:v>0.18133416849357636</c:v>
                </c:pt>
                <c:pt idx="99">
                  <c:v>0.17321156773210394</c:v>
                </c:pt>
                <c:pt idx="100">
                  <c:v>0.17809057527539413</c:v>
                </c:pt>
                <c:pt idx="101">
                  <c:v>0.18170580964153507</c:v>
                </c:pt>
                <c:pt idx="102">
                  <c:v>0.18667068757538063</c:v>
                </c:pt>
                <c:pt idx="103">
                  <c:v>0.18651148910772244</c:v>
                </c:pt>
                <c:pt idx="104">
                  <c:v>0.17782365084043916</c:v>
                </c:pt>
                <c:pt idx="105">
                  <c:v>0.17636937195295452</c:v>
                </c:pt>
                <c:pt idx="106">
                  <c:v>0.18669778296382594</c:v>
                </c:pt>
                <c:pt idx="107">
                  <c:v>0.18160786581838712</c:v>
                </c:pt>
                <c:pt idx="108">
                  <c:v>0.18225898459783302</c:v>
                </c:pt>
                <c:pt idx="109">
                  <c:v>0.18310265282583368</c:v>
                </c:pt>
                <c:pt idx="110">
                  <c:v>0.18316690442225619</c:v>
                </c:pt>
                <c:pt idx="111">
                  <c:v>0.1840455840455878</c:v>
                </c:pt>
                <c:pt idx="112">
                  <c:v>0.18862107623317484</c:v>
                </c:pt>
                <c:pt idx="113">
                  <c:v>0.1782759540965983</c:v>
                </c:pt>
                <c:pt idx="114">
                  <c:v>0.18734248109772061</c:v>
                </c:pt>
                <c:pt idx="115">
                  <c:v>0.19226393629123223</c:v>
                </c:pt>
                <c:pt idx="116">
                  <c:v>0.18849152998115851</c:v>
                </c:pt>
                <c:pt idx="117">
                  <c:v>0.1843037974683463</c:v>
                </c:pt>
                <c:pt idx="118">
                  <c:v>0.17540276832310989</c:v>
                </c:pt>
                <c:pt idx="119">
                  <c:v>0.17414416330000854</c:v>
                </c:pt>
                <c:pt idx="120">
                  <c:v>0.17491274892219108</c:v>
                </c:pt>
                <c:pt idx="121">
                  <c:v>0.17449791587721108</c:v>
                </c:pt>
                <c:pt idx="122">
                  <c:v>0.17321958456972461</c:v>
                </c:pt>
                <c:pt idx="123">
                  <c:v>0.16642651296828864</c:v>
                </c:pt>
                <c:pt idx="124">
                  <c:v>0.17064907275320843</c:v>
                </c:pt>
                <c:pt idx="125">
                  <c:v>0.16924133196017008</c:v>
                </c:pt>
                <c:pt idx="126">
                  <c:v>0.16596390622363782</c:v>
                </c:pt>
                <c:pt idx="127">
                  <c:v>0.16710787557908496</c:v>
                </c:pt>
                <c:pt idx="128">
                  <c:v>0.15843654495736609</c:v>
                </c:pt>
                <c:pt idx="129">
                  <c:v>0.15799256505576154</c:v>
                </c:pt>
                <c:pt idx="130">
                  <c:v>0.16658793890725393</c:v>
                </c:pt>
                <c:pt idx="131">
                  <c:v>0.16901860166773011</c:v>
                </c:pt>
                <c:pt idx="132">
                  <c:v>0.17596202746227205</c:v>
                </c:pt>
                <c:pt idx="133">
                  <c:v>0.17807047553882102</c:v>
                </c:pt>
                <c:pt idx="134">
                  <c:v>0.18136379864334237</c:v>
                </c:pt>
                <c:pt idx="135">
                  <c:v>0.192186046511615</c:v>
                </c:pt>
                <c:pt idx="136">
                  <c:v>0.19399886771087554</c:v>
                </c:pt>
                <c:pt idx="137">
                  <c:v>0.19636293286902431</c:v>
                </c:pt>
                <c:pt idx="138">
                  <c:v>0.19386942675157867</c:v>
                </c:pt>
                <c:pt idx="139">
                  <c:v>0.19707436001623788</c:v>
                </c:pt>
                <c:pt idx="140">
                  <c:v>0.20243693886275449</c:v>
                </c:pt>
                <c:pt idx="141">
                  <c:v>0.19978586723767561</c:v>
                </c:pt>
                <c:pt idx="142">
                  <c:v>0.19911894273127606</c:v>
                </c:pt>
                <c:pt idx="143">
                  <c:v>0.19986690328304818</c:v>
                </c:pt>
                <c:pt idx="144">
                  <c:v>0.19528993556986163</c:v>
                </c:pt>
                <c:pt idx="145">
                  <c:v>0.19375696766999681</c:v>
                </c:pt>
                <c:pt idx="146">
                  <c:v>0.19583142464498515</c:v>
                </c:pt>
                <c:pt idx="147">
                  <c:v>0.19200734956361054</c:v>
                </c:pt>
                <c:pt idx="148">
                  <c:v>0.19260472735781592</c:v>
                </c:pt>
                <c:pt idx="149">
                  <c:v>0.19350282485874215</c:v>
                </c:pt>
                <c:pt idx="150">
                  <c:v>0.19644145227216633</c:v>
                </c:pt>
                <c:pt idx="151">
                  <c:v>0.20183930300095823</c:v>
                </c:pt>
                <c:pt idx="152">
                  <c:v>0.20439719739066847</c:v>
                </c:pt>
                <c:pt idx="153">
                  <c:v>0.19816211121582689</c:v>
                </c:pt>
                <c:pt idx="154">
                  <c:v>0.20791366906473152</c:v>
                </c:pt>
                <c:pt idx="155">
                  <c:v>0.21033740129216255</c:v>
                </c:pt>
                <c:pt idx="156">
                  <c:v>0.20949263502454493</c:v>
                </c:pt>
                <c:pt idx="157">
                  <c:v>0.20662127259919186</c:v>
                </c:pt>
                <c:pt idx="158">
                  <c:v>0.20747273149221729</c:v>
                </c:pt>
                <c:pt idx="159">
                  <c:v>0.21294171638364692</c:v>
                </c:pt>
                <c:pt idx="160">
                  <c:v>0.22024783726910596</c:v>
                </c:pt>
                <c:pt idx="161">
                  <c:v>0.21773444753944951</c:v>
                </c:pt>
                <c:pt idx="162">
                  <c:v>0.22453703703702033</c:v>
                </c:pt>
                <c:pt idx="163">
                  <c:v>0.22962272938983327</c:v>
                </c:pt>
                <c:pt idx="164">
                  <c:v>0.23046603292371212</c:v>
                </c:pt>
                <c:pt idx="165">
                  <c:v>0.22708333333332084</c:v>
                </c:pt>
                <c:pt idx="166">
                  <c:v>0.22166704519644034</c:v>
                </c:pt>
                <c:pt idx="167">
                  <c:v>0.22244668911334509</c:v>
                </c:pt>
                <c:pt idx="168">
                  <c:v>0.22521929824559736</c:v>
                </c:pt>
                <c:pt idx="169">
                  <c:v>0.2216342082980432</c:v>
                </c:pt>
                <c:pt idx="170">
                  <c:v>0.21665285832641992</c:v>
                </c:pt>
                <c:pt idx="171">
                  <c:v>0.2190380761522934</c:v>
                </c:pt>
                <c:pt idx="172">
                  <c:v>0.21902131018152779</c:v>
                </c:pt>
                <c:pt idx="173">
                  <c:v>0.21826323987538859</c:v>
                </c:pt>
                <c:pt idx="174">
                  <c:v>0.21608040201004378</c:v>
                </c:pt>
                <c:pt idx="175">
                  <c:v>0.21155247813410397</c:v>
                </c:pt>
                <c:pt idx="176">
                  <c:v>0.20912204795384157</c:v>
                </c:pt>
                <c:pt idx="177">
                  <c:v>0.20926600728786154</c:v>
                </c:pt>
                <c:pt idx="178">
                  <c:v>0.2016307117377148</c:v>
                </c:pt>
                <c:pt idx="179">
                  <c:v>0.20519609465496075</c:v>
                </c:pt>
                <c:pt idx="180">
                  <c:v>0.20729115579531915</c:v>
                </c:pt>
                <c:pt idx="181">
                  <c:v>0.21031808830510898</c:v>
                </c:pt>
                <c:pt idx="182">
                  <c:v>0.20959092998314108</c:v>
                </c:pt>
                <c:pt idx="183">
                  <c:v>0.21668950814678697</c:v>
                </c:pt>
                <c:pt idx="184">
                  <c:v>0.21882640586796653</c:v>
                </c:pt>
                <c:pt idx="185">
                  <c:v>0.22741147741147394</c:v>
                </c:pt>
                <c:pt idx="186">
                  <c:v>0.22320072881869901</c:v>
                </c:pt>
                <c:pt idx="187">
                  <c:v>0.22279090772240961</c:v>
                </c:pt>
                <c:pt idx="188">
                  <c:v>0.22354922676465097</c:v>
                </c:pt>
                <c:pt idx="189">
                  <c:v>0.22643553629467986</c:v>
                </c:pt>
                <c:pt idx="190">
                  <c:v>0.22220543806645626</c:v>
                </c:pt>
                <c:pt idx="191">
                  <c:v>0.22084965351008518</c:v>
                </c:pt>
                <c:pt idx="192">
                  <c:v>0.21875932001192097</c:v>
                </c:pt>
                <c:pt idx="193">
                  <c:v>0.21963592957325451</c:v>
                </c:pt>
                <c:pt idx="194">
                  <c:v>0.2227752639517295</c:v>
                </c:pt>
                <c:pt idx="195">
                  <c:v>0.22115816250186568</c:v>
                </c:pt>
                <c:pt idx="196">
                  <c:v>0.2242919884900747</c:v>
                </c:pt>
                <c:pt idx="197">
                  <c:v>0.22382280049566103</c:v>
                </c:pt>
                <c:pt idx="198">
                  <c:v>0.22455089820358581</c:v>
                </c:pt>
                <c:pt idx="199">
                  <c:v>0.22116162433262415</c:v>
                </c:pt>
                <c:pt idx="200">
                  <c:v>0.22610722610721612</c:v>
                </c:pt>
                <c:pt idx="201">
                  <c:v>0.22373967290507255</c:v>
                </c:pt>
                <c:pt idx="202">
                  <c:v>0.2211340206185583</c:v>
                </c:pt>
                <c:pt idx="203">
                  <c:v>0.22234004948744462</c:v>
                </c:pt>
                <c:pt idx="204">
                  <c:v>0.22517279010549601</c:v>
                </c:pt>
                <c:pt idx="205">
                  <c:v>0.23125347157932657</c:v>
                </c:pt>
                <c:pt idx="206">
                  <c:v>0.23301336344814721</c:v>
                </c:pt>
                <c:pt idx="207">
                  <c:v>0.22773584905659616</c:v>
                </c:pt>
                <c:pt idx="208">
                  <c:v>0.22748179379070851</c:v>
                </c:pt>
                <c:pt idx="209">
                  <c:v>0.2301555644196186</c:v>
                </c:pt>
                <c:pt idx="210">
                  <c:v>0.22657685241885409</c:v>
                </c:pt>
                <c:pt idx="211">
                  <c:v>0.22395184723950293</c:v>
                </c:pt>
                <c:pt idx="212">
                  <c:v>0.21750212404416389</c:v>
                </c:pt>
                <c:pt idx="213">
                  <c:v>0.22073876279482851</c:v>
                </c:pt>
                <c:pt idx="214">
                  <c:v>0.22139134375706435</c:v>
                </c:pt>
                <c:pt idx="215">
                  <c:v>0.2181484876260289</c:v>
                </c:pt>
                <c:pt idx="216">
                  <c:v>0.2252984505968938</c:v>
                </c:pt>
                <c:pt idx="217">
                  <c:v>0.20526068576795409</c:v>
                </c:pt>
                <c:pt idx="218">
                  <c:v>0.20800000000000032</c:v>
                </c:pt>
                <c:pt idx="219">
                  <c:v>0.21323155216284004</c:v>
                </c:pt>
                <c:pt idx="220">
                  <c:v>0.21274409044192144</c:v>
                </c:pt>
                <c:pt idx="221">
                  <c:v>0.21953188054881459</c:v>
                </c:pt>
                <c:pt idx="222">
                  <c:v>0.22337735318909724</c:v>
                </c:pt>
                <c:pt idx="223">
                  <c:v>0.21702244116036629</c:v>
                </c:pt>
                <c:pt idx="224">
                  <c:v>0.25181518151813287</c:v>
                </c:pt>
                <c:pt idx="225">
                  <c:v>0.25381414701802141</c:v>
                </c:pt>
                <c:pt idx="226">
                  <c:v>0.24723904524403606</c:v>
                </c:pt>
                <c:pt idx="227">
                  <c:v>0.2592870544090044</c:v>
                </c:pt>
                <c:pt idx="228">
                  <c:v>0.24599542334096292</c:v>
                </c:pt>
                <c:pt idx="229">
                  <c:v>0.24366471734891734</c:v>
                </c:pt>
                <c:pt idx="230">
                  <c:v>0.2505018065034042</c:v>
                </c:pt>
                <c:pt idx="231">
                  <c:v>0.2410569105690728</c:v>
                </c:pt>
                <c:pt idx="232">
                  <c:v>0.23239436619716314</c:v>
                </c:pt>
                <c:pt idx="233">
                  <c:v>0.23448866067605451</c:v>
                </c:pt>
                <c:pt idx="234">
                  <c:v>0.22838137472282208</c:v>
                </c:pt>
                <c:pt idx="235">
                  <c:v>0.22941720629044737</c:v>
                </c:pt>
                <c:pt idx="236">
                  <c:v>0.23341288782812428</c:v>
                </c:pt>
                <c:pt idx="237">
                  <c:v>0.23092783505152559</c:v>
                </c:pt>
                <c:pt idx="238">
                  <c:v>0.23156182212581847</c:v>
                </c:pt>
                <c:pt idx="239">
                  <c:v>0.24884259259260347</c:v>
                </c:pt>
                <c:pt idx="240">
                  <c:v>0.23854289071678464</c:v>
                </c:pt>
                <c:pt idx="241">
                  <c:v>0.23568818514003559</c:v>
                </c:pt>
                <c:pt idx="242">
                  <c:v>0.23067484662577509</c:v>
                </c:pt>
                <c:pt idx="243">
                  <c:v>0.22713130056003955</c:v>
                </c:pt>
                <c:pt idx="244">
                  <c:v>0.21744471744470334</c:v>
                </c:pt>
                <c:pt idx="245">
                  <c:v>0.22543352601153435</c:v>
                </c:pt>
                <c:pt idx="246">
                  <c:v>0.21518987341772303</c:v>
                </c:pt>
                <c:pt idx="247">
                  <c:v>0.21952957947255422</c:v>
                </c:pt>
                <c:pt idx="248">
                  <c:v>0.21231884057967929</c:v>
                </c:pt>
                <c:pt idx="249">
                  <c:v>0.22061068702286793</c:v>
                </c:pt>
                <c:pt idx="250">
                  <c:v>0.22011084718918156</c:v>
                </c:pt>
                <c:pt idx="251">
                  <c:v>0.23463203463197022</c:v>
                </c:pt>
                <c:pt idx="252">
                  <c:v>0.24021838034577248</c:v>
                </c:pt>
                <c:pt idx="253">
                  <c:v>0.23557237464519812</c:v>
                </c:pt>
                <c:pt idx="254">
                  <c:v>0.23743842364527748</c:v>
                </c:pt>
                <c:pt idx="255">
                  <c:v>0.25240641711225609</c:v>
                </c:pt>
                <c:pt idx="256">
                  <c:v>0.24696802646078153</c:v>
                </c:pt>
                <c:pt idx="257">
                  <c:v>0.23617511520737478</c:v>
                </c:pt>
                <c:pt idx="258">
                  <c:v>0.23707440100877752</c:v>
                </c:pt>
                <c:pt idx="259">
                  <c:v>0.21928665785989024</c:v>
                </c:pt>
                <c:pt idx="260">
                  <c:v>0.23177842565597837</c:v>
                </c:pt>
                <c:pt idx="261">
                  <c:v>0.23089171974519052</c:v>
                </c:pt>
                <c:pt idx="262">
                  <c:v>0.21451612903219708</c:v>
                </c:pt>
                <c:pt idx="263">
                  <c:v>0.22959183673462222</c:v>
                </c:pt>
                <c:pt idx="264">
                  <c:v>0.23007246376804047</c:v>
                </c:pt>
                <c:pt idx="265">
                  <c:v>0.24640657084179138</c:v>
                </c:pt>
                <c:pt idx="266">
                  <c:v>0.23917995444194429</c:v>
                </c:pt>
                <c:pt idx="267">
                  <c:v>0.21973094170403143</c:v>
                </c:pt>
                <c:pt idx="268">
                  <c:v>0.22727272727268866</c:v>
                </c:pt>
                <c:pt idx="269">
                  <c:v>0.22038567493101766</c:v>
                </c:pt>
                <c:pt idx="270">
                  <c:v>0.19197707736372993</c:v>
                </c:pt>
                <c:pt idx="271">
                  <c:v>0.19364161849694447</c:v>
                </c:pt>
                <c:pt idx="272">
                  <c:v>0.1860465116277269</c:v>
                </c:pt>
                <c:pt idx="273">
                  <c:v>0.18749999999975725</c:v>
                </c:pt>
                <c:pt idx="274">
                  <c:v>0.18571428571432194</c:v>
                </c:pt>
                <c:pt idx="275">
                  <c:v>0.20463320463321258</c:v>
                </c:pt>
                <c:pt idx="276">
                  <c:v>0.2304526748968096</c:v>
                </c:pt>
                <c:pt idx="277">
                  <c:v>0.21940928270045829</c:v>
                </c:pt>
                <c:pt idx="278">
                  <c:v>0.20720720720722161</c:v>
                </c:pt>
                <c:pt idx="279">
                  <c:v>0.22346368715078538</c:v>
                </c:pt>
                <c:pt idx="280">
                  <c:v>0.2399999999999797</c:v>
                </c:pt>
                <c:pt idx="281">
                  <c:v>0.25675675675661896</c:v>
                </c:pt>
                <c:pt idx="282">
                  <c:v>0.21621621621600545</c:v>
                </c:pt>
                <c:pt idx="283">
                  <c:v>0.19047619047588848</c:v>
                </c:pt>
                <c:pt idx="284">
                  <c:v>0.22689075630228278</c:v>
                </c:pt>
                <c:pt idx="285">
                  <c:v>0.21428571428543117</c:v>
                </c:pt>
                <c:pt idx="286">
                  <c:v>0.17948717948682927</c:v>
                </c:pt>
                <c:pt idx="287">
                  <c:v>0.16842105263095922</c:v>
                </c:pt>
                <c:pt idx="288">
                  <c:v>0.17441860465049056</c:v>
                </c:pt>
                <c:pt idx="289">
                  <c:v>0.15909090909022122</c:v>
                </c:pt>
                <c:pt idx="290">
                  <c:v>0.20689655172353971</c:v>
                </c:pt>
                <c:pt idx="291">
                  <c:v>0.15730337078583315</c:v>
                </c:pt>
                <c:pt idx="292">
                  <c:v>0.18604651162725877</c:v>
                </c:pt>
                <c:pt idx="293">
                  <c:v>0.18918918918844338</c:v>
                </c:pt>
                <c:pt idx="294">
                  <c:v>0.18055555555476777</c:v>
                </c:pt>
                <c:pt idx="295">
                  <c:v>0.13698630136898002</c:v>
                </c:pt>
                <c:pt idx="296">
                  <c:v>0.1636363636352777</c:v>
                </c:pt>
                <c:pt idx="297">
                  <c:v>0.19607843137114953</c:v>
                </c:pt>
                <c:pt idx="298">
                  <c:v>0.21428571428405341</c:v>
                </c:pt>
                <c:pt idx="299">
                  <c:v>0.16279069767269003</c:v>
                </c:pt>
                <c:pt idx="300">
                  <c:v>0.2499999999983353</c:v>
                </c:pt>
                <c:pt idx="301">
                  <c:v>0.38235294117485774</c:v>
                </c:pt>
                <c:pt idx="302">
                  <c:v>0.37499999999861272</c:v>
                </c:pt>
                <c:pt idx="303">
                  <c:v>0.42105263157759476</c:v>
                </c:pt>
                <c:pt idx="304">
                  <c:v>0.30555555555384295</c:v>
                </c:pt>
                <c:pt idx="305">
                  <c:v>0.29729729729561111</c:v>
                </c:pt>
                <c:pt idx="306">
                  <c:v>0.32432432432270303</c:v>
                </c:pt>
                <c:pt idx="307">
                  <c:v>0.32352941176293942</c:v>
                </c:pt>
                <c:pt idx="308">
                  <c:v>0.2580645161269074</c:v>
                </c:pt>
                <c:pt idx="309">
                  <c:v>0.24999999999762193</c:v>
                </c:pt>
                <c:pt idx="310">
                  <c:v>0.17857142856882402</c:v>
                </c:pt>
                <c:pt idx="311">
                  <c:v>0.19999999999763249</c:v>
                </c:pt>
                <c:pt idx="312">
                  <c:v>0.22580645161068599</c:v>
                </c:pt>
                <c:pt idx="313">
                  <c:v>0.21874999999783248</c:v>
                </c:pt>
                <c:pt idx="314">
                  <c:v>0.19444444444245781</c:v>
                </c:pt>
                <c:pt idx="315">
                  <c:v>0.21621621621433551</c:v>
                </c:pt>
                <c:pt idx="316">
                  <c:v>0.34374999999817929</c:v>
                </c:pt>
                <c:pt idx="317">
                  <c:v>0.31428571428397489</c:v>
                </c:pt>
                <c:pt idx="318">
                  <c:v>0.31578947368261195</c:v>
                </c:pt>
                <c:pt idx="319">
                  <c:v>0.30769230769073169</c:v>
                </c:pt>
                <c:pt idx="320">
                  <c:v>0.31578947368261195</c:v>
                </c:pt>
                <c:pt idx="321">
                  <c:v>0.27272727272580527</c:v>
                </c:pt>
                <c:pt idx="322">
                  <c:v>0.2499999999986128</c:v>
                </c:pt>
                <c:pt idx="323">
                  <c:v>0.22448979591696219</c:v>
                </c:pt>
                <c:pt idx="324">
                  <c:v>0.31249999999872841</c:v>
                </c:pt>
                <c:pt idx="325">
                  <c:v>0.31818181818044244</c:v>
                </c:pt>
                <c:pt idx="326">
                  <c:v>0.28260869565078933</c:v>
                </c:pt>
                <c:pt idx="327">
                  <c:v>0.25490196078301663</c:v>
                </c:pt>
                <c:pt idx="328">
                  <c:v>0.23529411764572761</c:v>
                </c:pt>
                <c:pt idx="329">
                  <c:v>0.23999999999865052</c:v>
                </c:pt>
                <c:pt idx="330">
                  <c:v>0.19607843137114953</c:v>
                </c:pt>
                <c:pt idx="331">
                  <c:v>0.16071428571320992</c:v>
                </c:pt>
                <c:pt idx="332">
                  <c:v>0.17543859649021701</c:v>
                </c:pt>
                <c:pt idx="333">
                  <c:v>0.21052631578857195</c:v>
                </c:pt>
                <c:pt idx="334">
                  <c:v>0.22641509433832679</c:v>
                </c:pt>
                <c:pt idx="335">
                  <c:v>0.2653061224476484</c:v>
                </c:pt>
                <c:pt idx="336">
                  <c:v>0.29999999999875704</c:v>
                </c:pt>
                <c:pt idx="337">
                  <c:v>0.27777777777704704</c:v>
                </c:pt>
                <c:pt idx="338">
                  <c:v>0.22916666666524091</c:v>
                </c:pt>
                <c:pt idx="339">
                  <c:v>0.22641509433832679</c:v>
                </c:pt>
                <c:pt idx="340">
                  <c:v>0.22641509433832679</c:v>
                </c:pt>
                <c:pt idx="341">
                  <c:v>0.27450980392030566</c:v>
                </c:pt>
                <c:pt idx="342">
                  <c:v>0.27450980392030566</c:v>
                </c:pt>
                <c:pt idx="343">
                  <c:v>0.25925925925846766</c:v>
                </c:pt>
                <c:pt idx="344">
                  <c:v>0.31999999999879253</c:v>
                </c:pt>
                <c:pt idx="345">
                  <c:v>0.35999999999886356</c:v>
                </c:pt>
                <c:pt idx="346">
                  <c:v>0.34042553191364772</c:v>
                </c:pt>
                <c:pt idx="347">
                  <c:v>0.32653061224367769</c:v>
                </c:pt>
                <c:pt idx="348">
                  <c:v>0.26923076922952155</c:v>
                </c:pt>
                <c:pt idx="349">
                  <c:v>0.25862068965443341</c:v>
                </c:pt>
                <c:pt idx="350">
                  <c:v>0.27586206896483101</c:v>
                </c:pt>
                <c:pt idx="351">
                  <c:v>0.28333333333269212</c:v>
                </c:pt>
                <c:pt idx="352">
                  <c:v>0.30769230769178235</c:v>
                </c:pt>
                <c:pt idx="353">
                  <c:v>0.33333333333290444</c:v>
                </c:pt>
                <c:pt idx="354">
                  <c:v>0.32835820895476897</c:v>
                </c:pt>
                <c:pt idx="355">
                  <c:v>0.32352941176424505</c:v>
                </c:pt>
                <c:pt idx="356">
                  <c:v>0.35593220338939691</c:v>
                </c:pt>
                <c:pt idx="357">
                  <c:v>0.30645161290267153</c:v>
                </c:pt>
                <c:pt idx="358">
                  <c:v>0.24637681159355024</c:v>
                </c:pt>
                <c:pt idx="359">
                  <c:v>0.1969696969688817</c:v>
                </c:pt>
                <c:pt idx="360">
                  <c:v>0.19354838709589656</c:v>
                </c:pt>
                <c:pt idx="361">
                  <c:v>0.19672131147452704</c:v>
                </c:pt>
                <c:pt idx="362">
                  <c:v>0.18965517241284297</c:v>
                </c:pt>
                <c:pt idx="363">
                  <c:v>0.14754098360553142</c:v>
                </c:pt>
                <c:pt idx="364">
                  <c:v>0.15254237288031022</c:v>
                </c:pt>
                <c:pt idx="365">
                  <c:v>0.17543859649021701</c:v>
                </c:pt>
                <c:pt idx="366">
                  <c:v>0.18032786885152849</c:v>
                </c:pt>
                <c:pt idx="367">
                  <c:v>0.18840579710064742</c:v>
                </c:pt>
                <c:pt idx="368">
                  <c:v>0.21428571428498952</c:v>
                </c:pt>
                <c:pt idx="369">
                  <c:v>0.22077922077857692</c:v>
                </c:pt>
                <c:pt idx="370">
                  <c:v>0.25274725274677029</c:v>
                </c:pt>
                <c:pt idx="371">
                  <c:v>0.26041666666622354</c:v>
                </c:pt>
                <c:pt idx="372">
                  <c:v>0.23469387755053969</c:v>
                </c:pt>
                <c:pt idx="373">
                  <c:v>0.22115384615337008</c:v>
                </c:pt>
                <c:pt idx="374">
                  <c:v>0.22549019607795351</c:v>
                </c:pt>
                <c:pt idx="375">
                  <c:v>0.22222222222194818</c:v>
                </c:pt>
                <c:pt idx="376">
                  <c:v>0.22807017543835056</c:v>
                </c:pt>
                <c:pt idx="377">
                  <c:v>0.23333333333311138</c:v>
                </c:pt>
                <c:pt idx="378">
                  <c:v>0.25190839694639938</c:v>
                </c:pt>
                <c:pt idx="379">
                  <c:v>0.26515151515137758</c:v>
                </c:pt>
                <c:pt idx="380">
                  <c:v>0.29850746268649797</c:v>
                </c:pt>
                <c:pt idx="381">
                  <c:v>0.25657894736828651</c:v>
                </c:pt>
                <c:pt idx="382">
                  <c:v>0.25165562913892875</c:v>
                </c:pt>
                <c:pt idx="383">
                  <c:v>0.25675675675661896</c:v>
                </c:pt>
                <c:pt idx="384">
                  <c:v>0.23448275862050807</c:v>
                </c:pt>
                <c:pt idx="385">
                  <c:v>0.21428571428548779</c:v>
                </c:pt>
                <c:pt idx="386">
                  <c:v>0.20567375886500711</c:v>
                </c:pt>
                <c:pt idx="387">
                  <c:v>0.1971830985912939</c:v>
                </c:pt>
                <c:pt idx="388">
                  <c:v>0.22627737226256558</c:v>
                </c:pt>
                <c:pt idx="389">
                  <c:v>0.23972602739708951</c:v>
                </c:pt>
                <c:pt idx="390">
                  <c:v>0.21476510067092899</c:v>
                </c:pt>
                <c:pt idx="391">
                  <c:v>0.19745222929913253</c:v>
                </c:pt>
                <c:pt idx="392">
                  <c:v>0.20779220779199065</c:v>
                </c:pt>
                <c:pt idx="393">
                  <c:v>0.19883040935661889</c:v>
                </c:pt>
                <c:pt idx="394">
                  <c:v>0.19230769230757974</c:v>
                </c:pt>
                <c:pt idx="395">
                  <c:v>0.17647058823515449</c:v>
                </c:pt>
                <c:pt idx="396">
                  <c:v>0.16062176165786662</c:v>
                </c:pt>
                <c:pt idx="397">
                  <c:v>0.19211822660088396</c:v>
                </c:pt>
                <c:pt idx="398">
                  <c:v>0.18534482758617885</c:v>
                </c:pt>
                <c:pt idx="399">
                  <c:v>0.21317829457332196</c:v>
                </c:pt>
                <c:pt idx="400">
                  <c:v>0.26545454545441399</c:v>
                </c:pt>
                <c:pt idx="401">
                  <c:v>0.2464788732392737</c:v>
                </c:pt>
                <c:pt idx="402">
                  <c:v>0.24092409240907847</c:v>
                </c:pt>
                <c:pt idx="403">
                  <c:v>0.25081433224741384</c:v>
                </c:pt>
                <c:pt idx="404">
                  <c:v>0.23659305993674595</c:v>
                </c:pt>
                <c:pt idx="405">
                  <c:v>0.26724137931031183</c:v>
                </c:pt>
                <c:pt idx="406">
                  <c:v>0.24728260869558727</c:v>
                </c:pt>
                <c:pt idx="407">
                  <c:v>0.19947506561670372</c:v>
                </c:pt>
                <c:pt idx="408">
                  <c:v>0.21999999999994671</c:v>
                </c:pt>
                <c:pt idx="409">
                  <c:v>0.21478060046188002</c:v>
                </c:pt>
                <c:pt idx="410">
                  <c:v>0.2038216560509242</c:v>
                </c:pt>
                <c:pt idx="411">
                  <c:v>0.20449897750512067</c:v>
                </c:pt>
                <c:pt idx="412">
                  <c:v>0.19136960600373798</c:v>
                </c:pt>
                <c:pt idx="413">
                  <c:v>0.17124394184168801</c:v>
                </c:pt>
                <c:pt idx="414">
                  <c:v>0.17612809315856903</c:v>
                </c:pt>
                <c:pt idx="415">
                  <c:v>0.16557161629428929</c:v>
                </c:pt>
                <c:pt idx="416">
                  <c:v>0.17443249701312</c:v>
                </c:pt>
                <c:pt idx="417">
                  <c:v>0.18161180476731867</c:v>
                </c:pt>
                <c:pt idx="418">
                  <c:v>0.18308351177723495</c:v>
                </c:pt>
                <c:pt idx="419">
                  <c:v>0.16601178781917969</c:v>
                </c:pt>
                <c:pt idx="420">
                  <c:v>0.16475770925107197</c:v>
                </c:pt>
                <c:pt idx="421">
                  <c:v>0.16867469879518415</c:v>
                </c:pt>
                <c:pt idx="422">
                  <c:v>0.16783762685402223</c:v>
                </c:pt>
                <c:pt idx="423">
                  <c:v>0.16475644699135844</c:v>
                </c:pt>
                <c:pt idx="424">
                  <c:v>0.16644021739128387</c:v>
                </c:pt>
                <c:pt idx="425">
                  <c:v>0.17057704502220064</c:v>
                </c:pt>
                <c:pt idx="426">
                  <c:v>0.17138103161396817</c:v>
                </c:pt>
                <c:pt idx="427">
                  <c:v>0.16460905349794652</c:v>
                </c:pt>
                <c:pt idx="428">
                  <c:v>0.16028708133968111</c:v>
                </c:pt>
                <c:pt idx="429">
                  <c:v>0.15670995670994664</c:v>
                </c:pt>
                <c:pt idx="430">
                  <c:v>0.16256773655687337</c:v>
                </c:pt>
                <c:pt idx="431">
                  <c:v>0.16198877305531906</c:v>
                </c:pt>
                <c:pt idx="432">
                  <c:v>0.16471962616822106</c:v>
                </c:pt>
                <c:pt idx="433">
                  <c:v>0.17061255167228798</c:v>
                </c:pt>
                <c:pt idx="434">
                  <c:v>0.17003904863329819</c:v>
                </c:pt>
                <c:pt idx="435">
                  <c:v>0.16786817713694879</c:v>
                </c:pt>
                <c:pt idx="436">
                  <c:v>0.16716417910445883</c:v>
                </c:pt>
                <c:pt idx="437">
                  <c:v>0.15702220832028421</c:v>
                </c:pt>
                <c:pt idx="438">
                  <c:v>0.16060606060605948</c:v>
                </c:pt>
                <c:pt idx="439">
                  <c:v>0.16027356526908115</c:v>
                </c:pt>
                <c:pt idx="440">
                  <c:v>0.14724605590921702</c:v>
                </c:pt>
                <c:pt idx="441">
                  <c:v>0.14504843918189236</c:v>
                </c:pt>
                <c:pt idx="442">
                  <c:v>0.15328663793102437</c:v>
                </c:pt>
                <c:pt idx="443">
                  <c:v>0.15563598759046782</c:v>
                </c:pt>
                <c:pt idx="444">
                  <c:v>0.16048466864488839</c:v>
                </c:pt>
                <c:pt idx="445">
                  <c:v>0.15988442090054253</c:v>
                </c:pt>
                <c:pt idx="446">
                  <c:v>0.15948076031525099</c:v>
                </c:pt>
                <c:pt idx="447">
                  <c:v>0.16469517743402093</c:v>
                </c:pt>
                <c:pt idx="448">
                  <c:v>0.17095914742449894</c:v>
                </c:pt>
                <c:pt idx="449">
                  <c:v>0.1654796816087088</c:v>
                </c:pt>
                <c:pt idx="450">
                  <c:v>0.16625412541254361</c:v>
                </c:pt>
                <c:pt idx="451">
                  <c:v>0.16490872210951857</c:v>
                </c:pt>
                <c:pt idx="452">
                  <c:v>0.16432019308124221</c:v>
                </c:pt>
                <c:pt idx="453">
                  <c:v>0.16028997180829474</c:v>
                </c:pt>
                <c:pt idx="454">
                  <c:v>0.15971394517282503</c:v>
                </c:pt>
                <c:pt idx="455">
                  <c:v>0.15944055944055641</c:v>
                </c:pt>
                <c:pt idx="456">
                  <c:v>0.16314624823977603</c:v>
                </c:pt>
                <c:pt idx="457">
                  <c:v>0.15833333333333127</c:v>
                </c:pt>
                <c:pt idx="458">
                  <c:v>0.15950295375839704</c:v>
                </c:pt>
                <c:pt idx="459">
                  <c:v>0.15865782932890141</c:v>
                </c:pt>
                <c:pt idx="460">
                  <c:v>0.16179540709810997</c:v>
                </c:pt>
                <c:pt idx="461">
                  <c:v>0.1622788088044908</c:v>
                </c:pt>
                <c:pt idx="462">
                  <c:v>0.16619162464370146</c:v>
                </c:pt>
                <c:pt idx="463">
                  <c:v>0.16463549745180253</c:v>
                </c:pt>
                <c:pt idx="464">
                  <c:v>0.17120443008767611</c:v>
                </c:pt>
                <c:pt idx="465">
                  <c:v>0.17035500230520564</c:v>
                </c:pt>
                <c:pt idx="466">
                  <c:v>0.17487107360525059</c:v>
                </c:pt>
                <c:pt idx="467">
                  <c:v>0.17830393814930565</c:v>
                </c:pt>
                <c:pt idx="468">
                  <c:v>0.17605288932417845</c:v>
                </c:pt>
                <c:pt idx="469">
                  <c:v>0.1709209209209169</c:v>
                </c:pt>
                <c:pt idx="470">
                  <c:v>0.16844850065189346</c:v>
                </c:pt>
                <c:pt idx="471">
                  <c:v>0.16675632060246665</c:v>
                </c:pt>
                <c:pt idx="472">
                  <c:v>0.17124257005376112</c:v>
                </c:pt>
                <c:pt idx="473">
                  <c:v>0.16759612562370874</c:v>
                </c:pt>
                <c:pt idx="474">
                  <c:v>0.16631830397132089</c:v>
                </c:pt>
                <c:pt idx="475">
                  <c:v>0.18546603475513265</c:v>
                </c:pt>
                <c:pt idx="476">
                  <c:v>0.19148233740508169</c:v>
                </c:pt>
                <c:pt idx="477">
                  <c:v>0.197522367515475</c:v>
                </c:pt>
                <c:pt idx="478">
                  <c:v>0.20814977973567028</c:v>
                </c:pt>
                <c:pt idx="479">
                  <c:v>0.21199671322924321</c:v>
                </c:pt>
                <c:pt idx="480">
                  <c:v>0.21116708648192942</c:v>
                </c:pt>
                <c:pt idx="481">
                  <c:v>0.2149572649572444</c:v>
                </c:pt>
                <c:pt idx="482">
                  <c:v>0.20094258783204197</c:v>
                </c:pt>
                <c:pt idx="483">
                  <c:v>0.19920844327175083</c:v>
                </c:pt>
                <c:pt idx="484">
                  <c:v>0.20026821636117467</c:v>
                </c:pt>
                <c:pt idx="485">
                  <c:v>0.19463392451114062</c:v>
                </c:pt>
                <c:pt idx="486">
                  <c:v>0.19474153297679461</c:v>
                </c:pt>
                <c:pt idx="487">
                  <c:v>0.19891745602162503</c:v>
                </c:pt>
                <c:pt idx="488">
                  <c:v>0.19302325581394197</c:v>
                </c:pt>
                <c:pt idx="489">
                  <c:v>0.19667013527571192</c:v>
                </c:pt>
                <c:pt idx="490">
                  <c:v>0.20109890109889314</c:v>
                </c:pt>
                <c:pt idx="491">
                  <c:v>0.19676860934792559</c:v>
                </c:pt>
                <c:pt idx="492">
                  <c:v>0.20720720720717647</c:v>
                </c:pt>
                <c:pt idx="493">
                  <c:v>0.20544554455442079</c:v>
                </c:pt>
                <c:pt idx="494">
                  <c:v>0.2068965517240938</c:v>
                </c:pt>
                <c:pt idx="495">
                  <c:v>0.20584415584415408</c:v>
                </c:pt>
                <c:pt idx="496">
                  <c:v>0.21656050955413053</c:v>
                </c:pt>
                <c:pt idx="497">
                  <c:v>0.22313432835818103</c:v>
                </c:pt>
                <c:pt idx="498">
                  <c:v>0.23539094650201481</c:v>
                </c:pt>
                <c:pt idx="499">
                  <c:v>0.22222222222221366</c:v>
                </c:pt>
                <c:pt idx="500">
                  <c:v>0.22399250234297455</c:v>
                </c:pt>
                <c:pt idx="501">
                  <c:v>0.21362229102165761</c:v>
                </c:pt>
                <c:pt idx="502">
                  <c:v>0.21245828698550115</c:v>
                </c:pt>
                <c:pt idx="503">
                  <c:v>0.213483146067414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ento_novych_JIP_znovych_hosp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0.23840877915036032</c:v>
                </c:pt>
                <c:pt idx="1">
                  <c:v>0.28743961352743919</c:v>
                </c:pt>
                <c:pt idx="2">
                  <c:v>6.5846736045627366E-2</c:v>
                </c:pt>
                <c:pt idx="3">
                  <c:v>6.6630355846878001E-2</c:v>
                </c:pt>
                <c:pt idx="4">
                  <c:v>-0.1159159159155963</c:v>
                </c:pt>
                <c:pt idx="5">
                  <c:v>-6.1861861861399969E-2</c:v>
                </c:pt>
                <c:pt idx="6">
                  <c:v>-0.10059171597598777</c:v>
                </c:pt>
                <c:pt idx="7">
                  <c:v>-0.22511627906971163</c:v>
                </c:pt>
                <c:pt idx="8">
                  <c:v>-0.24231557377057714</c:v>
                </c:pt>
                <c:pt idx="9">
                  <c:v>-0.30765632309389573</c:v>
                </c:pt>
                <c:pt idx="10">
                  <c:v>-0.29830359109952215</c:v>
                </c:pt>
                <c:pt idx="11">
                  <c:v>-0.24150943396233376</c:v>
                </c:pt>
                <c:pt idx="12">
                  <c:v>-0.13800122125109576</c:v>
                </c:pt>
                <c:pt idx="13">
                  <c:v>-0.189164648910434</c:v>
                </c:pt>
                <c:pt idx="14">
                  <c:v>-0.16576859018289081</c:v>
                </c:pt>
                <c:pt idx="15">
                  <c:v>-0.13505104521130051</c:v>
                </c:pt>
                <c:pt idx="16">
                  <c:v>-0.19446922390677898</c:v>
                </c:pt>
                <c:pt idx="17">
                  <c:v>-2.6673924876310696E-2</c:v>
                </c:pt>
                <c:pt idx="18">
                  <c:v>3.9052890529528095E-2</c:v>
                </c:pt>
                <c:pt idx="19">
                  <c:v>0.12322635135184022</c:v>
                </c:pt>
                <c:pt idx="20">
                  <c:v>0.19139842994430337</c:v>
                </c:pt>
                <c:pt idx="21">
                  <c:v>0.32658715053159804</c:v>
                </c:pt>
                <c:pt idx="22">
                  <c:v>0.49816717528319621</c:v>
                </c:pt>
                <c:pt idx="23">
                  <c:v>0.39004322967476007</c:v>
                </c:pt>
                <c:pt idx="24">
                  <c:v>0.15386727688827145</c:v>
                </c:pt>
                <c:pt idx="25">
                  <c:v>5.7537193045351653E-2</c:v>
                </c:pt>
                <c:pt idx="26">
                  <c:v>-4.3703967320878154E-2</c:v>
                </c:pt>
                <c:pt idx="27">
                  <c:v>8.332443117817286E-4</c:v>
                </c:pt>
                <c:pt idx="28">
                  <c:v>-3.8348664578392207E-2</c:v>
                </c:pt>
                <c:pt idx="29">
                  <c:v>-7.5511425799241527E-2</c:v>
                </c:pt>
                <c:pt idx="30">
                  <c:v>-9.937452668797038E-2</c:v>
                </c:pt>
                <c:pt idx="31">
                  <c:v>-7.4064492366119908E-2</c:v>
                </c:pt>
                <c:pt idx="32">
                  <c:v>3.7766046589361356E-2</c:v>
                </c:pt>
                <c:pt idx="33">
                  <c:v>-2.117248752665217E-2</c:v>
                </c:pt>
                <c:pt idx="34">
                  <c:v>-1.6574881540290732E-2</c:v>
                </c:pt>
                <c:pt idx="35">
                  <c:v>8.6058230683137477E-2</c:v>
                </c:pt>
                <c:pt idx="36">
                  <c:v>6.2800539917366449E-2</c:v>
                </c:pt>
                <c:pt idx="37">
                  <c:v>3.0850356569010598E-2</c:v>
                </c:pt>
                <c:pt idx="38">
                  <c:v>-4.737271706972259E-2</c:v>
                </c:pt>
                <c:pt idx="39">
                  <c:v>-5.0644194394401189E-2</c:v>
                </c:pt>
                <c:pt idx="40">
                  <c:v>-2.2772994286509907E-2</c:v>
                </c:pt>
                <c:pt idx="41">
                  <c:v>-3.8819875779161101E-4</c:v>
                </c:pt>
                <c:pt idx="42">
                  <c:v>-7.310476342422921E-2</c:v>
                </c:pt>
                <c:pt idx="43">
                  <c:v>-8.8725689190651963E-2</c:v>
                </c:pt>
                <c:pt idx="44">
                  <c:v>-8.4172159818853134E-2</c:v>
                </c:pt>
                <c:pt idx="45">
                  <c:v>-0.16049947986112695</c:v>
                </c:pt>
                <c:pt idx="46">
                  <c:v>-0.19608484211505203</c:v>
                </c:pt>
                <c:pt idx="47">
                  <c:v>-0.15083682008364968</c:v>
                </c:pt>
                <c:pt idx="48">
                  <c:v>-0.16601635079894123</c:v>
                </c:pt>
                <c:pt idx="49">
                  <c:v>-0.13947576008513429</c:v>
                </c:pt>
                <c:pt idx="50">
                  <c:v>-0.1324360233058994</c:v>
                </c:pt>
                <c:pt idx="51">
                  <c:v>-0.13639975641027197</c:v>
                </c:pt>
                <c:pt idx="52">
                  <c:v>-0.12390528004840083</c:v>
                </c:pt>
                <c:pt idx="53">
                  <c:v>-6.1888570457090133E-2</c:v>
                </c:pt>
                <c:pt idx="54">
                  <c:v>-2.4611106828271823E-2</c:v>
                </c:pt>
                <c:pt idx="55">
                  <c:v>-6.3514285925119294E-3</c:v>
                </c:pt>
                <c:pt idx="56">
                  <c:v>-2.5692253767898392E-2</c:v>
                </c:pt>
                <c:pt idx="57">
                  <c:v>-2.6394984938838528E-2</c:v>
                </c:pt>
                <c:pt idx="58">
                  <c:v>7.6441009651168146E-3</c:v>
                </c:pt>
                <c:pt idx="59">
                  <c:v>-1.9328520997465071E-2</c:v>
                </c:pt>
                <c:pt idx="60">
                  <c:v>-1.0552490981164521E-2</c:v>
                </c:pt>
                <c:pt idx="61">
                  <c:v>7.195297994287992E-3</c:v>
                </c:pt>
                <c:pt idx="62">
                  <c:v>6.9383791582360715E-3</c:v>
                </c:pt>
                <c:pt idx="63">
                  <c:v>3.1420771771174354E-2</c:v>
                </c:pt>
                <c:pt idx="64">
                  <c:v>1.2207424594021269E-2</c:v>
                </c:pt>
                <c:pt idx="65">
                  <c:v>5.5414889074404471E-2</c:v>
                </c:pt>
                <c:pt idx="66">
                  <c:v>6.5620815276121375E-2</c:v>
                </c:pt>
                <c:pt idx="67">
                  <c:v>2.4820512820546453E-2</c:v>
                </c:pt>
                <c:pt idx="68">
                  <c:v>4.6679553903285605E-2</c:v>
                </c:pt>
                <c:pt idx="69">
                  <c:v>4.8635647692115397E-2</c:v>
                </c:pt>
                <c:pt idx="70">
                  <c:v>4.1255765191161968E-2</c:v>
                </c:pt>
                <c:pt idx="71">
                  <c:v>3.7716499544140906E-2</c:v>
                </c:pt>
                <c:pt idx="72">
                  <c:v>3.7578967278237951E-2</c:v>
                </c:pt>
                <c:pt idx="73">
                  <c:v>-5.5340556692133502E-2</c:v>
                </c:pt>
                <c:pt idx="74">
                  <c:v>-4.2842078166650824E-2</c:v>
                </c:pt>
                <c:pt idx="75">
                  <c:v>-2.8816281069787938E-2</c:v>
                </c:pt>
                <c:pt idx="76">
                  <c:v>-2.0106749744526704E-2</c:v>
                </c:pt>
                <c:pt idx="77">
                  <c:v>1.2673933477184042E-2</c:v>
                </c:pt>
                <c:pt idx="78">
                  <c:v>-2.2630350045484533E-2</c:v>
                </c:pt>
                <c:pt idx="79">
                  <c:v>-7.7671734127726134E-3</c:v>
                </c:pt>
                <c:pt idx="80">
                  <c:v>4.5192352662955265E-2</c:v>
                </c:pt>
                <c:pt idx="81">
                  <c:v>8.9166330466790567E-2</c:v>
                </c:pt>
                <c:pt idx="82">
                  <c:v>0.18197188421649677</c:v>
                </c:pt>
                <c:pt idx="83">
                  <c:v>0.14196987002013256</c:v>
                </c:pt>
                <c:pt idx="84">
                  <c:v>7.463645320191678E-2</c:v>
                </c:pt>
                <c:pt idx="85">
                  <c:v>8.2597213576995898E-2</c:v>
                </c:pt>
                <c:pt idx="86">
                  <c:v>6.2293234259620918E-2</c:v>
                </c:pt>
                <c:pt idx="87">
                  <c:v>-4.0621605408641022E-2</c:v>
                </c:pt>
                <c:pt idx="88">
                  <c:v>-7.050744378931148E-2</c:v>
                </c:pt>
                <c:pt idx="89">
                  <c:v>-0.10300798626218378</c:v>
                </c:pt>
                <c:pt idx="90">
                  <c:v>-8.5101353576981453E-2</c:v>
                </c:pt>
                <c:pt idx="91">
                  <c:v>-5.5514312521562394E-2</c:v>
                </c:pt>
                <c:pt idx="92">
                  <c:v>-6.724178236900312E-2</c:v>
                </c:pt>
                <c:pt idx="93">
                  <c:v>-6.0986618101257585E-2</c:v>
                </c:pt>
                <c:pt idx="94">
                  <c:v>-0.10889794168095963</c:v>
                </c:pt>
                <c:pt idx="95">
                  <c:v>-0.11124811178242562</c:v>
                </c:pt>
                <c:pt idx="96">
                  <c:v>-1.4831683356886092E-2</c:v>
                </c:pt>
                <c:pt idx="97">
                  <c:v>6.5702776827239476E-2</c:v>
                </c:pt>
                <c:pt idx="98">
                  <c:v>2.0364487793258418E-2</c:v>
                </c:pt>
                <c:pt idx="99">
                  <c:v>-2.1928371481161269E-2</c:v>
                </c:pt>
                <c:pt idx="100">
                  <c:v>2.4866174488330853E-2</c:v>
                </c:pt>
                <c:pt idx="101">
                  <c:v>3.6616750086226044E-2</c:v>
                </c:pt>
                <c:pt idx="102">
                  <c:v>0.10617334930855354</c:v>
                </c:pt>
                <c:pt idx="103">
                  <c:v>7.9225923041264967E-2</c:v>
                </c:pt>
                <c:pt idx="104">
                  <c:v>2.6248718486678643E-2</c:v>
                </c:pt>
                <c:pt idx="105">
                  <c:v>1.3689170913827166E-4</c:v>
                </c:pt>
                <c:pt idx="106">
                  <c:v>5.2975495916035308E-2</c:v>
                </c:pt>
                <c:pt idx="107">
                  <c:v>2.1952047322407138E-2</c:v>
                </c:pt>
                <c:pt idx="108">
                  <c:v>-2.6516265427197233E-2</c:v>
                </c:pt>
                <c:pt idx="109">
                  <c:v>-3.3038584140238074E-2</c:v>
                </c:pt>
                <c:pt idx="110">
                  <c:v>1.1913655707323296E-2</c:v>
                </c:pt>
                <c:pt idx="111">
                  <c:v>6.1924375672588544E-2</c:v>
                </c:pt>
                <c:pt idx="112">
                  <c:v>4.0677002896503452E-2</c:v>
                </c:pt>
                <c:pt idx="113">
                  <c:v>-3.3326570429848094E-2</c:v>
                </c:pt>
                <c:pt idx="114">
                  <c:v>3.2838478548449096E-2</c:v>
                </c:pt>
                <c:pt idx="115">
                  <c:v>2.186688791257297E-2</c:v>
                </c:pt>
                <c:pt idx="116">
                  <c:v>1.3174834794196979E-2</c:v>
                </c:pt>
                <c:pt idx="117">
                  <c:v>2.8987686682973003E-2</c:v>
                </c:pt>
                <c:pt idx="118">
                  <c:v>-4.0240305785160316E-2</c:v>
                </c:pt>
                <c:pt idx="119">
                  <c:v>-4.6470940899761844E-2</c:v>
                </c:pt>
                <c:pt idx="120">
                  <c:v>-5.4829274172664623E-2</c:v>
                </c:pt>
                <c:pt idx="121">
                  <c:v>-8.4619600411212692E-2</c:v>
                </c:pt>
                <c:pt idx="122">
                  <c:v>-0.10503214638972676</c:v>
                </c:pt>
                <c:pt idx="123">
                  <c:v>-0.10910449354250827</c:v>
                </c:pt>
                <c:pt idx="124">
                  <c:v>-1.3589174836853341E-2</c:v>
                </c:pt>
                <c:pt idx="125">
                  <c:v>-2.9308548917901609E-2</c:v>
                </c:pt>
                <c:pt idx="126">
                  <c:v>-3.515014936790907E-2</c:v>
                </c:pt>
                <c:pt idx="127">
                  <c:v>-7.0051251452601257E-2</c:v>
                </c:pt>
                <c:pt idx="128">
                  <c:v>-0.10310873008715948</c:v>
                </c:pt>
                <c:pt idx="129">
                  <c:v>-6.8393936997066654E-2</c:v>
                </c:pt>
                <c:pt idx="130">
                  <c:v>-2.7195197281737818E-2</c:v>
                </c:pt>
                <c:pt idx="131">
                  <c:v>3.4881482695744412E-2</c:v>
                </c:pt>
                <c:pt idx="132">
                  <c:v>5.7155272413130724E-2</c:v>
                </c:pt>
                <c:pt idx="133">
                  <c:v>7.1064387337837404E-2</c:v>
                </c:pt>
                <c:pt idx="134">
                  <c:v>0.10491435204826947</c:v>
                </c:pt>
                <c:pt idx="135">
                  <c:v>0.19233102206950381</c:v>
                </c:pt>
                <c:pt idx="136">
                  <c:v>0.18208636491190888</c:v>
                </c:pt>
                <c:pt idx="137">
                  <c:v>0.13434072173257211</c:v>
                </c:pt>
                <c:pt idx="138">
                  <c:v>0.15403835675134075</c:v>
                </c:pt>
                <c:pt idx="139">
                  <c:v>0.13301334146006816</c:v>
                </c:pt>
                <c:pt idx="140">
                  <c:v>0.12835393936575312</c:v>
                </c:pt>
                <c:pt idx="141">
                  <c:v>7.9218707748924186E-2</c:v>
                </c:pt>
                <c:pt idx="142">
                  <c:v>3.5418502202641436E-2</c:v>
                </c:pt>
                <c:pt idx="143">
                  <c:v>2.7896825621745211E-5</c:v>
                </c:pt>
                <c:pt idx="144">
                  <c:v>-1.9686672346230172E-2</c:v>
                </c:pt>
                <c:pt idx="145">
                  <c:v>1.2553153368307209E-2</c:v>
                </c:pt>
                <c:pt idx="146">
                  <c:v>2.642767479037147E-3</c:v>
                </c:pt>
                <c:pt idx="147">
                  <c:v>-3.2785407338451845E-2</c:v>
                </c:pt>
                <c:pt idx="148">
                  <c:v>-4.2609142973248804E-2</c:v>
                </c:pt>
                <c:pt idx="149">
                  <c:v>-2.7131312804621846E-2</c:v>
                </c:pt>
                <c:pt idx="150">
                  <c:v>-2.7380020672353057E-2</c:v>
                </c:pt>
                <c:pt idx="151">
                  <c:v>2.3404664698445408E-2</c:v>
                </c:pt>
                <c:pt idx="152">
                  <c:v>6.0782657786765046E-2</c:v>
                </c:pt>
                <c:pt idx="153">
                  <c:v>3.8572705962006022E-2</c:v>
                </c:pt>
                <c:pt idx="154">
                  <c:v>9.561272757687185E-2</c:v>
                </c:pt>
                <c:pt idx="155">
                  <c:v>7.4294398380556445E-2</c:v>
                </c:pt>
                <c:pt idx="156">
                  <c:v>6.5556711758570141E-2</c:v>
                </c:pt>
                <c:pt idx="157">
                  <c:v>1.3260136172175273E-2</c:v>
                </c:pt>
                <c:pt idx="158">
                  <c:v>8.6777170940448029E-3</c:v>
                </c:pt>
                <c:pt idx="159">
                  <c:v>8.4186292872226606E-2</c:v>
                </c:pt>
                <c:pt idx="160">
                  <c:v>9.6553062148366106E-2</c:v>
                </c:pt>
                <c:pt idx="161">
                  <c:v>5.8951155373911629E-2</c:v>
                </c:pt>
                <c:pt idx="162">
                  <c:v>6.57819634702244E-2</c:v>
                </c:pt>
                <c:pt idx="163">
                  <c:v>0.10394676278783148</c:v>
                </c:pt>
                <c:pt idx="164">
                  <c:v>7.8462846373779205E-2</c:v>
                </c:pt>
                <c:pt idx="165">
                  <c:v>5.2941415124974744E-2</c:v>
                </c:pt>
                <c:pt idx="166">
                  <c:v>5.5873334088194074E-2</c:v>
                </c:pt>
                <c:pt idx="167">
                  <c:v>2.1531013289944351E-2</c:v>
                </c:pt>
                <c:pt idx="168">
                  <c:v>2.2974101921438225E-2</c:v>
                </c:pt>
                <c:pt idx="169">
                  <c:v>-2.5123579797989213E-2</c:v>
                </c:pt>
                <c:pt idx="170">
                  <c:v>-4.2809439712714864E-2</c:v>
                </c:pt>
                <c:pt idx="171">
                  <c:v>-5.5877135436832238E-2</c:v>
                </c:pt>
                <c:pt idx="172">
                  <c:v>-4.0967103479244683E-2</c:v>
                </c:pt>
                <c:pt idx="173">
                  <c:v>5.0172412850352992E-4</c:v>
                </c:pt>
                <c:pt idx="174">
                  <c:v>-2.7545769910299656E-2</c:v>
                </c:pt>
                <c:pt idx="175">
                  <c:v>-5.3034036262282709E-2</c:v>
                </c:pt>
                <c:pt idx="176">
                  <c:v>-5.0013202905083161E-2</c:v>
                </c:pt>
                <c:pt idx="177">
                  <c:v>-3.7273785099703131E-2</c:v>
                </c:pt>
                <c:pt idx="178">
                  <c:v>-8.9140220980154186E-2</c:v>
                </c:pt>
                <c:pt idx="179">
                  <c:v>-6.8156726274626225E-2</c:v>
                </c:pt>
                <c:pt idx="180">
                  <c:v>-3.0595118797717619E-2</c:v>
                </c:pt>
                <c:pt idx="181">
                  <c:v>-1.139503525588836E-2</c:v>
                </c:pt>
                <c:pt idx="182">
                  <c:v>-2.7954461564373066E-4</c:v>
                </c:pt>
                <c:pt idx="183">
                  <c:v>3.4676515073375554E-2</c:v>
                </c:pt>
                <c:pt idx="184">
                  <c:v>7.2489857330947302E-2</c:v>
                </c:pt>
                <c:pt idx="185">
                  <c:v>9.1509079535213977E-2</c:v>
                </c:pt>
                <c:pt idx="186">
                  <c:v>6.6191967583905345E-2</c:v>
                </c:pt>
                <c:pt idx="187">
                  <c:v>7.2610389834743216E-2</c:v>
                </c:pt>
                <c:pt idx="188">
                  <c:v>7.6969366716128446E-2</c:v>
                </c:pt>
                <c:pt idx="189">
                  <c:v>5.5847907960542155E-2</c:v>
                </c:pt>
                <c:pt idx="190">
                  <c:v>2.0026185745190814E-2</c:v>
                </c:pt>
                <c:pt idx="191">
                  <c:v>1.6583132819637969E-3</c:v>
                </c:pt>
                <c:pt idx="192">
                  <c:v>-3.685315638339106E-2</c:v>
                </c:pt>
                <c:pt idx="193">
                  <c:v>-2.3706957859240308E-2</c:v>
                </c:pt>
                <c:pt idx="194">
                  <c:v>6.3162185262811005E-3</c:v>
                </c:pt>
                <c:pt idx="195">
                  <c:v>-8.3901583974368618E-4</c:v>
                </c:pt>
                <c:pt idx="196">
                  <c:v>-5.2736119642430327E-3</c:v>
                </c:pt>
                <c:pt idx="197">
                  <c:v>1.060193600814517E-2</c:v>
                </c:pt>
                <c:pt idx="198">
                  <c:v>1.8879699034241589E-2</c:v>
                </c:pt>
                <c:pt idx="199">
                  <c:v>4.5825942753557969E-3</c:v>
                </c:pt>
                <c:pt idx="200">
                  <c:v>6.8196615959296774E-3</c:v>
                </c:pt>
                <c:pt idx="201">
                  <c:v>1.7069673450702549E-2</c:v>
                </c:pt>
                <c:pt idx="202">
                  <c:v>-3.921889488879427E-3</c:v>
                </c:pt>
                <c:pt idx="203">
                  <c:v>-4.0329728491827069E-3</c:v>
                </c:pt>
                <c:pt idx="204">
                  <c:v>7.555160625176794E-3</c:v>
                </c:pt>
                <c:pt idx="205">
                  <c:v>4.8154536167774577E-2</c:v>
                </c:pt>
                <c:pt idx="206">
                  <c:v>2.7294248370181219E-2</c:v>
                </c:pt>
                <c:pt idx="207">
                  <c:v>-4.8441426910069627E-3</c:v>
                </c:pt>
                <c:pt idx="208">
                  <c:v>4.209036814553923E-2</c:v>
                </c:pt>
                <c:pt idx="209">
                  <c:v>3.1426388286994608E-2</c:v>
                </c:pt>
                <c:pt idx="210">
                  <c:v>1.2347897629450853E-2</c:v>
                </c:pt>
                <c:pt idx="211">
                  <c:v>-2.5645825371341944E-2</c:v>
                </c:pt>
                <c:pt idx="212">
                  <c:v>-4.3021770389384477E-2</c:v>
                </c:pt>
                <c:pt idx="213">
                  <c:v>-5.5032457962731499E-2</c:v>
                </c:pt>
                <c:pt idx="214">
                  <c:v>-3.9313795326214387E-2</c:v>
                </c:pt>
                <c:pt idx="215">
                  <c:v>-2.0752092157957595E-2</c:v>
                </c:pt>
                <c:pt idx="216">
                  <c:v>-1.2418754898852252E-2</c:v>
                </c:pt>
                <c:pt idx="217">
                  <c:v>-8.9451207296212421E-2</c:v>
                </c:pt>
                <c:pt idx="218">
                  <c:v>-7.1058053965645851E-2</c:v>
                </c:pt>
                <c:pt idx="219">
                  <c:v>-1.9994513985984133E-2</c:v>
                </c:pt>
                <c:pt idx="220">
                  <c:v>-4.7716928498048969E-2</c:v>
                </c:pt>
                <c:pt idx="221">
                  <c:v>-1.2816012675167212E-2</c:v>
                </c:pt>
                <c:pt idx="222">
                  <c:v>1.666422725231714E-2</c:v>
                </c:pt>
                <c:pt idx="223">
                  <c:v>5.1202449370597126E-2</c:v>
                </c:pt>
                <c:pt idx="224">
                  <c:v>0.20306140842478101</c:v>
                </c:pt>
                <c:pt idx="225">
                  <c:v>0.18222597602903115</c:v>
                </c:pt>
                <c:pt idx="226">
                  <c:v>0.15849152628637161</c:v>
                </c:pt>
                <c:pt idx="227">
                  <c:v>0.16360945975443392</c:v>
                </c:pt>
                <c:pt idx="228">
                  <c:v>9.646794687827312E-2</c:v>
                </c:pt>
                <c:pt idx="229">
                  <c:v>0.11272644719923874</c:v>
                </c:pt>
                <c:pt idx="230">
                  <c:v>0.12809313528701066</c:v>
                </c:pt>
                <c:pt idx="231">
                  <c:v>-4.2181963438174493E-2</c:v>
                </c:pt>
                <c:pt idx="232">
                  <c:v>-7.4968146286040871E-2</c:v>
                </c:pt>
                <c:pt idx="233">
                  <c:v>-7.0566875039636809E-2</c:v>
                </c:pt>
                <c:pt idx="234">
                  <c:v>-0.11100883977258276</c:v>
                </c:pt>
                <c:pt idx="235">
                  <c:v>-7.4576227019870822E-2</c:v>
                </c:pt>
                <c:pt idx="236">
                  <c:v>-2.6907489802350373E-2</c:v>
                </c:pt>
                <c:pt idx="237">
                  <c:v>-5.6824742268152595E-2</c:v>
                </c:pt>
                <c:pt idx="238">
                  <c:v>-1.4727148993994767E-2</c:v>
                </c:pt>
                <c:pt idx="239">
                  <c:v>6.3272213459572249E-2</c:v>
                </c:pt>
                <c:pt idx="240">
                  <c:v>6.196264396702675E-3</c:v>
                </c:pt>
                <c:pt idx="241">
                  <c:v>2.5391173990349597E-2</c:v>
                </c:pt>
                <c:pt idx="242">
                  <c:v>-2.6918562157968208E-2</c:v>
                </c:pt>
                <c:pt idx="243">
                  <c:v>-6.0400883747565911E-3</c:v>
                </c:pt>
                <c:pt idx="244">
                  <c:v>-4.3761998036338123E-2</c:v>
                </c:pt>
                <c:pt idx="245">
                  <c:v>-5.8138728323698236E-2</c:v>
                </c:pt>
                <c:pt idx="246">
                  <c:v>-0.10285140456120305</c:v>
                </c:pt>
                <c:pt idx="247">
                  <c:v>-8.1618615132213829E-2</c:v>
                </c:pt>
                <c:pt idx="248">
                  <c:v>-8.6523464458361024E-2</c:v>
                </c:pt>
                <c:pt idx="249">
                  <c:v>-7.0618807861123276E-2</c:v>
                </c:pt>
                <c:pt idx="250">
                  <c:v>2.9689280265556332E-2</c:v>
                </c:pt>
                <c:pt idx="251">
                  <c:v>5.6999978674670056E-2</c:v>
                </c:pt>
                <c:pt idx="252">
                  <c:v>5.9144676979209963E-2</c:v>
                </c:pt>
                <c:pt idx="253">
                  <c:v>0.10329694791817257</c:v>
                </c:pt>
                <c:pt idx="254">
                  <c:v>9.7034339972816311E-2</c:v>
                </c:pt>
                <c:pt idx="255">
                  <c:v>0.15620951938064032</c:v>
                </c:pt>
                <c:pt idx="256">
                  <c:v>7.5260792129483389E-2</c:v>
                </c:pt>
                <c:pt idx="257">
                  <c:v>9.5673161056987352E-2</c:v>
                </c:pt>
                <c:pt idx="258">
                  <c:v>-2.4693919900619848E-2</c:v>
                </c:pt>
                <c:pt idx="259">
                  <c:v>-7.0642259546084885E-2</c:v>
                </c:pt>
                <c:pt idx="260">
                  <c:v>-4.0286244345628437E-4</c:v>
                </c:pt>
                <c:pt idx="261">
                  <c:v>-4.767737570270577E-2</c:v>
                </c:pt>
                <c:pt idx="262">
                  <c:v>-0.15041438225187065</c:v>
                </c:pt>
                <c:pt idx="263">
                  <c:v>-7.3058684054723697E-2</c:v>
                </c:pt>
                <c:pt idx="264">
                  <c:v>1.3947672181549964E-2</c:v>
                </c:pt>
                <c:pt idx="265">
                  <c:v>5.3358895257336454E-2</c:v>
                </c:pt>
                <c:pt idx="266">
                  <c:v>5.4163502910974479E-2</c:v>
                </c:pt>
                <c:pt idx="267">
                  <c:v>-2.7272965672487652E-2</c:v>
                </c:pt>
                <c:pt idx="268">
                  <c:v>6.8870523418818044E-3</c:v>
                </c:pt>
                <c:pt idx="269">
                  <c:v>-5.0311729738058204E-2</c:v>
                </c:pt>
                <c:pt idx="270">
                  <c:v>-0.17609837631388886</c:v>
                </c:pt>
                <c:pt idx="271">
                  <c:v>-0.15539294059830142</c:v>
                </c:pt>
                <c:pt idx="272">
                  <c:v>-0.20348837209355636</c:v>
                </c:pt>
                <c:pt idx="273">
                  <c:v>-0.19111570247998128</c:v>
                </c:pt>
                <c:pt idx="274">
                  <c:v>-0.15126835781038084</c:v>
                </c:pt>
                <c:pt idx="275">
                  <c:v>-4.6409266409171319E-2</c:v>
                </c:pt>
                <c:pt idx="276">
                  <c:v>2.8997990237138477E-2</c:v>
                </c:pt>
                <c:pt idx="277">
                  <c:v>8.5498556518798716E-2</c:v>
                </c:pt>
                <c:pt idx="278">
                  <c:v>8.1196581197230819E-2</c:v>
                </c:pt>
                <c:pt idx="279">
                  <c:v>0.25205389418401208</c:v>
                </c:pt>
                <c:pt idx="280">
                  <c:v>0.28117647058927897</c:v>
                </c:pt>
                <c:pt idx="281">
                  <c:v>0.25065387968684244</c:v>
                </c:pt>
                <c:pt idx="282">
                  <c:v>3.1457687195501079E-2</c:v>
                </c:pt>
                <c:pt idx="283">
                  <c:v>-0.15270935960611864</c:v>
                </c:pt>
                <c:pt idx="284">
                  <c:v>2.7196333079092506E-2</c:v>
                </c:pt>
                <c:pt idx="285">
                  <c:v>8.4033613430956697E-3</c:v>
                </c:pt>
                <c:pt idx="286">
                  <c:v>-0.17279821627788033</c:v>
                </c:pt>
                <c:pt idx="287">
                  <c:v>-0.30068649885835902</c:v>
                </c:pt>
                <c:pt idx="288">
                  <c:v>-0.29401993355752065</c:v>
                </c:pt>
                <c:pt idx="289">
                  <c:v>-0.21448863636617743</c:v>
                </c:pt>
                <c:pt idx="290">
                  <c:v>-4.3995243759169404E-2</c:v>
                </c:pt>
                <c:pt idx="291">
                  <c:v>-0.27756970453831287</c:v>
                </c:pt>
                <c:pt idx="292">
                  <c:v>-3.3989266549379185E-2</c:v>
                </c:pt>
                <c:pt idx="293">
                  <c:v>0.1007371007349132</c:v>
                </c:pt>
                <c:pt idx="294">
                  <c:v>-3.0701754387352193E-2</c:v>
                </c:pt>
                <c:pt idx="295">
                  <c:v>-0.16286149163190894</c:v>
                </c:pt>
                <c:pt idx="296">
                  <c:v>-0.1181818181849351</c:v>
                </c:pt>
                <c:pt idx="297">
                  <c:v>1.0319917397662709E-3</c:v>
                </c:pt>
                <c:pt idx="298">
                  <c:v>0.21874999999493827</c:v>
                </c:pt>
                <c:pt idx="299">
                  <c:v>-1.3081395355647112E-2</c:v>
                </c:pt>
                <c:pt idx="300">
                  <c:v>0.48214285713921612</c:v>
                </c:pt>
                <c:pt idx="301">
                  <c:v>1.35294117647151</c:v>
                </c:pt>
                <c:pt idx="302">
                  <c:v>1.4687500000035831</c:v>
                </c:pt>
                <c:pt idx="303">
                  <c:v>0.80451127819579493</c:v>
                </c:pt>
                <c:pt idx="304">
                  <c:v>0.58888888889137714</c:v>
                </c:pt>
                <c:pt idx="305">
                  <c:v>0.48648648648978665</c:v>
                </c:pt>
                <c:pt idx="306">
                  <c:v>0.65405405405759109</c:v>
                </c:pt>
                <c:pt idx="307">
                  <c:v>7.0135746605590771E-2</c:v>
                </c:pt>
                <c:pt idx="308">
                  <c:v>-0.17419354839053605</c:v>
                </c:pt>
                <c:pt idx="309">
                  <c:v>-0.38888888889292078</c:v>
                </c:pt>
                <c:pt idx="310">
                  <c:v>-0.5424107142908402</c:v>
                </c:pt>
                <c:pt idx="311">
                  <c:v>-0.3090909090951256</c:v>
                </c:pt>
                <c:pt idx="312">
                  <c:v>-0.24731182796048196</c:v>
                </c:pt>
                <c:pt idx="313">
                  <c:v>-0.34375000000372813</c:v>
                </c:pt>
                <c:pt idx="314">
                  <c:v>-0.398989898992758</c:v>
                </c:pt>
                <c:pt idx="315">
                  <c:v>9.0090090080529716E-3</c:v>
                </c:pt>
                <c:pt idx="316">
                  <c:v>0.37500000000416162</c:v>
                </c:pt>
                <c:pt idx="317">
                  <c:v>0.72857142858278912</c:v>
                </c:pt>
                <c:pt idx="318">
                  <c:v>0.48872180451861857</c:v>
                </c:pt>
                <c:pt idx="319">
                  <c:v>0.34615384615847578</c:v>
                </c:pt>
                <c:pt idx="320">
                  <c:v>0.43859649123186401</c:v>
                </c:pt>
                <c:pt idx="321">
                  <c:v>0.26136363636782106</c:v>
                </c:pt>
                <c:pt idx="322">
                  <c:v>-0.10416666666685932</c:v>
                </c:pt>
                <c:pt idx="323">
                  <c:v>-0.27040816326613593</c:v>
                </c:pt>
                <c:pt idx="324">
                  <c:v>3.3653846154565119E-2</c:v>
                </c:pt>
                <c:pt idx="325">
                  <c:v>2.7972027972430816E-2</c:v>
                </c:pt>
                <c:pt idx="326">
                  <c:v>-8.6956521739298118E-2</c:v>
                </c:pt>
                <c:pt idx="327">
                  <c:v>-3.5014005602648321E-2</c:v>
                </c:pt>
                <c:pt idx="328">
                  <c:v>-0.11312217194626903</c:v>
                </c:pt>
                <c:pt idx="329">
                  <c:v>-0.12000000000258049</c:v>
                </c:pt>
                <c:pt idx="330">
                  <c:v>-0.32598039216010949</c:v>
                </c:pt>
                <c:pt idx="331">
                  <c:v>-0.47767857143006121</c:v>
                </c:pt>
                <c:pt idx="332">
                  <c:v>-0.37343358396064985</c:v>
                </c:pt>
                <c:pt idx="333">
                  <c:v>-0.18796992481302879</c:v>
                </c:pt>
                <c:pt idx="334">
                  <c:v>6.7385444741723644E-2</c:v>
                </c:pt>
                <c:pt idx="335">
                  <c:v>0.12244897959024661</c:v>
                </c:pt>
                <c:pt idx="336">
                  <c:v>0.33846153846103638</c:v>
                </c:pt>
                <c:pt idx="337">
                  <c:v>0.23015873015977206</c:v>
                </c:pt>
                <c:pt idx="338">
                  <c:v>0.27083333333198462</c:v>
                </c:pt>
                <c:pt idx="339">
                  <c:v>0.18867924528165975</c:v>
                </c:pt>
                <c:pt idx="340">
                  <c:v>6.2409288822465728E-2</c:v>
                </c:pt>
                <c:pt idx="341">
                  <c:v>0.25490196078301647</c:v>
                </c:pt>
                <c:pt idx="342">
                  <c:v>-7.3529411766873998E-2</c:v>
                </c:pt>
                <c:pt idx="343">
                  <c:v>4.6296296292595738E-3</c:v>
                </c:pt>
                <c:pt idx="344">
                  <c:v>0.25866666666557908</c:v>
                </c:pt>
                <c:pt idx="345">
                  <c:v>0.49142857142875551</c:v>
                </c:pt>
                <c:pt idx="346">
                  <c:v>0.4346504559265813</c:v>
                </c:pt>
                <c:pt idx="347">
                  <c:v>0.19727891156337277</c:v>
                </c:pt>
                <c:pt idx="348">
                  <c:v>4.3269230767197159E-2</c:v>
                </c:pt>
                <c:pt idx="349">
                  <c:v>-0.10243407707968613</c:v>
                </c:pt>
                <c:pt idx="350">
                  <c:v>6.0851926976388301E-3</c:v>
                </c:pt>
                <c:pt idx="351">
                  <c:v>-0.13425925925974347</c:v>
                </c:pt>
                <c:pt idx="352">
                  <c:v>-7.6923076923215275E-2</c:v>
                </c:pt>
                <c:pt idx="353">
                  <c:v>1.8518518518943362E-2</c:v>
                </c:pt>
                <c:pt idx="354">
                  <c:v>4.3020193152459946E-2</c:v>
                </c:pt>
                <c:pt idx="355">
                  <c:v>0.31314878892894377</c:v>
                </c:pt>
                <c:pt idx="356">
                  <c:v>0.23639607493404027</c:v>
                </c:pt>
                <c:pt idx="357">
                  <c:v>4.1935483870987757E-2</c:v>
                </c:pt>
                <c:pt idx="358">
                  <c:v>-0.21607378129207425</c:v>
                </c:pt>
                <c:pt idx="359">
                  <c:v>-0.37626262626435786</c:v>
                </c:pt>
                <c:pt idx="360">
                  <c:v>-0.3951612903245178</c:v>
                </c:pt>
                <c:pt idx="361">
                  <c:v>-0.37562366357995752</c:v>
                </c:pt>
                <c:pt idx="362">
                  <c:v>-0.39942528735851207</c:v>
                </c:pt>
                <c:pt idx="363">
                  <c:v>-0.550962223808658</c:v>
                </c:pt>
                <c:pt idx="364">
                  <c:v>-0.42615012106817296</c:v>
                </c:pt>
                <c:pt idx="365">
                  <c:v>-0.25925925926160526</c:v>
                </c:pt>
                <c:pt idx="366">
                  <c:v>-0.17725409836233716</c:v>
                </c:pt>
                <c:pt idx="367">
                  <c:v>-2.8985507246451322E-2</c:v>
                </c:pt>
                <c:pt idx="368">
                  <c:v>0.14285714285856202</c:v>
                </c:pt>
                <c:pt idx="369">
                  <c:v>0.38488783943686899</c:v>
                </c:pt>
                <c:pt idx="370">
                  <c:v>0.60839160839743978</c:v>
                </c:pt>
                <c:pt idx="371">
                  <c:v>0.60590277778307311</c:v>
                </c:pt>
                <c:pt idx="372">
                  <c:v>0.32993197279275832</c:v>
                </c:pt>
                <c:pt idx="373">
                  <c:v>5.0480769231882501E-2</c:v>
                </c:pt>
                <c:pt idx="374">
                  <c:v>5.6985294118769736E-2</c:v>
                </c:pt>
                <c:pt idx="375">
                  <c:v>4.5751633988778725E-2</c:v>
                </c:pt>
                <c:pt idx="376">
                  <c:v>1.1441647598306841E-2</c:v>
                </c:pt>
                <c:pt idx="377">
                  <c:v>-9.2592592592006487E-2</c:v>
                </c:pt>
                <c:pt idx="378">
                  <c:v>9.4832648268201342E-2</c:v>
                </c:pt>
                <c:pt idx="379">
                  <c:v>0.21969696969784355</c:v>
                </c:pt>
                <c:pt idx="380">
                  <c:v>0.24733475479826783</c:v>
                </c:pt>
                <c:pt idx="381">
                  <c:v>8.3333333333796472E-2</c:v>
                </c:pt>
                <c:pt idx="382">
                  <c:v>0.11447492904496737</c:v>
                </c:pt>
                <c:pt idx="383">
                  <c:v>9.4992050874664113E-2</c:v>
                </c:pt>
                <c:pt idx="384">
                  <c:v>-8.1081081081275763E-2</c:v>
                </c:pt>
                <c:pt idx="385">
                  <c:v>-0.11309523809557365</c:v>
                </c:pt>
                <c:pt idx="386">
                  <c:v>-0.26055386693745364</c:v>
                </c:pt>
                <c:pt idx="387">
                  <c:v>-0.26056338028274728</c:v>
                </c:pt>
                <c:pt idx="388">
                  <c:v>-0.12182829336200483</c:v>
                </c:pt>
                <c:pt idx="389">
                  <c:v>-6.3926940639984511E-2</c:v>
                </c:pt>
                <c:pt idx="390">
                  <c:v>-0.10003195909316341</c:v>
                </c:pt>
                <c:pt idx="391">
                  <c:v>-0.16462518373433549</c:v>
                </c:pt>
                <c:pt idx="392">
                  <c:v>3.2467532467588586E-2</c:v>
                </c:pt>
                <c:pt idx="393">
                  <c:v>-8.5380116958746186E-2</c:v>
                </c:pt>
                <c:pt idx="394">
                  <c:v>-7.6923076923226946E-2</c:v>
                </c:pt>
                <c:pt idx="395">
                  <c:v>-0.27089783281744778</c:v>
                </c:pt>
                <c:pt idx="396">
                  <c:v>-0.2772020725394021</c:v>
                </c:pt>
                <c:pt idx="397">
                  <c:v>1.5482054891013328E-2</c:v>
                </c:pt>
                <c:pt idx="398">
                  <c:v>-0.12837837837819774</c:v>
                </c:pt>
                <c:pt idx="399">
                  <c:v>0.12510766580431545</c:v>
                </c:pt>
                <c:pt idx="400">
                  <c:v>0.30784922394667008</c:v>
                </c:pt>
                <c:pt idx="401">
                  <c:v>0.31249999999985745</c:v>
                </c:pt>
                <c:pt idx="402">
                  <c:v>0.35044293903073825</c:v>
                </c:pt>
                <c:pt idx="403">
                  <c:v>0.37320846905485505</c:v>
                </c:pt>
                <c:pt idx="404">
                  <c:v>0.37841174050141879</c:v>
                </c:pt>
                <c:pt idx="405">
                  <c:v>0.20477671000667738</c:v>
                </c:pt>
                <c:pt idx="406">
                  <c:v>-1.2351778652823727E-3</c:v>
                </c:pt>
                <c:pt idx="407">
                  <c:v>-0.18396564065843754</c:v>
                </c:pt>
                <c:pt idx="408">
                  <c:v>-5.7948717948554412E-2</c:v>
                </c:pt>
                <c:pt idx="409">
                  <c:v>-0.1277812200752752</c:v>
                </c:pt>
                <c:pt idx="410">
                  <c:v>-0.16772823779180812</c:v>
                </c:pt>
                <c:pt idx="411">
                  <c:v>-0.15541922290380442</c:v>
                </c:pt>
                <c:pt idx="412">
                  <c:v>-0.2784136874532791</c:v>
                </c:pt>
                <c:pt idx="413">
                  <c:v>-0.24163397184397536</c:v>
                </c:pt>
                <c:pt idx="414">
                  <c:v>-0.15764825011109559</c:v>
                </c:pt>
                <c:pt idx="415">
                  <c:v>-0.20820702306782168</c:v>
                </c:pt>
                <c:pt idx="416">
                  <c:v>-0.16770779996603782</c:v>
                </c:pt>
                <c:pt idx="417">
                  <c:v>-0.10891404202953932</c:v>
                </c:pt>
                <c:pt idx="418">
                  <c:v>-9.3232055843092604E-2</c:v>
                </c:pt>
                <c:pt idx="419">
                  <c:v>-7.1966891043146658E-2</c:v>
                </c:pt>
                <c:pt idx="420">
                  <c:v>-3.0761288546011092E-2</c:v>
                </c:pt>
                <c:pt idx="421">
                  <c:v>-2.5963006957247802E-2</c:v>
                </c:pt>
                <c:pt idx="422">
                  <c:v>-2.8864045876157832E-2</c:v>
                </c:pt>
                <c:pt idx="423">
                  <c:v>-9.0965882588030803E-2</c:v>
                </c:pt>
                <c:pt idx="424">
                  <c:v>-9.6467391304238551E-2</c:v>
                </c:pt>
                <c:pt idx="425">
                  <c:v>7.7970313047604932E-3</c:v>
                </c:pt>
                <c:pt idx="426">
                  <c:v>6.305915262003621E-2</c:v>
                </c:pt>
                <c:pt idx="427">
                  <c:v>-2.1569462182230111E-2</c:v>
                </c:pt>
                <c:pt idx="428">
                  <c:v>-3.9635877057833856E-2</c:v>
                </c:pt>
                <c:pt idx="429">
                  <c:v>-7.344493276055189E-2</c:v>
                </c:pt>
                <c:pt idx="430">
                  <c:v>-4.9788580420071574E-2</c:v>
                </c:pt>
                <c:pt idx="431">
                  <c:v>-6.2580433590390269E-2</c:v>
                </c:pt>
                <c:pt idx="432">
                  <c:v>-3.392747214083928E-4</c:v>
                </c:pt>
                <c:pt idx="433">
                  <c:v>5.3222735183728553E-2</c:v>
                </c:pt>
                <c:pt idx="434">
                  <c:v>4.439773555314621E-2</c:v>
                </c:pt>
                <c:pt idx="435">
                  <c:v>7.2539203924117113E-2</c:v>
                </c:pt>
                <c:pt idx="436">
                  <c:v>2.0159476589706554E-2</c:v>
                </c:pt>
                <c:pt idx="437">
                  <c:v>-5.3632443336940533E-2</c:v>
                </c:pt>
                <c:pt idx="438">
                  <c:v>-4.8006719648476519E-2</c:v>
                </c:pt>
                <c:pt idx="439">
                  <c:v>-3.9285045178922735E-2</c:v>
                </c:pt>
                <c:pt idx="440">
                  <c:v>-0.10090665861490616</c:v>
                </c:pt>
                <c:pt idx="441">
                  <c:v>-0.12733152164327088</c:v>
                </c:pt>
                <c:pt idx="442">
                  <c:v>-6.3217745929531707E-2</c:v>
                </c:pt>
                <c:pt idx="443">
                  <c:v>-4.1411564321668162E-2</c:v>
                </c:pt>
                <c:pt idx="444">
                  <c:v>-1.7065696145913915E-2</c:v>
                </c:pt>
                <c:pt idx="445">
                  <c:v>-3.4075741943471023E-2</c:v>
                </c:pt>
                <c:pt idx="446">
                  <c:v>5.541726093981382E-2</c:v>
                </c:pt>
                <c:pt idx="447">
                  <c:v>0.14964219288781511</c:v>
                </c:pt>
                <c:pt idx="448">
                  <c:v>0.12314006398757324</c:v>
                </c:pt>
                <c:pt idx="449">
                  <c:v>7.6605868854349585E-2</c:v>
                </c:pt>
                <c:pt idx="450">
                  <c:v>5.5242298088803356E-2</c:v>
                </c:pt>
                <c:pt idx="451">
                  <c:v>2.035729123301004E-3</c:v>
                </c:pt>
                <c:pt idx="452">
                  <c:v>5.5446986061709483E-3</c:v>
                </c:pt>
                <c:pt idx="453">
                  <c:v>2.305616692904585E-2</c:v>
                </c:pt>
                <c:pt idx="454">
                  <c:v>-2.9704939431818546E-2</c:v>
                </c:pt>
                <c:pt idx="455">
                  <c:v>-5.8404965820675982E-2</c:v>
                </c:pt>
                <c:pt idx="456">
                  <c:v>-1.1589157577101328E-2</c:v>
                </c:pt>
                <c:pt idx="457">
                  <c:v>-4.2032476802237637E-2</c:v>
                </c:pt>
                <c:pt idx="458">
                  <c:v>-4.6991641314589577E-2</c:v>
                </c:pt>
                <c:pt idx="459">
                  <c:v>-2.8176427958507725E-2</c:v>
                </c:pt>
                <c:pt idx="460">
                  <c:v>2.9116319206454563E-2</c:v>
                </c:pt>
                <c:pt idx="461">
                  <c:v>1.3847822790504326E-2</c:v>
                </c:pt>
                <c:pt idx="462">
                  <c:v>2.1605443432822165E-2</c:v>
                </c:pt>
                <c:pt idx="463">
                  <c:v>3.6573880677415266E-2</c:v>
                </c:pt>
                <c:pt idx="464">
                  <c:v>7.3457414556311412E-2</c:v>
                </c:pt>
                <c:pt idx="465">
                  <c:v>5.2943073004038013E-2</c:v>
                </c:pt>
                <c:pt idx="466">
                  <c:v>8.6581530124651362E-2</c:v>
                </c:pt>
                <c:pt idx="467">
                  <c:v>0.12361702040534142</c:v>
                </c:pt>
                <c:pt idx="468">
                  <c:v>6.2726542382420314E-2</c:v>
                </c:pt>
                <c:pt idx="469">
                  <c:v>2.0647645362294183E-2</c:v>
                </c:pt>
                <c:pt idx="470">
                  <c:v>2.0248365650491453E-2</c:v>
                </c:pt>
                <c:pt idx="471">
                  <c:v>-1.9425861246057354E-2</c:v>
                </c:pt>
                <c:pt idx="472">
                  <c:v>-2.6946551391210272E-2</c:v>
                </c:pt>
                <c:pt idx="473">
                  <c:v>-6.3373594056760282E-2</c:v>
                </c:pt>
                <c:pt idx="474">
                  <c:v>-2.2754573408506066E-2</c:v>
                </c:pt>
                <c:pt idx="475">
                  <c:v>6.8833889181537003E-2</c:v>
                </c:pt>
                <c:pt idx="476">
                  <c:v>0.12909414922770765</c:v>
                </c:pt>
                <c:pt idx="477">
                  <c:v>0.18267542043504961</c:v>
                </c:pt>
                <c:pt idx="478">
                  <c:v>0.2253180739965025</c:v>
                </c:pt>
                <c:pt idx="479">
                  <c:v>0.21218633461858785</c:v>
                </c:pt>
                <c:pt idx="480">
                  <c:v>0.22643183455963586</c:v>
                </c:pt>
                <c:pt idx="481">
                  <c:v>0.23552870433394457</c:v>
                </c:pt>
                <c:pt idx="482">
                  <c:v>8.1975513915355167E-2</c:v>
                </c:pt>
                <c:pt idx="483">
                  <c:v>3.862112026426856E-2</c:v>
                </c:pt>
                <c:pt idx="484">
                  <c:v>7.1913082338421282E-4</c:v>
                </c:pt>
                <c:pt idx="485">
                  <c:v>-6.8241850744470325E-2</c:v>
                </c:pt>
                <c:pt idx="486">
                  <c:v>-8.3569256579735574E-2</c:v>
                </c:pt>
                <c:pt idx="487">
                  <c:v>-8.0489149501389981E-2</c:v>
                </c:pt>
                <c:pt idx="488">
                  <c:v>-5.7130469058006568E-2</c:v>
                </c:pt>
                <c:pt idx="489">
                  <c:v>-3.0984949339247221E-3</c:v>
                </c:pt>
                <c:pt idx="490">
                  <c:v>8.5705881116965137E-3</c:v>
                </c:pt>
                <c:pt idx="491">
                  <c:v>-7.8594817817249397E-3</c:v>
                </c:pt>
                <c:pt idx="492">
                  <c:v>5.3267404618590183E-2</c:v>
                </c:pt>
                <c:pt idx="493">
                  <c:v>2.426863056676986E-2</c:v>
                </c:pt>
                <c:pt idx="494">
                  <c:v>3.1891152544588811E-2</c:v>
                </c:pt>
                <c:pt idx="495">
                  <c:v>9.0752688172100013E-2</c:v>
                </c:pt>
                <c:pt idx="496">
                  <c:v>0.10176406704058129</c:v>
                </c:pt>
                <c:pt idx="497">
                  <c:v>0.13033010131815856</c:v>
                </c:pt>
                <c:pt idx="498">
                  <c:v>0.15550138042398737</c:v>
                </c:pt>
                <c:pt idx="499">
                  <c:v>7.4747474747622403E-2</c:v>
                </c:pt>
                <c:pt idx="500">
                  <c:v>4.8450393552837118E-2</c:v>
                </c:pt>
                <c:pt idx="501">
                  <c:v>3.0201020363693352E-2</c:v>
                </c:pt>
                <c:pt idx="502">
                  <c:v>3.0661409056119505E-2</c:v>
                </c:pt>
                <c:pt idx="503">
                  <c:v>-2.218705491370193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HOSP_do_3_dne_7dni_shift3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0.7195066</c:v>
                </c:pt>
                <c:pt idx="1">
                  <c:v>0.8596703</c:v>
                </c:pt>
                <c:pt idx="2">
                  <c:v>0.94376839999999995</c:v>
                </c:pt>
                <c:pt idx="3">
                  <c:v>1.0558993999999999</c:v>
                </c:pt>
                <c:pt idx="4">
                  <c:v>1.1586860000000001</c:v>
                </c:pt>
                <c:pt idx="5">
                  <c:v>1.1960630000000001</c:v>
                </c:pt>
                <c:pt idx="6">
                  <c:v>1.2240956999999999</c:v>
                </c:pt>
                <c:pt idx="7">
                  <c:v>1.2334400000000001</c:v>
                </c:pt>
                <c:pt idx="8">
                  <c:v>1.5044230000000001</c:v>
                </c:pt>
                <c:pt idx="9">
                  <c:v>1.5978654000000001</c:v>
                </c:pt>
                <c:pt idx="10">
                  <c:v>1.6819636</c:v>
                </c:pt>
                <c:pt idx="11">
                  <c:v>1.7473733</c:v>
                </c:pt>
                <c:pt idx="12">
                  <c:v>1.8034387999999999</c:v>
                </c:pt>
                <c:pt idx="13">
                  <c:v>1.9062254000000001</c:v>
                </c:pt>
                <c:pt idx="14">
                  <c:v>1.9903236</c:v>
                </c:pt>
                <c:pt idx="15">
                  <c:v>2.2426181999999999</c:v>
                </c:pt>
                <c:pt idx="16">
                  <c:v>2.6537647999999998</c:v>
                </c:pt>
                <c:pt idx="17">
                  <c:v>3.0181903000000001</c:v>
                </c:pt>
                <c:pt idx="18">
                  <c:v>3.7190085000000002</c:v>
                </c:pt>
                <c:pt idx="19">
                  <c:v>3.9058932999999998</c:v>
                </c:pt>
                <c:pt idx="20">
                  <c:v>4.0460570000000002</c:v>
                </c:pt>
                <c:pt idx="21">
                  <c:v>4.1675320999999999</c:v>
                </c:pt>
                <c:pt idx="22">
                  <c:v>4.4758921000000003</c:v>
                </c:pt>
                <c:pt idx="23">
                  <c:v>4.9991697000000004</c:v>
                </c:pt>
                <c:pt idx="24">
                  <c:v>5.0926121000000002</c:v>
                </c:pt>
                <c:pt idx="25">
                  <c:v>5.6626108999999998</c:v>
                </c:pt>
                <c:pt idx="26">
                  <c:v>5.6906436999999999</c:v>
                </c:pt>
                <c:pt idx="27">
                  <c:v>5.8775285000000004</c:v>
                </c:pt>
                <c:pt idx="28">
                  <c:v>6.1017903000000002</c:v>
                </c:pt>
                <c:pt idx="29">
                  <c:v>6.6344121999999999</c:v>
                </c:pt>
                <c:pt idx="30">
                  <c:v>7.3726073000000003</c:v>
                </c:pt>
                <c:pt idx="31">
                  <c:v>7.9519504000000003</c:v>
                </c:pt>
                <c:pt idx="32">
                  <c:v>8.7088339999999995</c:v>
                </c:pt>
                <c:pt idx="33">
                  <c:v>9.1947346000000003</c:v>
                </c:pt>
                <c:pt idx="34">
                  <c:v>9.1947346000000003</c:v>
                </c:pt>
                <c:pt idx="35">
                  <c:v>9.6993237000000008</c:v>
                </c:pt>
                <c:pt idx="36">
                  <c:v>11.3158777</c:v>
                </c:pt>
                <c:pt idx="37">
                  <c:v>12.5493177</c:v>
                </c:pt>
                <c:pt idx="38">
                  <c:v>13.988331000000001</c:v>
                </c:pt>
                <c:pt idx="39">
                  <c:v>15.1283286</c:v>
                </c:pt>
                <c:pt idx="40">
                  <c:v>16.5486535</c:v>
                </c:pt>
                <c:pt idx="41">
                  <c:v>16.913079</c:v>
                </c:pt>
                <c:pt idx="42">
                  <c:v>18.006355299999999</c:v>
                </c:pt>
                <c:pt idx="43">
                  <c:v>19.921925099999999</c:v>
                </c:pt>
                <c:pt idx="44">
                  <c:v>21.360938399999998</c:v>
                </c:pt>
                <c:pt idx="45">
                  <c:v>22.912082699999999</c:v>
                </c:pt>
                <c:pt idx="46">
                  <c:v>24.061424500000001</c:v>
                </c:pt>
                <c:pt idx="47">
                  <c:v>25.5378148</c:v>
                </c:pt>
                <c:pt idx="48">
                  <c:v>26.238633</c:v>
                </c:pt>
                <c:pt idx="49">
                  <c:v>27.602892400000002</c:v>
                </c:pt>
                <c:pt idx="50">
                  <c:v>31.1256719</c:v>
                </c:pt>
                <c:pt idx="51">
                  <c:v>33.321568900000003</c:v>
                </c:pt>
                <c:pt idx="52">
                  <c:v>36.489267099999999</c:v>
                </c:pt>
                <c:pt idx="53">
                  <c:v>38.610410199999997</c:v>
                </c:pt>
                <c:pt idx="54">
                  <c:v>40.675487799999999</c:v>
                </c:pt>
                <c:pt idx="55">
                  <c:v>41.955649000000001</c:v>
                </c:pt>
                <c:pt idx="56">
                  <c:v>42.936794499999998</c:v>
                </c:pt>
                <c:pt idx="57">
                  <c:v>46.7959666</c:v>
                </c:pt>
                <c:pt idx="58">
                  <c:v>48.4498976</c:v>
                </c:pt>
                <c:pt idx="59">
                  <c:v>48.720880600000001</c:v>
                </c:pt>
                <c:pt idx="60">
                  <c:v>48.833011499999998</c:v>
                </c:pt>
                <c:pt idx="61">
                  <c:v>49.767435800000001</c:v>
                </c:pt>
                <c:pt idx="62">
                  <c:v>48.664815099999998</c:v>
                </c:pt>
                <c:pt idx="63">
                  <c:v>46.786622399999999</c:v>
                </c:pt>
                <c:pt idx="64">
                  <c:v>49.421698800000001</c:v>
                </c:pt>
                <c:pt idx="65">
                  <c:v>49.748747299999998</c:v>
                </c:pt>
                <c:pt idx="66">
                  <c:v>49.720714600000001</c:v>
                </c:pt>
                <c:pt idx="67">
                  <c:v>50.608417600000003</c:v>
                </c:pt>
                <c:pt idx="68">
                  <c:v>49.010552099999998</c:v>
                </c:pt>
                <c:pt idx="69">
                  <c:v>45.973673300000002</c:v>
                </c:pt>
                <c:pt idx="70">
                  <c:v>43.731055099999999</c:v>
                </c:pt>
                <c:pt idx="71">
                  <c:v>45.104658700000002</c:v>
                </c:pt>
                <c:pt idx="72">
                  <c:v>43.3479411</c:v>
                </c:pt>
                <c:pt idx="73">
                  <c:v>41.591223499999998</c:v>
                </c:pt>
                <c:pt idx="74">
                  <c:v>39.049589599999997</c:v>
                </c:pt>
                <c:pt idx="75">
                  <c:v>37.208773800000003</c:v>
                </c:pt>
                <c:pt idx="76">
                  <c:v>34.386812499999998</c:v>
                </c:pt>
                <c:pt idx="77">
                  <c:v>32.237636700000003</c:v>
                </c:pt>
                <c:pt idx="78">
                  <c:v>35.134351899999999</c:v>
                </c:pt>
                <c:pt idx="79">
                  <c:v>32.929110700000003</c:v>
                </c:pt>
                <c:pt idx="80">
                  <c:v>31.349933700000001</c:v>
                </c:pt>
                <c:pt idx="81">
                  <c:v>29.35961</c:v>
                </c:pt>
                <c:pt idx="82">
                  <c:v>27.556171200000001</c:v>
                </c:pt>
                <c:pt idx="83">
                  <c:v>24.846340900000001</c:v>
                </c:pt>
                <c:pt idx="84">
                  <c:v>23.7904415</c:v>
                </c:pt>
                <c:pt idx="85">
                  <c:v>25.902240299999999</c:v>
                </c:pt>
                <c:pt idx="86">
                  <c:v>24.836996599999999</c:v>
                </c:pt>
                <c:pt idx="87">
                  <c:v>25.528470599999999</c:v>
                </c:pt>
                <c:pt idx="88">
                  <c:v>24.650111800000001</c:v>
                </c:pt>
                <c:pt idx="89">
                  <c:v>23.3792948</c:v>
                </c:pt>
                <c:pt idx="90">
                  <c:v>22.080445099999999</c:v>
                </c:pt>
                <c:pt idx="91">
                  <c:v>21.529134800000001</c:v>
                </c:pt>
                <c:pt idx="92">
                  <c:v>23.566179699999999</c:v>
                </c:pt>
                <c:pt idx="93">
                  <c:v>23.500769999999999</c:v>
                </c:pt>
                <c:pt idx="94">
                  <c:v>22.155199</c:v>
                </c:pt>
                <c:pt idx="95">
                  <c:v>21.781429299999999</c:v>
                </c:pt>
                <c:pt idx="96">
                  <c:v>21.445036600000002</c:v>
                </c:pt>
                <c:pt idx="97">
                  <c:v>21.220774800000001</c:v>
                </c:pt>
                <c:pt idx="98">
                  <c:v>20.987168700000002</c:v>
                </c:pt>
                <c:pt idx="99">
                  <c:v>23.3792948</c:v>
                </c:pt>
                <c:pt idx="100">
                  <c:v>23.5942124</c:v>
                </c:pt>
                <c:pt idx="101">
                  <c:v>23.911916600000001</c:v>
                </c:pt>
                <c:pt idx="102">
                  <c:v>24.1361785</c:v>
                </c:pt>
                <c:pt idx="103">
                  <c:v>23.8371627</c:v>
                </c:pt>
                <c:pt idx="104">
                  <c:v>23.0242136</c:v>
                </c:pt>
                <c:pt idx="105">
                  <c:v>22.3327396</c:v>
                </c:pt>
                <c:pt idx="106">
                  <c:v>25.762076700000001</c:v>
                </c:pt>
                <c:pt idx="107">
                  <c:v>25.7807651</c:v>
                </c:pt>
                <c:pt idx="108">
                  <c:v>25.948961499999999</c:v>
                </c:pt>
                <c:pt idx="109">
                  <c:v>25.294864499999999</c:v>
                </c:pt>
                <c:pt idx="110">
                  <c:v>25.285520300000002</c:v>
                </c:pt>
                <c:pt idx="111">
                  <c:v>24.6407676</c:v>
                </c:pt>
                <c:pt idx="112">
                  <c:v>24.762242700000002</c:v>
                </c:pt>
                <c:pt idx="113">
                  <c:v>27.528138500000001</c:v>
                </c:pt>
                <c:pt idx="114">
                  <c:v>26.687156699999999</c:v>
                </c:pt>
                <c:pt idx="115">
                  <c:v>26.789943300000001</c:v>
                </c:pt>
                <c:pt idx="116">
                  <c:v>24.6407676</c:v>
                </c:pt>
                <c:pt idx="117">
                  <c:v>23.781097200000001</c:v>
                </c:pt>
                <c:pt idx="118">
                  <c:v>23.696999099999999</c:v>
                </c:pt>
                <c:pt idx="119">
                  <c:v>25.107979700000001</c:v>
                </c:pt>
                <c:pt idx="120">
                  <c:v>29.4250197</c:v>
                </c:pt>
                <c:pt idx="121">
                  <c:v>31.508785799999998</c:v>
                </c:pt>
                <c:pt idx="122">
                  <c:v>33.685994299999997</c:v>
                </c:pt>
                <c:pt idx="123">
                  <c:v>34.5736974</c:v>
                </c:pt>
                <c:pt idx="124">
                  <c:v>35.573531299999999</c:v>
                </c:pt>
                <c:pt idx="125">
                  <c:v>37.610576199999997</c:v>
                </c:pt>
                <c:pt idx="126">
                  <c:v>38.563688999999997</c:v>
                </c:pt>
                <c:pt idx="127">
                  <c:v>41.338929</c:v>
                </c:pt>
                <c:pt idx="128">
                  <c:v>42.563024800000001</c:v>
                </c:pt>
                <c:pt idx="129">
                  <c:v>42.264009000000001</c:v>
                </c:pt>
                <c:pt idx="130">
                  <c:v>41.497781099999997</c:v>
                </c:pt>
                <c:pt idx="131">
                  <c:v>41.404338699999997</c:v>
                </c:pt>
                <c:pt idx="132">
                  <c:v>42.376139899999998</c:v>
                </c:pt>
                <c:pt idx="133">
                  <c:v>40.516635600000001</c:v>
                </c:pt>
                <c:pt idx="134">
                  <c:v>41.591223499999998</c:v>
                </c:pt>
                <c:pt idx="135">
                  <c:v>40.460570199999999</c:v>
                </c:pt>
                <c:pt idx="136">
                  <c:v>37.208773800000003</c:v>
                </c:pt>
                <c:pt idx="137">
                  <c:v>34.424189499999997</c:v>
                </c:pt>
                <c:pt idx="138">
                  <c:v>32.732881599999999</c:v>
                </c:pt>
                <c:pt idx="139">
                  <c:v>30.2753458</c:v>
                </c:pt>
                <c:pt idx="140">
                  <c:v>28.443874300000001</c:v>
                </c:pt>
                <c:pt idx="141">
                  <c:v>30.359444</c:v>
                </c:pt>
                <c:pt idx="142">
                  <c:v>29.481085199999999</c:v>
                </c:pt>
                <c:pt idx="143">
                  <c:v>28.210268200000002</c:v>
                </c:pt>
                <c:pt idx="144">
                  <c:v>27.5187943</c:v>
                </c:pt>
                <c:pt idx="145">
                  <c:v>27.6776464</c:v>
                </c:pt>
                <c:pt idx="146">
                  <c:v>26.229288799999999</c:v>
                </c:pt>
                <c:pt idx="147">
                  <c:v>25.818142099999999</c:v>
                </c:pt>
                <c:pt idx="148">
                  <c:v>27.7430561</c:v>
                </c:pt>
                <c:pt idx="149">
                  <c:v>27.313220900000001</c:v>
                </c:pt>
                <c:pt idx="150">
                  <c:v>26.612402700000001</c:v>
                </c:pt>
                <c:pt idx="151">
                  <c:v>26.4348621</c:v>
                </c:pt>
                <c:pt idx="152">
                  <c:v>26.1078136</c:v>
                </c:pt>
                <c:pt idx="153">
                  <c:v>24.537980900000001</c:v>
                </c:pt>
                <c:pt idx="154">
                  <c:v>24.285686299999998</c:v>
                </c:pt>
                <c:pt idx="155">
                  <c:v>27.1543688</c:v>
                </c:pt>
                <c:pt idx="156">
                  <c:v>27.3879749</c:v>
                </c:pt>
                <c:pt idx="157">
                  <c:v>26.874041500000001</c:v>
                </c:pt>
                <c:pt idx="158">
                  <c:v>26.836664599999999</c:v>
                </c:pt>
                <c:pt idx="159">
                  <c:v>26.677812400000001</c:v>
                </c:pt>
                <c:pt idx="160">
                  <c:v>25.631257300000001</c:v>
                </c:pt>
                <c:pt idx="161">
                  <c:v>25.687322699999999</c:v>
                </c:pt>
                <c:pt idx="162">
                  <c:v>27.444040300000001</c:v>
                </c:pt>
                <c:pt idx="163">
                  <c:v>27.238467</c:v>
                </c:pt>
                <c:pt idx="164">
                  <c:v>26.930107</c:v>
                </c:pt>
                <c:pt idx="165">
                  <c:v>26.855353000000001</c:v>
                </c:pt>
                <c:pt idx="166">
                  <c:v>26.406829399999999</c:v>
                </c:pt>
                <c:pt idx="167">
                  <c:v>25.192077900000001</c:v>
                </c:pt>
                <c:pt idx="168">
                  <c:v>24.986504499999999</c:v>
                </c:pt>
                <c:pt idx="169">
                  <c:v>27.901908200000001</c:v>
                </c:pt>
                <c:pt idx="170">
                  <c:v>29.5558391</c:v>
                </c:pt>
                <c:pt idx="171">
                  <c:v>29.3782985</c:v>
                </c:pt>
                <c:pt idx="172">
                  <c:v>29.808133699999999</c:v>
                </c:pt>
                <c:pt idx="173">
                  <c:v>30.695836700000001</c:v>
                </c:pt>
                <c:pt idx="174">
                  <c:v>30.4061652</c:v>
                </c:pt>
                <c:pt idx="175">
                  <c:v>30.742557900000001</c:v>
                </c:pt>
                <c:pt idx="176">
                  <c:v>34.405501000000001</c:v>
                </c:pt>
                <c:pt idx="177">
                  <c:v>35.143696200000001</c:v>
                </c:pt>
                <c:pt idx="178">
                  <c:v>34.882057400000001</c:v>
                </c:pt>
                <c:pt idx="179">
                  <c:v>35.984678000000002</c:v>
                </c:pt>
                <c:pt idx="180">
                  <c:v>36.470578600000003</c:v>
                </c:pt>
                <c:pt idx="181">
                  <c:v>35.283859800000002</c:v>
                </c:pt>
                <c:pt idx="182">
                  <c:v>34.984844099999997</c:v>
                </c:pt>
                <c:pt idx="183">
                  <c:v>38.872048999999997</c:v>
                </c:pt>
                <c:pt idx="184">
                  <c:v>39.273851399999998</c:v>
                </c:pt>
                <c:pt idx="185">
                  <c:v>38.685164100000001</c:v>
                </c:pt>
                <c:pt idx="186">
                  <c:v>38.133853799999997</c:v>
                </c:pt>
                <c:pt idx="187">
                  <c:v>36.881725299999999</c:v>
                </c:pt>
                <c:pt idx="188">
                  <c:v>35.760416200000002</c:v>
                </c:pt>
                <c:pt idx="189">
                  <c:v>35.414679200000002</c:v>
                </c:pt>
                <c:pt idx="190">
                  <c:v>38.087132599999997</c:v>
                </c:pt>
                <c:pt idx="191">
                  <c:v>36.554676800000003</c:v>
                </c:pt>
                <c:pt idx="192">
                  <c:v>35.171728899999998</c:v>
                </c:pt>
                <c:pt idx="193">
                  <c:v>34.125173699999998</c:v>
                </c:pt>
                <c:pt idx="194">
                  <c:v>35.545498600000002</c:v>
                </c:pt>
                <c:pt idx="195">
                  <c:v>34.330747100000004</c:v>
                </c:pt>
                <c:pt idx="196">
                  <c:v>33.144028300000002</c:v>
                </c:pt>
                <c:pt idx="197">
                  <c:v>35.984678000000002</c:v>
                </c:pt>
                <c:pt idx="198">
                  <c:v>35.713695000000001</c:v>
                </c:pt>
                <c:pt idx="199">
                  <c:v>35.816481600000003</c:v>
                </c:pt>
                <c:pt idx="200">
                  <c:v>34.928778600000001</c:v>
                </c:pt>
                <c:pt idx="201">
                  <c:v>34.424189499999997</c:v>
                </c:pt>
                <c:pt idx="202">
                  <c:v>31.200425800000001</c:v>
                </c:pt>
                <c:pt idx="203">
                  <c:v>29.9669858</c:v>
                </c:pt>
                <c:pt idx="204">
                  <c:v>32.265669500000001</c:v>
                </c:pt>
                <c:pt idx="205">
                  <c:v>31.1630489</c:v>
                </c:pt>
                <c:pt idx="206">
                  <c:v>29.7707567</c:v>
                </c:pt>
                <c:pt idx="207">
                  <c:v>28.527972500000001</c:v>
                </c:pt>
                <c:pt idx="208">
                  <c:v>28.0887931</c:v>
                </c:pt>
                <c:pt idx="209">
                  <c:v>26.7151894</c:v>
                </c:pt>
                <c:pt idx="210">
                  <c:v>25.509782099999999</c:v>
                </c:pt>
                <c:pt idx="211">
                  <c:v>27.948629400000002</c:v>
                </c:pt>
                <c:pt idx="212">
                  <c:v>26.930107</c:v>
                </c:pt>
                <c:pt idx="213">
                  <c:v>25.687322699999999</c:v>
                </c:pt>
                <c:pt idx="214">
                  <c:v>24.995848800000001</c:v>
                </c:pt>
                <c:pt idx="215">
                  <c:v>23.0242136</c:v>
                </c:pt>
                <c:pt idx="216">
                  <c:v>21.342249899999999</c:v>
                </c:pt>
                <c:pt idx="217">
                  <c:v>20.847005100000001</c:v>
                </c:pt>
                <c:pt idx="218">
                  <c:v>21.099299599999998</c:v>
                </c:pt>
                <c:pt idx="219">
                  <c:v>20.6694645</c:v>
                </c:pt>
                <c:pt idx="220">
                  <c:v>20.155531100000001</c:v>
                </c:pt>
                <c:pt idx="221">
                  <c:v>18.987500799999999</c:v>
                </c:pt>
                <c:pt idx="222">
                  <c:v>18.380125</c:v>
                </c:pt>
                <c:pt idx="223">
                  <c:v>17.997011100000002</c:v>
                </c:pt>
                <c:pt idx="224">
                  <c:v>17.3522584</c:v>
                </c:pt>
                <c:pt idx="225">
                  <c:v>17.810126199999999</c:v>
                </c:pt>
                <c:pt idx="226">
                  <c:v>18.174551699999999</c:v>
                </c:pt>
                <c:pt idx="227">
                  <c:v>16.6327517</c:v>
                </c:pt>
                <c:pt idx="228">
                  <c:v>15.212426799999999</c:v>
                </c:pt>
                <c:pt idx="229">
                  <c:v>14.623739499999999</c:v>
                </c:pt>
                <c:pt idx="230">
                  <c:v>13.3062013</c:v>
                </c:pt>
                <c:pt idx="231">
                  <c:v>12.7268583</c:v>
                </c:pt>
                <c:pt idx="232">
                  <c:v>13.6425941</c:v>
                </c:pt>
                <c:pt idx="233">
                  <c:v>13.3342341</c:v>
                </c:pt>
                <c:pt idx="234">
                  <c:v>12.9043989</c:v>
                </c:pt>
                <c:pt idx="235">
                  <c:v>12.2503019</c:v>
                </c:pt>
                <c:pt idx="236">
                  <c:v>11.6055492</c:v>
                </c:pt>
                <c:pt idx="237">
                  <c:v>10.671124900000001</c:v>
                </c:pt>
                <c:pt idx="238">
                  <c:v>10.2973552</c:v>
                </c:pt>
                <c:pt idx="239">
                  <c:v>11.110304299999999</c:v>
                </c:pt>
                <c:pt idx="240">
                  <c:v>10.6617807</c:v>
                </c:pt>
                <c:pt idx="241">
                  <c:v>10.0357164</c:v>
                </c:pt>
                <c:pt idx="242">
                  <c:v>9.4563734000000004</c:v>
                </c:pt>
                <c:pt idx="243">
                  <c:v>8.9891612999999992</c:v>
                </c:pt>
                <c:pt idx="244">
                  <c:v>8.7088339999999995</c:v>
                </c:pt>
                <c:pt idx="245">
                  <c:v>8.6527685999999999</c:v>
                </c:pt>
                <c:pt idx="246">
                  <c:v>9.2975212999999997</c:v>
                </c:pt>
                <c:pt idx="247">
                  <c:v>8.6714570000000002</c:v>
                </c:pt>
                <c:pt idx="248">
                  <c:v>8.1108025000000001</c:v>
                </c:pt>
                <c:pt idx="249">
                  <c:v>7.8865407000000003</c:v>
                </c:pt>
                <c:pt idx="250">
                  <c:v>7.3726073000000003</c:v>
                </c:pt>
                <c:pt idx="251">
                  <c:v>6.7371987999999998</c:v>
                </c:pt>
                <c:pt idx="252">
                  <c:v>6.3634291000000003</c:v>
                </c:pt>
                <c:pt idx="253">
                  <c:v>6.8960509999999999</c:v>
                </c:pt>
                <c:pt idx="254">
                  <c:v>6.4194946000000002</c:v>
                </c:pt>
                <c:pt idx="255">
                  <c:v>6.0550690999999999</c:v>
                </c:pt>
                <c:pt idx="256">
                  <c:v>5.7186763999999997</c:v>
                </c:pt>
                <c:pt idx="257">
                  <c:v>5.0739236999999999</c:v>
                </c:pt>
                <c:pt idx="258">
                  <c:v>4.7842520999999998</c:v>
                </c:pt>
                <c:pt idx="259">
                  <c:v>4.6160557999999998</c:v>
                </c:pt>
                <c:pt idx="260">
                  <c:v>4.7935964000000002</c:v>
                </c:pt>
                <c:pt idx="261">
                  <c:v>4.2796630000000002</c:v>
                </c:pt>
                <c:pt idx="262">
                  <c:v>3.9619588000000001</c:v>
                </c:pt>
                <c:pt idx="263">
                  <c:v>3.6909757999999999</c:v>
                </c:pt>
                <c:pt idx="264">
                  <c:v>3.3265503000000001</c:v>
                </c:pt>
                <c:pt idx="265">
                  <c:v>3.1303212</c:v>
                </c:pt>
                <c:pt idx="266">
                  <c:v>2.9247478999999998</c:v>
                </c:pt>
                <c:pt idx="267">
                  <c:v>3.0275344999999998</c:v>
                </c:pt>
                <c:pt idx="268">
                  <c:v>2.7752400000000002</c:v>
                </c:pt>
                <c:pt idx="269">
                  <c:v>2.5229453999999998</c:v>
                </c:pt>
                <c:pt idx="270">
                  <c:v>2.2239296999999998</c:v>
                </c:pt>
                <c:pt idx="271">
                  <c:v>2.0463890999999998</c:v>
                </c:pt>
                <c:pt idx="272">
                  <c:v>1.8034387999999999</c:v>
                </c:pt>
                <c:pt idx="273">
                  <c:v>1.6819636</c:v>
                </c:pt>
                <c:pt idx="274">
                  <c:v>1.8595041999999999</c:v>
                </c:pt>
                <c:pt idx="275">
                  <c:v>1.7380291000000001</c:v>
                </c:pt>
                <c:pt idx="276">
                  <c:v>1.5044230000000001</c:v>
                </c:pt>
                <c:pt idx="277">
                  <c:v>1.3175380999999999</c:v>
                </c:pt>
                <c:pt idx="278">
                  <c:v>1.2988497000000001</c:v>
                </c:pt>
                <c:pt idx="279">
                  <c:v>1.1399975</c:v>
                </c:pt>
                <c:pt idx="280">
                  <c:v>1.1026206000000001</c:v>
                </c:pt>
                <c:pt idx="281">
                  <c:v>1.1586860000000001</c:v>
                </c:pt>
                <c:pt idx="282">
                  <c:v>0.93442420000000004</c:v>
                </c:pt>
                <c:pt idx="283">
                  <c:v>0.86901450000000002</c:v>
                </c:pt>
                <c:pt idx="284">
                  <c:v>0.86901450000000002</c:v>
                </c:pt>
                <c:pt idx="285">
                  <c:v>0.79426059999999998</c:v>
                </c:pt>
                <c:pt idx="286">
                  <c:v>0.7008181</c:v>
                </c:pt>
                <c:pt idx="287">
                  <c:v>0.64475269999999996</c:v>
                </c:pt>
                <c:pt idx="288">
                  <c:v>0.68212969999999995</c:v>
                </c:pt>
                <c:pt idx="289">
                  <c:v>0.61672000000000005</c:v>
                </c:pt>
                <c:pt idx="290">
                  <c:v>0.69147389999999997</c:v>
                </c:pt>
                <c:pt idx="291">
                  <c:v>0.63540839999999998</c:v>
                </c:pt>
                <c:pt idx="292">
                  <c:v>0.57934300000000005</c:v>
                </c:pt>
                <c:pt idx="293">
                  <c:v>0.49524479999999999</c:v>
                </c:pt>
                <c:pt idx="294">
                  <c:v>0.46721210000000002</c:v>
                </c:pt>
                <c:pt idx="295">
                  <c:v>0.49524479999999999</c:v>
                </c:pt>
                <c:pt idx="296">
                  <c:v>0.47655629999999999</c:v>
                </c:pt>
                <c:pt idx="297">
                  <c:v>0.46721210000000002</c:v>
                </c:pt>
                <c:pt idx="298">
                  <c:v>0.33639269999999999</c:v>
                </c:pt>
                <c:pt idx="299">
                  <c:v>0.28967150000000003</c:v>
                </c:pt>
                <c:pt idx="300">
                  <c:v>0.25229449999999998</c:v>
                </c:pt>
                <c:pt idx="301">
                  <c:v>0.24295030000000001</c:v>
                </c:pt>
                <c:pt idx="302">
                  <c:v>0.28967150000000003</c:v>
                </c:pt>
                <c:pt idx="303">
                  <c:v>0.2616387</c:v>
                </c:pt>
                <c:pt idx="304">
                  <c:v>0.23360600000000001</c:v>
                </c:pt>
                <c:pt idx="305">
                  <c:v>0.20557329999999999</c:v>
                </c:pt>
                <c:pt idx="306">
                  <c:v>0.21491750000000001</c:v>
                </c:pt>
                <c:pt idx="307">
                  <c:v>0.20557329999999999</c:v>
                </c:pt>
                <c:pt idx="308">
                  <c:v>0.19622899999999999</c:v>
                </c:pt>
                <c:pt idx="309">
                  <c:v>0.20557329999999999</c:v>
                </c:pt>
                <c:pt idx="310">
                  <c:v>0.1495078</c:v>
                </c:pt>
                <c:pt idx="311">
                  <c:v>0.18688479999999999</c:v>
                </c:pt>
                <c:pt idx="312">
                  <c:v>0.18688479999999999</c:v>
                </c:pt>
                <c:pt idx="313">
                  <c:v>0.18688479999999999</c:v>
                </c:pt>
                <c:pt idx="314">
                  <c:v>0.19622899999999999</c:v>
                </c:pt>
                <c:pt idx="315">
                  <c:v>0.21491750000000001</c:v>
                </c:pt>
                <c:pt idx="316">
                  <c:v>0.23360600000000001</c:v>
                </c:pt>
                <c:pt idx="317">
                  <c:v>0.23360600000000001</c:v>
                </c:pt>
                <c:pt idx="318">
                  <c:v>0.2803272</c:v>
                </c:pt>
                <c:pt idx="319">
                  <c:v>0.27098299999999997</c:v>
                </c:pt>
                <c:pt idx="320">
                  <c:v>0.2803272</c:v>
                </c:pt>
                <c:pt idx="321">
                  <c:v>0.27098299999999997</c:v>
                </c:pt>
                <c:pt idx="322">
                  <c:v>0.25229449999999998</c:v>
                </c:pt>
                <c:pt idx="323">
                  <c:v>0.28967150000000003</c:v>
                </c:pt>
                <c:pt idx="324">
                  <c:v>0.28967150000000003</c:v>
                </c:pt>
                <c:pt idx="325">
                  <c:v>0.33639269999999999</c:v>
                </c:pt>
                <c:pt idx="326">
                  <c:v>0.32704840000000002</c:v>
                </c:pt>
                <c:pt idx="327">
                  <c:v>0.34573690000000001</c:v>
                </c:pt>
                <c:pt idx="328">
                  <c:v>0.31770419999999999</c:v>
                </c:pt>
                <c:pt idx="329">
                  <c:v>0.31770419999999999</c:v>
                </c:pt>
                <c:pt idx="330">
                  <c:v>0.39245809999999998</c:v>
                </c:pt>
                <c:pt idx="331">
                  <c:v>0.39245809999999998</c:v>
                </c:pt>
                <c:pt idx="332">
                  <c:v>0.41114659999999997</c:v>
                </c:pt>
                <c:pt idx="333">
                  <c:v>0.4018024</c:v>
                </c:pt>
                <c:pt idx="334">
                  <c:v>0.41114659999999997</c:v>
                </c:pt>
                <c:pt idx="335">
                  <c:v>0.39245809999999998</c:v>
                </c:pt>
                <c:pt idx="336">
                  <c:v>0.38311390000000001</c:v>
                </c:pt>
                <c:pt idx="337">
                  <c:v>0.44852360000000002</c:v>
                </c:pt>
                <c:pt idx="338">
                  <c:v>0.39245809999999998</c:v>
                </c:pt>
                <c:pt idx="339">
                  <c:v>0.36442540000000001</c:v>
                </c:pt>
                <c:pt idx="340">
                  <c:v>0.34573690000000001</c:v>
                </c:pt>
                <c:pt idx="341">
                  <c:v>0.33639269999999999</c:v>
                </c:pt>
                <c:pt idx="342">
                  <c:v>0.31770419999999999</c:v>
                </c:pt>
                <c:pt idx="343">
                  <c:v>0.2990157</c:v>
                </c:pt>
                <c:pt idx="344">
                  <c:v>0.33639269999999999</c:v>
                </c:pt>
                <c:pt idx="345">
                  <c:v>0.28967150000000003</c:v>
                </c:pt>
                <c:pt idx="346">
                  <c:v>0.27098299999999997</c:v>
                </c:pt>
                <c:pt idx="347">
                  <c:v>0.2616387</c:v>
                </c:pt>
                <c:pt idx="348">
                  <c:v>0.2616387</c:v>
                </c:pt>
                <c:pt idx="349">
                  <c:v>0.25229449999999998</c:v>
                </c:pt>
                <c:pt idx="350">
                  <c:v>0.27098299999999997</c:v>
                </c:pt>
                <c:pt idx="351">
                  <c:v>0.31770419999999999</c:v>
                </c:pt>
                <c:pt idx="352">
                  <c:v>0.30836000000000002</c:v>
                </c:pt>
                <c:pt idx="353">
                  <c:v>0.32704840000000002</c:v>
                </c:pt>
                <c:pt idx="354">
                  <c:v>0.31770419999999999</c:v>
                </c:pt>
                <c:pt idx="355">
                  <c:v>0.34573690000000001</c:v>
                </c:pt>
                <c:pt idx="356">
                  <c:v>0.34573690000000001</c:v>
                </c:pt>
                <c:pt idx="357">
                  <c:v>0.33639269999999999</c:v>
                </c:pt>
                <c:pt idx="358">
                  <c:v>0.34573690000000001</c:v>
                </c:pt>
                <c:pt idx="359">
                  <c:v>0.31770419999999999</c:v>
                </c:pt>
                <c:pt idx="360">
                  <c:v>0.30836000000000002</c:v>
                </c:pt>
                <c:pt idx="361">
                  <c:v>0.28967150000000003</c:v>
                </c:pt>
                <c:pt idx="362">
                  <c:v>0.30836000000000002</c:v>
                </c:pt>
                <c:pt idx="363">
                  <c:v>0.2803272</c:v>
                </c:pt>
                <c:pt idx="364">
                  <c:v>0.27098299999999997</c:v>
                </c:pt>
                <c:pt idx="365">
                  <c:v>0.2803272</c:v>
                </c:pt>
                <c:pt idx="366">
                  <c:v>0.2616387</c:v>
                </c:pt>
                <c:pt idx="367">
                  <c:v>0.30836000000000002</c:v>
                </c:pt>
                <c:pt idx="368">
                  <c:v>0.32704840000000002</c:v>
                </c:pt>
                <c:pt idx="369">
                  <c:v>0.4204909</c:v>
                </c:pt>
                <c:pt idx="370">
                  <c:v>0.46721210000000002</c:v>
                </c:pt>
                <c:pt idx="371">
                  <c:v>0.48590060000000002</c:v>
                </c:pt>
                <c:pt idx="372">
                  <c:v>0.52327749999999995</c:v>
                </c:pt>
                <c:pt idx="373">
                  <c:v>0.59803150000000005</c:v>
                </c:pt>
                <c:pt idx="374">
                  <c:v>0.65409689999999998</c:v>
                </c:pt>
                <c:pt idx="375">
                  <c:v>0.71016239999999997</c:v>
                </c:pt>
                <c:pt idx="376">
                  <c:v>0.75688359999999999</c:v>
                </c:pt>
                <c:pt idx="377">
                  <c:v>0.69147389999999997</c:v>
                </c:pt>
                <c:pt idx="378">
                  <c:v>0.68212969999999995</c:v>
                </c:pt>
                <c:pt idx="379">
                  <c:v>0.8409818</c:v>
                </c:pt>
                <c:pt idx="380">
                  <c:v>0.96245689999999995</c:v>
                </c:pt>
                <c:pt idx="381">
                  <c:v>0.98114539999999995</c:v>
                </c:pt>
                <c:pt idx="382">
                  <c:v>0.98114539999999995</c:v>
                </c:pt>
                <c:pt idx="383">
                  <c:v>1.0372109</c:v>
                </c:pt>
                <c:pt idx="384">
                  <c:v>0.99048970000000003</c:v>
                </c:pt>
                <c:pt idx="385">
                  <c:v>0.97180120000000003</c:v>
                </c:pt>
                <c:pt idx="386">
                  <c:v>1.1306533000000001</c:v>
                </c:pt>
                <c:pt idx="387">
                  <c:v>1.0091781</c:v>
                </c:pt>
                <c:pt idx="388">
                  <c:v>0.89704720000000004</c:v>
                </c:pt>
                <c:pt idx="389">
                  <c:v>0.87835870000000005</c:v>
                </c:pt>
                <c:pt idx="390">
                  <c:v>0.97180120000000003</c:v>
                </c:pt>
                <c:pt idx="391">
                  <c:v>0.8596703</c:v>
                </c:pt>
                <c:pt idx="392">
                  <c:v>0.95311270000000003</c:v>
                </c:pt>
                <c:pt idx="393">
                  <c:v>1.1867188</c:v>
                </c:pt>
                <c:pt idx="394">
                  <c:v>1.0932763000000001</c:v>
                </c:pt>
                <c:pt idx="395">
                  <c:v>1.2427842</c:v>
                </c:pt>
                <c:pt idx="396">
                  <c:v>1.3922920999999999</c:v>
                </c:pt>
                <c:pt idx="397">
                  <c:v>1.4950787999999999</c:v>
                </c:pt>
                <c:pt idx="398">
                  <c:v>1.4670460000000001</c:v>
                </c:pt>
                <c:pt idx="399">
                  <c:v>1.4857345</c:v>
                </c:pt>
                <c:pt idx="400">
                  <c:v>1.5791769</c:v>
                </c:pt>
                <c:pt idx="401">
                  <c:v>1.6539309</c:v>
                </c:pt>
                <c:pt idx="402">
                  <c:v>1.9436024000000001</c:v>
                </c:pt>
                <c:pt idx="403">
                  <c:v>1.9903236</c:v>
                </c:pt>
                <c:pt idx="404">
                  <c:v>2.0650776</c:v>
                </c:pt>
                <c:pt idx="405">
                  <c:v>2.0277006000000002</c:v>
                </c:pt>
                <c:pt idx="406">
                  <c:v>2.0650776</c:v>
                </c:pt>
                <c:pt idx="407">
                  <c:v>2.5696667</c:v>
                </c:pt>
                <c:pt idx="408">
                  <c:v>2.8032727</c:v>
                </c:pt>
                <c:pt idx="409">
                  <c:v>2.8593381999999998</c:v>
                </c:pt>
                <c:pt idx="410">
                  <c:v>2.8686824</c:v>
                </c:pt>
                <c:pt idx="411">
                  <c:v>3.1770423999999999</c:v>
                </c:pt>
                <c:pt idx="412">
                  <c:v>3.2331078999999998</c:v>
                </c:pt>
                <c:pt idx="413">
                  <c:v>3.4013042000000002</c:v>
                </c:pt>
                <c:pt idx="414">
                  <c:v>4.2422861000000003</c:v>
                </c:pt>
                <c:pt idx="415">
                  <c:v>4.6721212000000003</c:v>
                </c:pt>
                <c:pt idx="416">
                  <c:v>5.1673660999999997</c:v>
                </c:pt>
                <c:pt idx="417">
                  <c:v>5.6626108999999998</c:v>
                </c:pt>
                <c:pt idx="418">
                  <c:v>6.4194946000000002</c:v>
                </c:pt>
                <c:pt idx="419">
                  <c:v>6.4194946000000002</c:v>
                </c:pt>
                <c:pt idx="420">
                  <c:v>6.6998218999999999</c:v>
                </c:pt>
                <c:pt idx="421">
                  <c:v>8.1855563999999994</c:v>
                </c:pt>
                <c:pt idx="422">
                  <c:v>9.1012921999999996</c:v>
                </c:pt>
                <c:pt idx="423">
                  <c:v>9.7647334000000008</c:v>
                </c:pt>
                <c:pt idx="424">
                  <c:v>9.9235854999999997</c:v>
                </c:pt>
                <c:pt idx="425">
                  <c:v>10.9701407</c:v>
                </c:pt>
                <c:pt idx="426">
                  <c:v>11.091615900000001</c:v>
                </c:pt>
                <c:pt idx="427">
                  <c:v>11.848499500000001</c:v>
                </c:pt>
                <c:pt idx="428">
                  <c:v>14.539641400000001</c:v>
                </c:pt>
                <c:pt idx="429">
                  <c:v>15.5207868</c:v>
                </c:pt>
                <c:pt idx="430">
                  <c:v>16.511276500000001</c:v>
                </c:pt>
                <c:pt idx="431">
                  <c:v>17.268160200000001</c:v>
                </c:pt>
                <c:pt idx="432">
                  <c:v>18.7725832</c:v>
                </c:pt>
                <c:pt idx="433">
                  <c:v>18.361436600000001</c:v>
                </c:pt>
                <c:pt idx="434">
                  <c:v>18.660452299999999</c:v>
                </c:pt>
                <c:pt idx="435">
                  <c:v>21.510446300000002</c:v>
                </c:pt>
                <c:pt idx="436">
                  <c:v>21.996346899999999</c:v>
                </c:pt>
                <c:pt idx="437">
                  <c:v>23.108311799999999</c:v>
                </c:pt>
                <c:pt idx="438">
                  <c:v>23.2484754</c:v>
                </c:pt>
                <c:pt idx="439">
                  <c:v>23.9679821</c:v>
                </c:pt>
                <c:pt idx="440">
                  <c:v>23.9866706</c:v>
                </c:pt>
                <c:pt idx="441">
                  <c:v>24.547325099999998</c:v>
                </c:pt>
                <c:pt idx="442">
                  <c:v>28.294366400000001</c:v>
                </c:pt>
                <c:pt idx="443">
                  <c:v>29.275511900000001</c:v>
                </c:pt>
                <c:pt idx="444">
                  <c:v>28.397153100000001</c:v>
                </c:pt>
                <c:pt idx="445">
                  <c:v>28.808299699999999</c:v>
                </c:pt>
                <c:pt idx="446">
                  <c:v>31.088294900000001</c:v>
                </c:pt>
                <c:pt idx="447">
                  <c:v>30.9948525</c:v>
                </c:pt>
                <c:pt idx="448">
                  <c:v>30.826656100000001</c:v>
                </c:pt>
                <c:pt idx="449">
                  <c:v>34.816647699999997</c:v>
                </c:pt>
                <c:pt idx="450">
                  <c:v>35.386646499999998</c:v>
                </c:pt>
                <c:pt idx="451">
                  <c:v>34.6110744</c:v>
                </c:pt>
                <c:pt idx="452">
                  <c:v>37.563854999999997</c:v>
                </c:pt>
                <c:pt idx="453">
                  <c:v>37.741395599999997</c:v>
                </c:pt>
                <c:pt idx="454">
                  <c:v>35.741727699999998</c:v>
                </c:pt>
                <c:pt idx="455">
                  <c:v>35.564187099999998</c:v>
                </c:pt>
                <c:pt idx="456">
                  <c:v>38.535656199999998</c:v>
                </c:pt>
                <c:pt idx="457">
                  <c:v>37.591887700000001</c:v>
                </c:pt>
                <c:pt idx="458">
                  <c:v>36.0127107</c:v>
                </c:pt>
                <c:pt idx="459">
                  <c:v>36.526644099999999</c:v>
                </c:pt>
                <c:pt idx="460">
                  <c:v>34.3961568</c:v>
                </c:pt>
                <c:pt idx="461">
                  <c:v>32.583373700000003</c:v>
                </c:pt>
                <c:pt idx="462">
                  <c:v>31.359277899999999</c:v>
                </c:pt>
                <c:pt idx="463">
                  <c:v>34.2186162</c:v>
                </c:pt>
                <c:pt idx="464">
                  <c:v>32.8730452</c:v>
                </c:pt>
                <c:pt idx="465">
                  <c:v>31.901243999999998</c:v>
                </c:pt>
                <c:pt idx="466">
                  <c:v>31.3405895</c:v>
                </c:pt>
                <c:pt idx="467">
                  <c:v>29.985674299999999</c:v>
                </c:pt>
                <c:pt idx="468">
                  <c:v>28.443874300000001</c:v>
                </c:pt>
                <c:pt idx="469">
                  <c:v>27.444040300000001</c:v>
                </c:pt>
                <c:pt idx="470">
                  <c:v>29.761412499999999</c:v>
                </c:pt>
                <c:pt idx="471">
                  <c:v>27.799121499999998</c:v>
                </c:pt>
                <c:pt idx="472">
                  <c:v>26.7619106</c:v>
                </c:pt>
                <c:pt idx="473">
                  <c:v>25.696667000000001</c:v>
                </c:pt>
                <c:pt idx="474">
                  <c:v>24.192243900000001</c:v>
                </c:pt>
                <c:pt idx="475">
                  <c:v>22.0897893</c:v>
                </c:pt>
                <c:pt idx="476">
                  <c:v>21.220774800000001</c:v>
                </c:pt>
                <c:pt idx="477">
                  <c:v>22.809296</c:v>
                </c:pt>
                <c:pt idx="478">
                  <c:v>21.1273324</c:v>
                </c:pt>
                <c:pt idx="479">
                  <c:v>19.5761881</c:v>
                </c:pt>
                <c:pt idx="480">
                  <c:v>17.940945599999999</c:v>
                </c:pt>
                <c:pt idx="481">
                  <c:v>15.6142293</c:v>
                </c:pt>
                <c:pt idx="482">
                  <c:v>14.520952899999999</c:v>
                </c:pt>
                <c:pt idx="483">
                  <c:v>14.3060353</c:v>
                </c:pt>
                <c:pt idx="484">
                  <c:v>16.0253759</c:v>
                </c:pt>
                <c:pt idx="485">
                  <c:v>15.3525905</c:v>
                </c:pt>
                <c:pt idx="486">
                  <c:v>15.2684923</c:v>
                </c:pt>
                <c:pt idx="487">
                  <c:v>14.5957068</c:v>
                </c:pt>
                <c:pt idx="488">
                  <c:v>14.4181662</c:v>
                </c:pt>
                <c:pt idx="489">
                  <c:v>14.455543199999999</c:v>
                </c:pt>
                <c:pt idx="490">
                  <c:v>14.249969800000001</c:v>
                </c:pt>
                <c:pt idx="491">
                  <c:v>15.100295900000001</c:v>
                </c:pt>
                <c:pt idx="492">
                  <c:v>13.9416098</c:v>
                </c:pt>
                <c:pt idx="493">
                  <c:v>12.979152900000001</c:v>
                </c:pt>
                <c:pt idx="494">
                  <c:v>11.390631600000001</c:v>
                </c:pt>
                <c:pt idx="495">
                  <c:v>10.867354000000001</c:v>
                </c:pt>
                <c:pt idx="496">
                  <c:v>10.4468631</c:v>
                </c:pt>
                <c:pt idx="497">
                  <c:v>10.334732199999999</c:v>
                </c:pt>
                <c:pt idx="498">
                  <c:v>10.605715200000001</c:v>
                </c:pt>
                <c:pt idx="499">
                  <c:v>9.7086679999999994</c:v>
                </c:pt>
                <c:pt idx="500">
                  <c:v>8.6621127999999992</c:v>
                </c:pt>
                <c:pt idx="501">
                  <c:v>7.7744097999999999</c:v>
                </c:pt>
                <c:pt idx="502">
                  <c:v>7.3071976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HOSP_do_3_dne_7dni_shift3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-3.9398000000000002E-2</c:v>
                </c:pt>
                <c:pt idx="1">
                  <c:v>0.71687999999999996</c:v>
                </c:pt>
                <c:pt idx="2">
                  <c:v>-0.159993</c:v>
                </c:pt>
                <c:pt idx="3">
                  <c:v>0.64015999999999995</c:v>
                </c:pt>
                <c:pt idx="4">
                  <c:v>-0.18581900000000001</c:v>
                </c:pt>
                <c:pt idx="5">
                  <c:v>0.52008399999999999</c:v>
                </c:pt>
                <c:pt idx="6">
                  <c:v>-0.221775</c:v>
                </c:pt>
                <c:pt idx="7">
                  <c:v>-9.2449000000000003E-2</c:v>
                </c:pt>
                <c:pt idx="8">
                  <c:v>-0.282667</c:v>
                </c:pt>
                <c:pt idx="9">
                  <c:v>-0.106475</c:v>
                </c:pt>
                <c:pt idx="10">
                  <c:v>-0.33954000000000001</c:v>
                </c:pt>
                <c:pt idx="11">
                  <c:v>6.7317090000000004</c:v>
                </c:pt>
                <c:pt idx="12">
                  <c:v>-0.36638300000000001</c:v>
                </c:pt>
                <c:pt idx="13">
                  <c:v>-0.21620600000000001</c:v>
                </c:pt>
                <c:pt idx="14">
                  <c:v>-0.36732100000000001</c:v>
                </c:pt>
                <c:pt idx="15">
                  <c:v>1.1346E-2</c:v>
                </c:pt>
                <c:pt idx="16">
                  <c:v>-0.343889</c:v>
                </c:pt>
                <c:pt idx="17">
                  <c:v>0.110373</c:v>
                </c:pt>
                <c:pt idx="18">
                  <c:v>-0.36343700000000001</c:v>
                </c:pt>
                <c:pt idx="19">
                  <c:v>0.16179299999999999</c:v>
                </c:pt>
                <c:pt idx="20">
                  <c:v>-0.37187999999999999</c:v>
                </c:pt>
                <c:pt idx="21">
                  <c:v>5.9308E-2</c:v>
                </c:pt>
                <c:pt idx="22">
                  <c:v>-0.370979</c:v>
                </c:pt>
                <c:pt idx="23">
                  <c:v>5.8911999999999999E-2</c:v>
                </c:pt>
                <c:pt idx="24">
                  <c:v>-0.29906500000000003</c:v>
                </c:pt>
                <c:pt idx="25">
                  <c:v>5.5508000000000002E-2</c:v>
                </c:pt>
                <c:pt idx="26">
                  <c:v>-0.224746</c:v>
                </c:pt>
                <c:pt idx="27">
                  <c:v>-0.106873</c:v>
                </c:pt>
                <c:pt idx="28">
                  <c:v>-0.151416</c:v>
                </c:pt>
                <c:pt idx="29">
                  <c:v>6.6078999999999999E-2</c:v>
                </c:pt>
                <c:pt idx="30">
                  <c:v>-4.4364000000000001E-2</c:v>
                </c:pt>
                <c:pt idx="31">
                  <c:v>0.122909</c:v>
                </c:pt>
                <c:pt idx="32">
                  <c:v>-6.2370000000000004E-3</c:v>
                </c:pt>
                <c:pt idx="33">
                  <c:v>-4.7835999999999997E-2</c:v>
                </c:pt>
                <c:pt idx="34">
                  <c:v>0.23997399999999999</c:v>
                </c:pt>
                <c:pt idx="35">
                  <c:v>-2.9680000000000002E-3</c:v>
                </c:pt>
                <c:pt idx="36">
                  <c:v>0.20861099999999999</c:v>
                </c:pt>
                <c:pt idx="37">
                  <c:v>6.9750000000000006E-2</c:v>
                </c:pt>
                <c:pt idx="38">
                  <c:v>0.15997400000000001</c:v>
                </c:pt>
                <c:pt idx="39">
                  <c:v>9.5821000000000003E-2</c:v>
                </c:pt>
                <c:pt idx="40">
                  <c:v>0.168986</c:v>
                </c:pt>
                <c:pt idx="41">
                  <c:v>0.153387</c:v>
                </c:pt>
                <c:pt idx="42">
                  <c:v>0.16699</c:v>
                </c:pt>
                <c:pt idx="43">
                  <c:v>0.34544799999999998</c:v>
                </c:pt>
                <c:pt idx="44">
                  <c:v>4.0826000000000001E-2</c:v>
                </c:pt>
                <c:pt idx="45">
                  <c:v>0.19966300000000001</c:v>
                </c:pt>
                <c:pt idx="46">
                  <c:v>0.16814599999999999</c:v>
                </c:pt>
                <c:pt idx="47">
                  <c:v>0.20208000000000001</c:v>
                </c:pt>
                <c:pt idx="48">
                  <c:v>0.302259</c:v>
                </c:pt>
                <c:pt idx="49">
                  <c:v>0.28629199999999999</c:v>
                </c:pt>
                <c:pt idx="50">
                  <c:v>0.266932</c:v>
                </c:pt>
                <c:pt idx="51">
                  <c:v>0.42893999999999999</c:v>
                </c:pt>
                <c:pt idx="52">
                  <c:v>0.52238200000000001</c:v>
                </c:pt>
                <c:pt idx="53">
                  <c:v>0.587565</c:v>
                </c:pt>
                <c:pt idx="54">
                  <c:v>0.45201000000000002</c:v>
                </c:pt>
                <c:pt idx="55">
                  <c:v>0.58523899999999995</c:v>
                </c:pt>
                <c:pt idx="56">
                  <c:v>0.40156999999999998</c:v>
                </c:pt>
                <c:pt idx="57">
                  <c:v>0.70366200000000001</c:v>
                </c:pt>
                <c:pt idx="58">
                  <c:v>-0.28115800000000002</c:v>
                </c:pt>
                <c:pt idx="59">
                  <c:v>0.47747600000000001</c:v>
                </c:pt>
                <c:pt idx="60">
                  <c:v>-0.250556</c:v>
                </c:pt>
                <c:pt idx="61">
                  <c:v>0.35623199999999999</c:v>
                </c:pt>
                <c:pt idx="62">
                  <c:v>-0.21887300000000001</c:v>
                </c:pt>
                <c:pt idx="63">
                  <c:v>0.24348900000000001</c:v>
                </c:pt>
                <c:pt idx="64">
                  <c:v>-0.20516200000000001</c:v>
                </c:pt>
                <c:pt idx="65">
                  <c:v>0.30976599999999999</c:v>
                </c:pt>
                <c:pt idx="66">
                  <c:v>-0.23499</c:v>
                </c:pt>
                <c:pt idx="67">
                  <c:v>0.40377800000000003</c:v>
                </c:pt>
                <c:pt idx="68">
                  <c:v>-0.14985499999999999</c:v>
                </c:pt>
                <c:pt idx="69">
                  <c:v>0.38814300000000002</c:v>
                </c:pt>
                <c:pt idx="70">
                  <c:v>-0.111232</c:v>
                </c:pt>
                <c:pt idx="71">
                  <c:v>0.62098100000000001</c:v>
                </c:pt>
                <c:pt idx="72">
                  <c:v>-0.12984100000000001</c:v>
                </c:pt>
                <c:pt idx="73">
                  <c:v>0.53415299999999999</c:v>
                </c:pt>
                <c:pt idx="74">
                  <c:v>-0.13069</c:v>
                </c:pt>
                <c:pt idx="75">
                  <c:v>1.0059999999999999E-2</c:v>
                </c:pt>
                <c:pt idx="76">
                  <c:v>-0.14866099999999999</c:v>
                </c:pt>
                <c:pt idx="77">
                  <c:v>0.42620599999999997</c:v>
                </c:pt>
                <c:pt idx="78">
                  <c:v>-0.108543</c:v>
                </c:pt>
                <c:pt idx="79">
                  <c:v>0.47076000000000001</c:v>
                </c:pt>
                <c:pt idx="80">
                  <c:v>-0.13760800000000001</c:v>
                </c:pt>
                <c:pt idx="81">
                  <c:v>0.35015200000000002</c:v>
                </c:pt>
                <c:pt idx="82">
                  <c:v>-0.15043300000000001</c:v>
                </c:pt>
                <c:pt idx="83">
                  <c:v>0.25397500000000001</c:v>
                </c:pt>
                <c:pt idx="84">
                  <c:v>-0.18332399999999999</c:v>
                </c:pt>
                <c:pt idx="85">
                  <c:v>0.47200199999999998</c:v>
                </c:pt>
                <c:pt idx="86">
                  <c:v>-0.12534799999999999</c:v>
                </c:pt>
                <c:pt idx="87">
                  <c:v>0.25664500000000001</c:v>
                </c:pt>
                <c:pt idx="88">
                  <c:v>-0.11280800000000001</c:v>
                </c:pt>
                <c:pt idx="89">
                  <c:v>8.9471999999999996E-2</c:v>
                </c:pt>
                <c:pt idx="90">
                  <c:v>-9.3476000000000004E-2</c:v>
                </c:pt>
                <c:pt idx="91">
                  <c:v>0.17569000000000001</c:v>
                </c:pt>
                <c:pt idx="92">
                  <c:v>-4.2105999999999998E-2</c:v>
                </c:pt>
                <c:pt idx="93">
                  <c:v>0.26849400000000001</c:v>
                </c:pt>
                <c:pt idx="94">
                  <c:v>-0.19192400000000001</c:v>
                </c:pt>
                <c:pt idx="95">
                  <c:v>0.27407399999999998</c:v>
                </c:pt>
                <c:pt idx="96">
                  <c:v>-0.231549</c:v>
                </c:pt>
                <c:pt idx="97">
                  <c:v>0.35463800000000001</c:v>
                </c:pt>
                <c:pt idx="98">
                  <c:v>-0.23452600000000001</c:v>
                </c:pt>
                <c:pt idx="99">
                  <c:v>0.43351600000000001</c:v>
                </c:pt>
                <c:pt idx="100">
                  <c:v>-0.21639900000000001</c:v>
                </c:pt>
                <c:pt idx="101">
                  <c:v>0.242705</c:v>
                </c:pt>
                <c:pt idx="102">
                  <c:v>-0.167959</c:v>
                </c:pt>
                <c:pt idx="103">
                  <c:v>0.27679199999999998</c:v>
                </c:pt>
                <c:pt idx="104">
                  <c:v>-0.14105500000000001</c:v>
                </c:pt>
                <c:pt idx="105">
                  <c:v>0.26915</c:v>
                </c:pt>
                <c:pt idx="106">
                  <c:v>-8.0884999999999999E-2</c:v>
                </c:pt>
                <c:pt idx="107">
                  <c:v>0.344829</c:v>
                </c:pt>
                <c:pt idx="108">
                  <c:v>-0.145144</c:v>
                </c:pt>
                <c:pt idx="109">
                  <c:v>0.30487599999999998</c:v>
                </c:pt>
                <c:pt idx="110">
                  <c:v>-0.12833800000000001</c:v>
                </c:pt>
                <c:pt idx="111">
                  <c:v>0.22155</c:v>
                </c:pt>
                <c:pt idx="112">
                  <c:v>-0.13911200000000001</c:v>
                </c:pt>
                <c:pt idx="113">
                  <c:v>0.42008299999999998</c:v>
                </c:pt>
                <c:pt idx="114">
                  <c:v>-0.16140299999999999</c:v>
                </c:pt>
                <c:pt idx="115">
                  <c:v>0.34237400000000001</c:v>
                </c:pt>
                <c:pt idx="116">
                  <c:v>-0.15413399999999999</c:v>
                </c:pt>
                <c:pt idx="117">
                  <c:v>-0.10825700000000001</c:v>
                </c:pt>
                <c:pt idx="118">
                  <c:v>-0.10367800000000001</c:v>
                </c:pt>
                <c:pt idx="119">
                  <c:v>0.462536</c:v>
                </c:pt>
                <c:pt idx="120">
                  <c:v>-4.9787999999999999E-2</c:v>
                </c:pt>
                <c:pt idx="121">
                  <c:v>0.36798700000000001</c:v>
                </c:pt>
                <c:pt idx="122">
                  <c:v>-2.4056999999999999E-2</c:v>
                </c:pt>
                <c:pt idx="123">
                  <c:v>0.108552</c:v>
                </c:pt>
                <c:pt idx="124">
                  <c:v>8.4994E-2</c:v>
                </c:pt>
                <c:pt idx="125">
                  <c:v>0.14770800000000001</c:v>
                </c:pt>
                <c:pt idx="126">
                  <c:v>0.17064599999999999</c:v>
                </c:pt>
                <c:pt idx="127">
                  <c:v>0.24431800000000001</c:v>
                </c:pt>
                <c:pt idx="128">
                  <c:v>0.206673</c:v>
                </c:pt>
                <c:pt idx="129">
                  <c:v>0.198769</c:v>
                </c:pt>
                <c:pt idx="130">
                  <c:v>0.26568399999999998</c:v>
                </c:pt>
                <c:pt idx="131">
                  <c:v>5.2898000000000001E-2</c:v>
                </c:pt>
                <c:pt idx="132">
                  <c:v>0.12690899999999999</c:v>
                </c:pt>
                <c:pt idx="133">
                  <c:v>-0.121194</c:v>
                </c:pt>
                <c:pt idx="134">
                  <c:v>7.0641999999999996E-2</c:v>
                </c:pt>
                <c:pt idx="135">
                  <c:v>-6.2677999999999998E-2</c:v>
                </c:pt>
                <c:pt idx="136">
                  <c:v>-1.0506E-2</c:v>
                </c:pt>
                <c:pt idx="137">
                  <c:v>-0.18979299999999999</c:v>
                </c:pt>
                <c:pt idx="138">
                  <c:v>-0.11490400000000001</c:v>
                </c:pt>
                <c:pt idx="139">
                  <c:v>-0.13012199999999999</c:v>
                </c:pt>
                <c:pt idx="140">
                  <c:v>-9.8270999999999997E-2</c:v>
                </c:pt>
                <c:pt idx="141">
                  <c:v>0.16811499999999999</c:v>
                </c:pt>
                <c:pt idx="142">
                  <c:v>-0.156774</c:v>
                </c:pt>
                <c:pt idx="143">
                  <c:v>-4.7147000000000001E-2</c:v>
                </c:pt>
                <c:pt idx="144">
                  <c:v>-0.152643</c:v>
                </c:pt>
                <c:pt idx="145">
                  <c:v>8.3778000000000005E-2</c:v>
                </c:pt>
                <c:pt idx="146">
                  <c:v>-0.12990199999999999</c:v>
                </c:pt>
                <c:pt idx="147">
                  <c:v>8.7991E-2</c:v>
                </c:pt>
                <c:pt idx="148">
                  <c:v>-0.16178000000000001</c:v>
                </c:pt>
                <c:pt idx="149">
                  <c:v>7.1199999999999996E-3</c:v>
                </c:pt>
                <c:pt idx="150">
                  <c:v>-4.8530999999999998E-2</c:v>
                </c:pt>
                <c:pt idx="151">
                  <c:v>-2.5267000000000001E-2</c:v>
                </c:pt>
                <c:pt idx="152">
                  <c:v>5.6710999999999998E-2</c:v>
                </c:pt>
                <c:pt idx="153">
                  <c:v>-0.102688</c:v>
                </c:pt>
                <c:pt idx="154">
                  <c:v>0.23063600000000001</c:v>
                </c:pt>
                <c:pt idx="155">
                  <c:v>-7.0109999999999999E-3</c:v>
                </c:pt>
                <c:pt idx="156">
                  <c:v>0.26802500000000001</c:v>
                </c:pt>
                <c:pt idx="157">
                  <c:v>-9.9156999999999995E-2</c:v>
                </c:pt>
                <c:pt idx="158">
                  <c:v>0.27931499999999998</c:v>
                </c:pt>
                <c:pt idx="159">
                  <c:v>-7.7788999999999997E-2</c:v>
                </c:pt>
                <c:pt idx="160">
                  <c:v>-0.24254300000000001</c:v>
                </c:pt>
                <c:pt idx="161">
                  <c:v>-0.10503700000000001</c:v>
                </c:pt>
                <c:pt idx="162">
                  <c:v>-0.26934399999999997</c:v>
                </c:pt>
                <c:pt idx="163">
                  <c:v>-0.13292300000000001</c:v>
                </c:pt>
                <c:pt idx="164">
                  <c:v>-0.30796499999999999</c:v>
                </c:pt>
                <c:pt idx="165">
                  <c:v>-0.13892299999999999</c:v>
                </c:pt>
                <c:pt idx="166">
                  <c:v>-0.30633199999999999</c:v>
                </c:pt>
                <c:pt idx="167">
                  <c:v>-0.149092</c:v>
                </c:pt>
                <c:pt idx="168">
                  <c:v>-0.33477200000000001</c:v>
                </c:pt>
                <c:pt idx="169">
                  <c:v>-3.5473999999999999E-2</c:v>
                </c:pt>
                <c:pt idx="170">
                  <c:v>-0.37388100000000002</c:v>
                </c:pt>
                <c:pt idx="171">
                  <c:v>-7.8071000000000002E-2</c:v>
                </c:pt>
                <c:pt idx="172">
                  <c:v>-0.39870800000000001</c:v>
                </c:pt>
                <c:pt idx="173">
                  <c:v>-0.112276</c:v>
                </c:pt>
                <c:pt idx="174">
                  <c:v>-0.40883900000000001</c:v>
                </c:pt>
                <c:pt idx="175">
                  <c:v>-9.9149000000000001E-2</c:v>
                </c:pt>
                <c:pt idx="176">
                  <c:v>-0.420653</c:v>
                </c:pt>
                <c:pt idx="177">
                  <c:v>-0.131271</c:v>
                </c:pt>
                <c:pt idx="178">
                  <c:v>-0.39892899999999998</c:v>
                </c:pt>
                <c:pt idx="179">
                  <c:v>-0.15306600000000001</c:v>
                </c:pt>
                <c:pt idx="180">
                  <c:v>-0.39279900000000001</c:v>
                </c:pt>
                <c:pt idx="181">
                  <c:v>-0.173954</c:v>
                </c:pt>
                <c:pt idx="182">
                  <c:v>-0.380913</c:v>
                </c:pt>
                <c:pt idx="183">
                  <c:v>-0.117951</c:v>
                </c:pt>
                <c:pt idx="184">
                  <c:v>-0.41823399999999999</c:v>
                </c:pt>
                <c:pt idx="185">
                  <c:v>-0.16501099999999999</c:v>
                </c:pt>
                <c:pt idx="186">
                  <c:v>-0.39896799999999999</c:v>
                </c:pt>
                <c:pt idx="187">
                  <c:v>-0.19609399999999999</c:v>
                </c:pt>
                <c:pt idx="188">
                  <c:v>-0.37095600000000001</c:v>
                </c:pt>
                <c:pt idx="189">
                  <c:v>-0.143707</c:v>
                </c:pt>
                <c:pt idx="190">
                  <c:v>-0.39486399999999999</c:v>
                </c:pt>
                <c:pt idx="191">
                  <c:v>-0.120947</c:v>
                </c:pt>
                <c:pt idx="192">
                  <c:v>-0.33372000000000002</c:v>
                </c:pt>
                <c:pt idx="193">
                  <c:v>-0.13220799999999999</c:v>
                </c:pt>
                <c:pt idx="194">
                  <c:v>-0.32879000000000003</c:v>
                </c:pt>
                <c:pt idx="195">
                  <c:v>-0.121934</c:v>
                </c:pt>
                <c:pt idx="196">
                  <c:v>-0.30533700000000003</c:v>
                </c:pt>
                <c:pt idx="197">
                  <c:v>-7.4281E-2</c:v>
                </c:pt>
                <c:pt idx="198">
                  <c:v>-0.21821199999999999</c:v>
                </c:pt>
                <c:pt idx="199">
                  <c:v>-0.17458599999999999</c:v>
                </c:pt>
                <c:pt idx="200">
                  <c:v>-0.106305</c:v>
                </c:pt>
                <c:pt idx="201">
                  <c:v>-0.109246</c:v>
                </c:pt>
                <c:pt idx="202">
                  <c:v>-7.7963000000000005E-2</c:v>
                </c:pt>
                <c:pt idx="203">
                  <c:v>-0.133354</c:v>
                </c:pt>
                <c:pt idx="204">
                  <c:v>-4.6482999999999997E-2</c:v>
                </c:pt>
                <c:pt idx="205">
                  <c:v>-7.9920000000000008E-3</c:v>
                </c:pt>
                <c:pt idx="206">
                  <c:v>-9.3003000000000002E-2</c:v>
                </c:pt>
                <c:pt idx="207">
                  <c:v>0.117074</c:v>
                </c:pt>
                <c:pt idx="208">
                  <c:v>-2.317E-2</c:v>
                </c:pt>
                <c:pt idx="209">
                  <c:v>3.6914000000000002E-2</c:v>
                </c:pt>
                <c:pt idx="210">
                  <c:v>-0.210728</c:v>
                </c:pt>
                <c:pt idx="211">
                  <c:v>0.26189699999999999</c:v>
                </c:pt>
                <c:pt idx="212">
                  <c:v>-0.295491</c:v>
                </c:pt>
                <c:pt idx="213">
                  <c:v>8.2477999999999996E-2</c:v>
                </c:pt>
                <c:pt idx="214">
                  <c:v>-0.27865000000000001</c:v>
                </c:pt>
                <c:pt idx="215">
                  <c:v>8.3793000000000006E-2</c:v>
                </c:pt>
                <c:pt idx="216">
                  <c:v>-0.37502799999999997</c:v>
                </c:pt>
                <c:pt idx="217">
                  <c:v>0.36826500000000001</c:v>
                </c:pt>
                <c:pt idx="218">
                  <c:v>-0.31864700000000001</c:v>
                </c:pt>
                <c:pt idx="219">
                  <c:v>0.29577700000000001</c:v>
                </c:pt>
                <c:pt idx="220">
                  <c:v>-0.37387199999999998</c:v>
                </c:pt>
                <c:pt idx="221">
                  <c:v>0.450517</c:v>
                </c:pt>
                <c:pt idx="222">
                  <c:v>-0.38456400000000002</c:v>
                </c:pt>
                <c:pt idx="223">
                  <c:v>3.4187000000000002E-2</c:v>
                </c:pt>
                <c:pt idx="224">
                  <c:v>-0.25552900000000001</c:v>
                </c:pt>
                <c:pt idx="225">
                  <c:v>0.12579299999999999</c:v>
                </c:pt>
                <c:pt idx="226">
                  <c:v>-0.20971200000000001</c:v>
                </c:pt>
                <c:pt idx="227">
                  <c:v>-0.15406900000000001</c:v>
                </c:pt>
                <c:pt idx="228">
                  <c:v>-2.1002E-2</c:v>
                </c:pt>
                <c:pt idx="229">
                  <c:v>-0.113609</c:v>
                </c:pt>
                <c:pt idx="230">
                  <c:v>-8.9019000000000001E-2</c:v>
                </c:pt>
                <c:pt idx="231">
                  <c:v>-4.5537000000000001E-2</c:v>
                </c:pt>
                <c:pt idx="232">
                  <c:v>-0.104111</c:v>
                </c:pt>
                <c:pt idx="233">
                  <c:v>-0.13234099999999999</c:v>
                </c:pt>
                <c:pt idx="234">
                  <c:v>-3.4344E-2</c:v>
                </c:pt>
                <c:pt idx="235">
                  <c:v>2.2728999999999999E-2</c:v>
                </c:pt>
                <c:pt idx="236">
                  <c:v>-0.35933900000000002</c:v>
                </c:pt>
                <c:pt idx="237">
                  <c:v>7.3117000000000001E-2</c:v>
                </c:pt>
                <c:pt idx="238">
                  <c:v>-5.3303000000000003E-2</c:v>
                </c:pt>
                <c:pt idx="239">
                  <c:v>0.260523</c:v>
                </c:pt>
                <c:pt idx="240">
                  <c:v>-0.163243</c:v>
                </c:pt>
                <c:pt idx="241">
                  <c:v>0.34562500000000002</c:v>
                </c:pt>
                <c:pt idx="242">
                  <c:v>-0.30844700000000003</c:v>
                </c:pt>
                <c:pt idx="243">
                  <c:v>0.10485700000000001</c:v>
                </c:pt>
                <c:pt idx="244">
                  <c:v>-0.35579499999999997</c:v>
                </c:pt>
                <c:pt idx="245">
                  <c:v>0.32022099999999998</c:v>
                </c:pt>
                <c:pt idx="246">
                  <c:v>-0.32006400000000002</c:v>
                </c:pt>
                <c:pt idx="247">
                  <c:v>-6.4167000000000002E-2</c:v>
                </c:pt>
                <c:pt idx="248">
                  <c:v>-0.33065</c:v>
                </c:pt>
                <c:pt idx="249">
                  <c:v>-8.1682000000000005E-2</c:v>
                </c:pt>
                <c:pt idx="250">
                  <c:v>-0.29959799999999998</c:v>
                </c:pt>
                <c:pt idx="251">
                  <c:v>-0.21551300000000001</c:v>
                </c:pt>
                <c:pt idx="252">
                  <c:v>-0.197021</c:v>
                </c:pt>
                <c:pt idx="253">
                  <c:v>-0.25577100000000003</c:v>
                </c:pt>
                <c:pt idx="254">
                  <c:v>-0.17374500000000001</c:v>
                </c:pt>
                <c:pt idx="255">
                  <c:v>-0.25577100000000003</c:v>
                </c:pt>
                <c:pt idx="256">
                  <c:v>-0.18031900000000001</c:v>
                </c:pt>
                <c:pt idx="257">
                  <c:v>0.24019799999999999</c:v>
                </c:pt>
                <c:pt idx="258">
                  <c:v>-0.23357700000000001</c:v>
                </c:pt>
                <c:pt idx="259">
                  <c:v>0.27655800000000003</c:v>
                </c:pt>
                <c:pt idx="260">
                  <c:v>6.3766000000000003E-2</c:v>
                </c:pt>
                <c:pt idx="261">
                  <c:v>0.352605</c:v>
                </c:pt>
                <c:pt idx="262">
                  <c:v>-0.32563799999999998</c:v>
                </c:pt>
                <c:pt idx="263">
                  <c:v>8.2602999999999996E-2</c:v>
                </c:pt>
                <c:pt idx="264">
                  <c:v>-0.24505399999999999</c:v>
                </c:pt>
                <c:pt idx="265">
                  <c:v>-1.0647999999999999E-2</c:v>
                </c:pt>
                <c:pt idx="266">
                  <c:v>-0.17602300000000001</c:v>
                </c:pt>
                <c:pt idx="267">
                  <c:v>-0.162742</c:v>
                </c:pt>
                <c:pt idx="268">
                  <c:v>-9.3047000000000005E-2</c:v>
                </c:pt>
                <c:pt idx="269">
                  <c:v>-0.46840799999999999</c:v>
                </c:pt>
                <c:pt idx="270">
                  <c:v>6.8798999999999999E-2</c:v>
                </c:pt>
                <c:pt idx="271">
                  <c:v>0.52852399999999999</c:v>
                </c:pt>
                <c:pt idx="272">
                  <c:v>-1.7722000000000002E-2</c:v>
                </c:pt>
                <c:pt idx="273">
                  <c:v>-0.42751600000000001</c:v>
                </c:pt>
                <c:pt idx="274">
                  <c:v>-0.15598699999999999</c:v>
                </c:pt>
                <c:pt idx="275">
                  <c:v>0.69927600000000001</c:v>
                </c:pt>
                <c:pt idx="276">
                  <c:v>-3.1827000000000001E-2</c:v>
                </c:pt>
                <c:pt idx="277">
                  <c:v>-2.8368000000000001E-2</c:v>
                </c:pt>
                <c:pt idx="278">
                  <c:v>-8.6735000000000007E-2</c:v>
                </c:pt>
                <c:pt idx="279">
                  <c:v>-0.27939700000000001</c:v>
                </c:pt>
                <c:pt idx="280">
                  <c:v>-0.30704100000000001</c:v>
                </c:pt>
                <c:pt idx="281">
                  <c:v>-0.43034299999999998</c:v>
                </c:pt>
                <c:pt idx="282">
                  <c:v>-0.30597400000000002</c:v>
                </c:pt>
                <c:pt idx="283">
                  <c:v>-0.45068799999999998</c:v>
                </c:pt>
                <c:pt idx="284">
                  <c:v>0.154173</c:v>
                </c:pt>
                <c:pt idx="285">
                  <c:v>-8.6021E-2</c:v>
                </c:pt>
                <c:pt idx="286">
                  <c:v>-0.47948000000000002</c:v>
                </c:pt>
                <c:pt idx="287">
                  <c:v>-0.52451999999999999</c:v>
                </c:pt>
                <c:pt idx="288">
                  <c:v>-0.60192599999999996</c:v>
                </c:pt>
                <c:pt idx="289">
                  <c:v>7.4852000000000002E-2</c:v>
                </c:pt>
                <c:pt idx="290">
                  <c:v>-0.62337500000000001</c:v>
                </c:pt>
                <c:pt idx="291">
                  <c:v>0.66113500000000003</c:v>
                </c:pt>
                <c:pt idx="292">
                  <c:v>-0.43985299999999999</c:v>
                </c:pt>
                <c:pt idx="293">
                  <c:v>0.730877</c:v>
                </c:pt>
                <c:pt idx="294">
                  <c:v>-9.6536999999999998E-2</c:v>
                </c:pt>
                <c:pt idx="295">
                  <c:v>-0.45216499999999998</c:v>
                </c:pt>
                <c:pt idx="296">
                  <c:v>-7.8467999999999996E-2</c:v>
                </c:pt>
                <c:pt idx="297">
                  <c:v>0</c:v>
                </c:pt>
                <c:pt idx="298">
                  <c:v>-0.34950700000000001</c:v>
                </c:pt>
                <c:pt idx="299">
                  <c:v>-0.15036099999999999</c:v>
                </c:pt>
                <c:pt idx="300">
                  <c:v>-0.623031</c:v>
                </c:pt>
                <c:pt idx="301">
                  <c:v>0.69821900000000003</c:v>
                </c:pt>
                <c:pt idx="302">
                  <c:v>0.68043900000000002</c:v>
                </c:pt>
                <c:pt idx="303">
                  <c:v>0</c:v>
                </c:pt>
                <c:pt idx="304">
                  <c:v>-0.72076399999999996</c:v>
                </c:pt>
                <c:pt idx="305">
                  <c:v>0.43695400000000001</c:v>
                </c:pt>
                <c:pt idx="306">
                  <c:v>0</c:v>
                </c:pt>
                <c:pt idx="307">
                  <c:v>1.873909</c:v>
                </c:pt>
                <c:pt idx="308">
                  <c:v>-0.41482799999999997</c:v>
                </c:pt>
                <c:pt idx="309">
                  <c:v>0</c:v>
                </c:pt>
                <c:pt idx="310">
                  <c:v>-0.55415400000000004</c:v>
                </c:pt>
                <c:pt idx="311">
                  <c:v>0</c:v>
                </c:pt>
                <c:pt idx="312">
                  <c:v>-0.442693</c:v>
                </c:pt>
                <c:pt idx="313">
                  <c:v>0</c:v>
                </c:pt>
                <c:pt idx="314">
                  <c:v>-0.41482799999999997</c:v>
                </c:pt>
                <c:pt idx="315">
                  <c:v>1.513E-3</c:v>
                </c:pt>
                <c:pt idx="316">
                  <c:v>-0.442693</c:v>
                </c:pt>
                <c:pt idx="317">
                  <c:v>-0.34683799999999998</c:v>
                </c:pt>
                <c:pt idx="318">
                  <c:v>-0.442693</c:v>
                </c:pt>
                <c:pt idx="319">
                  <c:v>0</c:v>
                </c:pt>
                <c:pt idx="320">
                  <c:v>-0.44771699999999998</c:v>
                </c:pt>
                <c:pt idx="321">
                  <c:v>-0.45880900000000002</c:v>
                </c:pt>
                <c:pt idx="322">
                  <c:v>-0.247636</c:v>
                </c:pt>
                <c:pt idx="323">
                  <c:v>-0.421485</c:v>
                </c:pt>
                <c:pt idx="324">
                  <c:v>0.72765000000000002</c:v>
                </c:pt>
                <c:pt idx="325">
                  <c:v>-5.9447E-2</c:v>
                </c:pt>
                <c:pt idx="326">
                  <c:v>2.9011469999999999</c:v>
                </c:pt>
                <c:pt idx="327">
                  <c:v>-0.194434</c:v>
                </c:pt>
                <c:pt idx="328">
                  <c:v>2.7896860000000001</c:v>
                </c:pt>
                <c:pt idx="329">
                  <c:v>0.110373</c:v>
                </c:pt>
                <c:pt idx="330">
                  <c:v>8.0835000000000004E-2</c:v>
                </c:pt>
                <c:pt idx="331">
                  <c:v>1.743276</c:v>
                </c:pt>
                <c:pt idx="332">
                  <c:v>0.63476600000000005</c:v>
                </c:pt>
                <c:pt idx="333">
                  <c:v>1.8085929999999999</c:v>
                </c:pt>
                <c:pt idx="334">
                  <c:v>-0.69624399999999997</c:v>
                </c:pt>
                <c:pt idx="335">
                  <c:v>-0.31600299999999998</c:v>
                </c:pt>
                <c:pt idx="336">
                  <c:v>0.52330399999999999</c:v>
                </c:pt>
                <c:pt idx="337">
                  <c:v>5.2703470000000001</c:v>
                </c:pt>
                <c:pt idx="338">
                  <c:v>0.17034299999999999</c:v>
                </c:pt>
                <c:pt idx="339">
                  <c:v>4.0946559999999996</c:v>
                </c:pt>
                <c:pt idx="340">
                  <c:v>0.37468899999999999</c:v>
                </c:pt>
                <c:pt idx="341">
                  <c:v>0</c:v>
                </c:pt>
                <c:pt idx="342">
                  <c:v>0.89484200000000003</c:v>
                </c:pt>
                <c:pt idx="343">
                  <c:v>1.0901149999999999</c:v>
                </c:pt>
                <c:pt idx="344">
                  <c:v>1.0063029999999999</c:v>
                </c:pt>
                <c:pt idx="345">
                  <c:v>0</c:v>
                </c:pt>
                <c:pt idx="346">
                  <c:v>0.61618799999999996</c:v>
                </c:pt>
                <c:pt idx="347">
                  <c:v>0</c:v>
                </c:pt>
                <c:pt idx="348">
                  <c:v>2.1209169999999999</c:v>
                </c:pt>
                <c:pt idx="349">
                  <c:v>0</c:v>
                </c:pt>
                <c:pt idx="350">
                  <c:v>7.7459E-2</c:v>
                </c:pt>
                <c:pt idx="351">
                  <c:v>-0.29711700000000002</c:v>
                </c:pt>
                <c:pt idx="352">
                  <c:v>-0.392488</c:v>
                </c:pt>
                <c:pt idx="353">
                  <c:v>-0.57905499999999999</c:v>
                </c:pt>
                <c:pt idx="354">
                  <c:v>-0.39405400000000002</c:v>
                </c:pt>
                <c:pt idx="355">
                  <c:v>-0.55500099999999997</c:v>
                </c:pt>
                <c:pt idx="356">
                  <c:v>0</c:v>
                </c:pt>
                <c:pt idx="357">
                  <c:v>-0.56702799999999998</c:v>
                </c:pt>
                <c:pt idx="358">
                  <c:v>-7.6824000000000003E-2</c:v>
                </c:pt>
                <c:pt idx="359">
                  <c:v>-0.591082</c:v>
                </c:pt>
                <c:pt idx="360">
                  <c:v>2.9215999999999999E-2</c:v>
                </c:pt>
                <c:pt idx="361">
                  <c:v>-6.7906999999999995E-2</c:v>
                </c:pt>
                <c:pt idx="362">
                  <c:v>2.9215999999999999E-2</c:v>
                </c:pt>
                <c:pt idx="363">
                  <c:v>0.80404799999999998</c:v>
                </c:pt>
                <c:pt idx="364">
                  <c:v>-0.27642899999999998</c:v>
                </c:pt>
                <c:pt idx="365">
                  <c:v>-0.39865</c:v>
                </c:pt>
                <c:pt idx="366">
                  <c:v>0.16436500000000001</c:v>
                </c:pt>
                <c:pt idx="367">
                  <c:v>-7.7720000000000003E-3</c:v>
                </c:pt>
                <c:pt idx="368">
                  <c:v>0.455457</c:v>
                </c:pt>
                <c:pt idx="369">
                  <c:v>-6.9713999999999998E-2</c:v>
                </c:pt>
                <c:pt idx="370">
                  <c:v>-9.6536999999999998E-2</c:v>
                </c:pt>
                <c:pt idx="371">
                  <c:v>-0.462501</c:v>
                </c:pt>
                <c:pt idx="372">
                  <c:v>-0.39287300000000003</c:v>
                </c:pt>
                <c:pt idx="373">
                  <c:v>-0.47077000000000002</c:v>
                </c:pt>
                <c:pt idx="374">
                  <c:v>-0.241091</c:v>
                </c:pt>
                <c:pt idx="375">
                  <c:v>4.7432000000000002E-2</c:v>
                </c:pt>
                <c:pt idx="376">
                  <c:v>-0.121834</c:v>
                </c:pt>
                <c:pt idx="377">
                  <c:v>1.2249939999999999</c:v>
                </c:pt>
                <c:pt idx="378">
                  <c:v>0.97858199999999995</c:v>
                </c:pt>
                <c:pt idx="379">
                  <c:v>4.4121480000000002</c:v>
                </c:pt>
                <c:pt idx="380">
                  <c:v>4.5833959999999996</c:v>
                </c:pt>
                <c:pt idx="381">
                  <c:v>2.1570860000000001</c:v>
                </c:pt>
                <c:pt idx="382">
                  <c:v>4.6918110000000004</c:v>
                </c:pt>
                <c:pt idx="383">
                  <c:v>5.674982</c:v>
                </c:pt>
                <c:pt idx="384">
                  <c:v>0.91533900000000001</c:v>
                </c:pt>
                <c:pt idx="385">
                  <c:v>5.2540370000000003</c:v>
                </c:pt>
                <c:pt idx="386">
                  <c:v>0.63978299999999999</c:v>
                </c:pt>
                <c:pt idx="387">
                  <c:v>2.2472880000000002</c:v>
                </c:pt>
                <c:pt idx="388">
                  <c:v>4.0787999999999998E-2</c:v>
                </c:pt>
                <c:pt idx="389">
                  <c:v>0.88422800000000001</c:v>
                </c:pt>
                <c:pt idx="390">
                  <c:v>-0.194628</c:v>
                </c:pt>
                <c:pt idx="391">
                  <c:v>0.10648299999999999</c:v>
                </c:pt>
                <c:pt idx="392">
                  <c:v>-0.210115</c:v>
                </c:pt>
                <c:pt idx="393">
                  <c:v>-0.36357099999999998</c:v>
                </c:pt>
                <c:pt idx="394">
                  <c:v>-9.3955999999999998E-2</c:v>
                </c:pt>
                <c:pt idx="395">
                  <c:v>-0.55566899999999997</c:v>
                </c:pt>
                <c:pt idx="396">
                  <c:v>0.34615800000000002</c:v>
                </c:pt>
                <c:pt idx="397">
                  <c:v>-0.49359999999999998</c:v>
                </c:pt>
                <c:pt idx="398">
                  <c:v>0.21580099999999999</c:v>
                </c:pt>
                <c:pt idx="399">
                  <c:v>-0.52192700000000003</c:v>
                </c:pt>
                <c:pt idx="400">
                  <c:v>0.30872899999999998</c:v>
                </c:pt>
                <c:pt idx="401">
                  <c:v>-0.373888</c:v>
                </c:pt>
                <c:pt idx="402">
                  <c:v>0.87920100000000001</c:v>
                </c:pt>
                <c:pt idx="403">
                  <c:v>-0.32585500000000001</c:v>
                </c:pt>
                <c:pt idx="404">
                  <c:v>-0.144292</c:v>
                </c:pt>
                <c:pt idx="405">
                  <c:v>-0.34753499999999998</c:v>
                </c:pt>
                <c:pt idx="406">
                  <c:v>8.9081999999999995E-2</c:v>
                </c:pt>
                <c:pt idx="407">
                  <c:v>-0.28099400000000002</c:v>
                </c:pt>
                <c:pt idx="408">
                  <c:v>-9.6536999999999998E-2</c:v>
                </c:pt>
                <c:pt idx="409">
                  <c:v>-0.23327899999999999</c:v>
                </c:pt>
                <c:pt idx="410">
                  <c:v>-0.30659199999999998</c:v>
                </c:pt>
                <c:pt idx="411">
                  <c:v>-0.24274399999999999</c:v>
                </c:pt>
                <c:pt idx="412">
                  <c:v>-1.2848E-2</c:v>
                </c:pt>
                <c:pt idx="413">
                  <c:v>-0.245202</c:v>
                </c:pt>
                <c:pt idx="414">
                  <c:v>-0.206119</c:v>
                </c:pt>
                <c:pt idx="415">
                  <c:v>-0.410441</c:v>
                </c:pt>
                <c:pt idx="416">
                  <c:v>-0.25057800000000002</c:v>
                </c:pt>
                <c:pt idx="417">
                  <c:v>-0.40259299999999998</c:v>
                </c:pt>
                <c:pt idx="418">
                  <c:v>-0.31035699999999999</c:v>
                </c:pt>
                <c:pt idx="419">
                  <c:v>-0.28771099999999999</c:v>
                </c:pt>
                <c:pt idx="420">
                  <c:v>-0.392704</c:v>
                </c:pt>
                <c:pt idx="421">
                  <c:v>-0.22531999999999999</c:v>
                </c:pt>
                <c:pt idx="422">
                  <c:v>-0.223554</c:v>
                </c:pt>
                <c:pt idx="423">
                  <c:v>-6.2073999999999997E-2</c:v>
                </c:pt>
                <c:pt idx="424">
                  <c:v>-0.22204499999999999</c:v>
                </c:pt>
                <c:pt idx="425">
                  <c:v>-7.1072999999999997E-2</c:v>
                </c:pt>
                <c:pt idx="426">
                  <c:v>-0.164356</c:v>
                </c:pt>
                <c:pt idx="427">
                  <c:v>-0.13350899999999999</c:v>
                </c:pt>
                <c:pt idx="428">
                  <c:v>-9.3039999999999998E-2</c:v>
                </c:pt>
                <c:pt idx="429">
                  <c:v>-0.11606900000000001</c:v>
                </c:pt>
                <c:pt idx="430">
                  <c:v>-0.31582100000000002</c:v>
                </c:pt>
                <c:pt idx="431">
                  <c:v>-0.103795</c:v>
                </c:pt>
                <c:pt idx="432">
                  <c:v>-0.32358100000000001</c:v>
                </c:pt>
                <c:pt idx="433">
                  <c:v>-0.12470199999999999</c:v>
                </c:pt>
                <c:pt idx="434">
                  <c:v>-0.40520400000000001</c:v>
                </c:pt>
                <c:pt idx="435">
                  <c:v>-0.140182</c:v>
                </c:pt>
                <c:pt idx="436">
                  <c:v>-0.34561500000000001</c:v>
                </c:pt>
                <c:pt idx="437">
                  <c:v>-0.15503500000000001</c:v>
                </c:pt>
                <c:pt idx="438">
                  <c:v>-0.30119699999999999</c:v>
                </c:pt>
                <c:pt idx="439">
                  <c:v>-0.175154</c:v>
                </c:pt>
                <c:pt idx="440">
                  <c:v>-0.26374999999999998</c:v>
                </c:pt>
                <c:pt idx="441">
                  <c:v>-0.13675100000000001</c:v>
                </c:pt>
                <c:pt idx="442">
                  <c:v>-0.12690899999999999</c:v>
                </c:pt>
                <c:pt idx="443">
                  <c:v>-0.17003099999999999</c:v>
                </c:pt>
                <c:pt idx="444">
                  <c:v>-0.26783400000000002</c:v>
                </c:pt>
                <c:pt idx="445">
                  <c:v>0.13702800000000001</c:v>
                </c:pt>
                <c:pt idx="446">
                  <c:v>-0.21587300000000001</c:v>
                </c:pt>
                <c:pt idx="447">
                  <c:v>0.15104100000000001</c:v>
                </c:pt>
                <c:pt idx="448">
                  <c:v>-0.290352</c:v>
                </c:pt>
                <c:pt idx="449">
                  <c:v>0.15163299999999999</c:v>
                </c:pt>
                <c:pt idx="450">
                  <c:v>-0.23968600000000001</c:v>
                </c:pt>
                <c:pt idx="451">
                  <c:v>-1.128E-2</c:v>
                </c:pt>
                <c:pt idx="452">
                  <c:v>-0.25626199999999999</c:v>
                </c:pt>
                <c:pt idx="453">
                  <c:v>4.5248999999999998E-2</c:v>
                </c:pt>
                <c:pt idx="454">
                  <c:v>-0.407586</c:v>
                </c:pt>
                <c:pt idx="455">
                  <c:v>2.6716E-2</c:v>
                </c:pt>
                <c:pt idx="456">
                  <c:v>0.72117299999999995</c:v>
                </c:pt>
                <c:pt idx="457">
                  <c:v>5.1804999999999997E-2</c:v>
                </c:pt>
                <c:pt idx="458">
                  <c:v>0.410242</c:v>
                </c:pt>
                <c:pt idx="459">
                  <c:v>0.10527400000000001</c:v>
                </c:pt>
                <c:pt idx="460">
                  <c:v>0.32103599999999999</c:v>
                </c:pt>
                <c:pt idx="461">
                  <c:v>3.5825999999999997E-2</c:v>
                </c:pt>
                <c:pt idx="462">
                  <c:v>0.228016</c:v>
                </c:pt>
                <c:pt idx="463">
                  <c:v>7.9410999999999995E-2</c:v>
                </c:pt>
                <c:pt idx="464">
                  <c:v>0.13472600000000001</c:v>
                </c:pt>
                <c:pt idx="465">
                  <c:v>6.3099999999999996E-3</c:v>
                </c:pt>
                <c:pt idx="466">
                  <c:v>0.19384299999999999</c:v>
                </c:pt>
                <c:pt idx="467">
                  <c:v>9.3678999999999998E-2</c:v>
                </c:pt>
                <c:pt idx="468">
                  <c:v>0.10456799999999999</c:v>
                </c:pt>
                <c:pt idx="469">
                  <c:v>0.11551599999999999</c:v>
                </c:pt>
                <c:pt idx="470">
                  <c:v>0.36863000000000001</c:v>
                </c:pt>
                <c:pt idx="471">
                  <c:v>1.8474999999999998E-2</c:v>
                </c:pt>
                <c:pt idx="472">
                  <c:v>0.36543999999999999</c:v>
                </c:pt>
                <c:pt idx="473">
                  <c:v>-2.72E-4</c:v>
                </c:pt>
                <c:pt idx="474">
                  <c:v>0.336785</c:v>
                </c:pt>
                <c:pt idx="475">
                  <c:v>-6.4898999999999998E-2</c:v>
                </c:pt>
                <c:pt idx="476">
                  <c:v>0.32440000000000002</c:v>
                </c:pt>
                <c:pt idx="477">
                  <c:v>-0.112605</c:v>
                </c:pt>
                <c:pt idx="478">
                  <c:v>0.27861200000000003</c:v>
                </c:pt>
                <c:pt idx="479">
                  <c:v>-4.7986000000000001E-2</c:v>
                </c:pt>
                <c:pt idx="480">
                  <c:v>0.20006599999999999</c:v>
                </c:pt>
                <c:pt idx="481">
                  <c:v>-3.3679999999999999E-3</c:v>
                </c:pt>
                <c:pt idx="482">
                  <c:v>0.194132</c:v>
                </c:pt>
                <c:pt idx="483">
                  <c:v>-2.5992000000000001E-2</c:v>
                </c:pt>
                <c:pt idx="484">
                  <c:v>0.48366999999999999</c:v>
                </c:pt>
                <c:pt idx="485">
                  <c:v>1.9765999999999999E-2</c:v>
                </c:pt>
                <c:pt idx="486">
                  <c:v>0.12343700000000001</c:v>
                </c:pt>
                <c:pt idx="487">
                  <c:v>-4.6018999999999997E-2</c:v>
                </c:pt>
                <c:pt idx="488">
                  <c:v>0.21425</c:v>
                </c:pt>
                <c:pt idx="489">
                  <c:v>-0.13159999999999999</c:v>
                </c:pt>
                <c:pt idx="490">
                  <c:v>0.21471999999999999</c:v>
                </c:pt>
                <c:pt idx="491">
                  <c:v>-7.2404999999999997E-2</c:v>
                </c:pt>
                <c:pt idx="492">
                  <c:v>0.17411599999999999</c:v>
                </c:pt>
                <c:pt idx="493">
                  <c:v>-0.177982</c:v>
                </c:pt>
                <c:pt idx="494">
                  <c:v>0.27392499999999997</c:v>
                </c:pt>
                <c:pt idx="495">
                  <c:v>-0.19284799999999999</c:v>
                </c:pt>
                <c:pt idx="496">
                  <c:v>0.30398900000000001</c:v>
                </c:pt>
                <c:pt idx="497">
                  <c:v>-0.120466</c:v>
                </c:pt>
                <c:pt idx="498">
                  <c:v>0.45360299999999998</c:v>
                </c:pt>
                <c:pt idx="499">
                  <c:v>-0.19878499999999999</c:v>
                </c:pt>
                <c:pt idx="500">
                  <c:v>0.31626100000000001</c:v>
                </c:pt>
                <c:pt idx="501">
                  <c:v>-0.14165800000000001</c:v>
                </c:pt>
                <c:pt idx="502">
                  <c:v>0.571605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do_3_dne_7dni_shift3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2.9787234042E-2</c:v>
                </c:pt>
                <c:pt idx="1">
                  <c:v>3.4011090573000002E-2</c:v>
                </c:pt>
                <c:pt idx="2">
                  <c:v>3.4318722391999998E-2</c:v>
                </c:pt>
                <c:pt idx="3">
                  <c:v>3.5049627791000001E-2</c:v>
                </c:pt>
                <c:pt idx="4">
                  <c:v>3.5398230087999999E-2</c:v>
                </c:pt>
                <c:pt idx="5">
                  <c:v>3.2405063291E-2</c:v>
                </c:pt>
                <c:pt idx="6">
                  <c:v>3.3005794909999997E-2</c:v>
                </c:pt>
                <c:pt idx="7">
                  <c:v>3.2520325203000001E-2</c:v>
                </c:pt>
                <c:pt idx="8">
                  <c:v>3.7054085154999999E-2</c:v>
                </c:pt>
                <c:pt idx="9">
                  <c:v>3.2571428570999997E-2</c:v>
                </c:pt>
                <c:pt idx="10">
                  <c:v>3.0451700219E-2</c:v>
                </c:pt>
                <c:pt idx="11">
                  <c:v>2.8124530004E-2</c:v>
                </c:pt>
                <c:pt idx="12">
                  <c:v>2.6024811217999998E-2</c:v>
                </c:pt>
                <c:pt idx="13">
                  <c:v>2.5012260912000001E-2</c:v>
                </c:pt>
                <c:pt idx="14">
                  <c:v>2.5227999526000001E-2</c:v>
                </c:pt>
                <c:pt idx="15">
                  <c:v>2.6487142698999998E-2</c:v>
                </c:pt>
                <c:pt idx="16">
                  <c:v>2.7908805031E-2</c:v>
                </c:pt>
                <c:pt idx="17">
                  <c:v>2.8973806960000001E-2</c:v>
                </c:pt>
                <c:pt idx="18">
                  <c:v>3.0346930995E-2</c:v>
                </c:pt>
                <c:pt idx="19">
                  <c:v>3.0202312137999999E-2</c:v>
                </c:pt>
                <c:pt idx="20">
                  <c:v>2.9979921069E-2</c:v>
                </c:pt>
                <c:pt idx="21">
                  <c:v>3.2109431245E-2</c:v>
                </c:pt>
                <c:pt idx="22">
                  <c:v>3.2862239297000002E-2</c:v>
                </c:pt>
                <c:pt idx="23">
                  <c:v>3.3573893943999997E-2</c:v>
                </c:pt>
                <c:pt idx="24">
                  <c:v>3.2902680511000003E-2</c:v>
                </c:pt>
                <c:pt idx="25">
                  <c:v>3.4954144314999998E-2</c:v>
                </c:pt>
                <c:pt idx="26">
                  <c:v>3.5495716034000001E-2</c:v>
                </c:pt>
                <c:pt idx="27">
                  <c:v>3.6934820904E-2</c:v>
                </c:pt>
                <c:pt idx="28">
                  <c:v>4.0085942295000003E-2</c:v>
                </c:pt>
                <c:pt idx="29">
                  <c:v>4.2796865581000001E-2</c:v>
                </c:pt>
                <c:pt idx="30">
                  <c:v>4.6207906294999997E-2</c:v>
                </c:pt>
                <c:pt idx="31">
                  <c:v>4.8316584341000002E-2</c:v>
                </c:pt>
                <c:pt idx="32">
                  <c:v>4.9545478709000002E-2</c:v>
                </c:pt>
                <c:pt idx="33">
                  <c:v>4.9949238578000002E-2</c:v>
                </c:pt>
                <c:pt idx="34">
                  <c:v>5.0960691905000001E-2</c:v>
                </c:pt>
                <c:pt idx="35">
                  <c:v>5.4149929573000001E-2</c:v>
                </c:pt>
                <c:pt idx="36">
                  <c:v>5.7716137640999997E-2</c:v>
                </c:pt>
                <c:pt idx="37">
                  <c:v>5.5596953136999999E-2</c:v>
                </c:pt>
                <c:pt idx="38">
                  <c:v>5.4377043224999998E-2</c:v>
                </c:pt>
                <c:pt idx="39">
                  <c:v>5.3968465615000002E-2</c:v>
                </c:pt>
                <c:pt idx="40">
                  <c:v>5.0435723641999997E-2</c:v>
                </c:pt>
                <c:pt idx="41">
                  <c:v>5.0339303592999998E-2</c:v>
                </c:pt>
                <c:pt idx="42">
                  <c:v>5.2785843422000003E-2</c:v>
                </c:pt>
                <c:pt idx="43">
                  <c:v>5.4705942728000001E-2</c:v>
                </c:pt>
                <c:pt idx="44">
                  <c:v>5.1745212548999997E-2</c:v>
                </c:pt>
                <c:pt idx="45">
                  <c:v>4.9772653457999999E-2</c:v>
                </c:pt>
                <c:pt idx="46">
                  <c:v>4.7994482964000003E-2</c:v>
                </c:pt>
                <c:pt idx="47">
                  <c:v>4.6039553923E-2</c:v>
                </c:pt>
                <c:pt idx="48">
                  <c:v>4.7227408041999999E-2</c:v>
                </c:pt>
                <c:pt idx="49">
                  <c:v>4.9332821189000002E-2</c:v>
                </c:pt>
                <c:pt idx="50">
                  <c:v>5.1362311688999997E-2</c:v>
                </c:pt>
                <c:pt idx="51">
                  <c:v>4.9165184541000002E-2</c:v>
                </c:pt>
                <c:pt idx="52">
                  <c:v>4.9319255348000003E-2</c:v>
                </c:pt>
                <c:pt idx="53">
                  <c:v>4.9312583540000003E-2</c:v>
                </c:pt>
                <c:pt idx="54">
                  <c:v>4.8737068385999997E-2</c:v>
                </c:pt>
                <c:pt idx="55">
                  <c:v>4.9512047195999997E-2</c:v>
                </c:pt>
                <c:pt idx="56">
                  <c:v>5.1471906083999999E-2</c:v>
                </c:pt>
                <c:pt idx="57">
                  <c:v>5.3002561226E-2</c:v>
                </c:pt>
                <c:pt idx="58">
                  <c:v>5.0795983344999997E-2</c:v>
                </c:pt>
                <c:pt idx="59">
                  <c:v>5.0588452170999998E-2</c:v>
                </c:pt>
                <c:pt idx="60">
                  <c:v>5.1667886025999997E-2</c:v>
                </c:pt>
                <c:pt idx="61">
                  <c:v>5.2946556386000002E-2</c:v>
                </c:pt>
                <c:pt idx="62">
                  <c:v>5.3817219856E-2</c:v>
                </c:pt>
                <c:pt idx="63">
                  <c:v>5.5112823334999998E-2</c:v>
                </c:pt>
                <c:pt idx="64">
                  <c:v>5.6999062408999997E-2</c:v>
                </c:pt>
                <c:pt idx="65">
                  <c:v>5.6274310840000001E-2</c:v>
                </c:pt>
                <c:pt idx="66">
                  <c:v>5.6207548564000002E-2</c:v>
                </c:pt>
                <c:pt idx="67">
                  <c:v>5.7054368092999998E-2</c:v>
                </c:pt>
                <c:pt idx="68">
                  <c:v>5.6142491677E-2</c:v>
                </c:pt>
                <c:pt idx="69">
                  <c:v>5.6202878684E-2</c:v>
                </c:pt>
                <c:pt idx="70">
                  <c:v>5.8703260037E-2</c:v>
                </c:pt>
                <c:pt idx="71">
                  <c:v>6.0931582933000002E-2</c:v>
                </c:pt>
                <c:pt idx="72">
                  <c:v>5.8694772001999997E-2</c:v>
                </c:pt>
                <c:pt idx="73">
                  <c:v>5.8670005930999997E-2</c:v>
                </c:pt>
                <c:pt idx="74">
                  <c:v>6.1444135678999999E-2</c:v>
                </c:pt>
                <c:pt idx="75">
                  <c:v>6.4087295200000005E-2</c:v>
                </c:pt>
                <c:pt idx="76">
                  <c:v>6.7172897196000003E-2</c:v>
                </c:pt>
                <c:pt idx="77">
                  <c:v>7.0474322832999994E-2</c:v>
                </c:pt>
                <c:pt idx="78">
                  <c:v>7.4072614802000003E-2</c:v>
                </c:pt>
                <c:pt idx="79">
                  <c:v>7.1978594334000001E-2</c:v>
                </c:pt>
                <c:pt idx="80">
                  <c:v>7.3872644001999999E-2</c:v>
                </c:pt>
                <c:pt idx="81">
                  <c:v>7.3125887308000001E-2</c:v>
                </c:pt>
                <c:pt idx="82">
                  <c:v>7.2099163854999995E-2</c:v>
                </c:pt>
                <c:pt idx="83">
                  <c:v>7.2383285694000002E-2</c:v>
                </c:pt>
                <c:pt idx="84">
                  <c:v>7.4778981994999993E-2</c:v>
                </c:pt>
                <c:pt idx="85">
                  <c:v>7.5872451073999994E-2</c:v>
                </c:pt>
                <c:pt idx="86">
                  <c:v>7.1880577639999998E-2</c:v>
                </c:pt>
                <c:pt idx="87">
                  <c:v>7.2541886831999997E-2</c:v>
                </c:pt>
                <c:pt idx="88">
                  <c:v>7.2882994887999999E-2</c:v>
                </c:pt>
                <c:pt idx="89">
                  <c:v>7.3183573183000006E-2</c:v>
                </c:pt>
                <c:pt idx="90">
                  <c:v>7.6110413244000003E-2</c:v>
                </c:pt>
                <c:pt idx="91">
                  <c:v>7.9640511578999998E-2</c:v>
                </c:pt>
                <c:pt idx="92">
                  <c:v>8.1370587854999996E-2</c:v>
                </c:pt>
                <c:pt idx="93">
                  <c:v>7.9100487497999999E-2</c:v>
                </c:pt>
                <c:pt idx="94">
                  <c:v>7.7750450893000006E-2</c:v>
                </c:pt>
                <c:pt idx="95">
                  <c:v>7.7210997017999994E-2</c:v>
                </c:pt>
                <c:pt idx="96">
                  <c:v>7.4298293890999997E-2</c:v>
                </c:pt>
                <c:pt idx="97">
                  <c:v>7.6364370018999997E-2</c:v>
                </c:pt>
                <c:pt idx="98">
                  <c:v>7.9693432209999998E-2</c:v>
                </c:pt>
                <c:pt idx="99">
                  <c:v>7.9783163264999998E-2</c:v>
                </c:pt>
                <c:pt idx="100">
                  <c:v>7.5052759859999998E-2</c:v>
                </c:pt>
                <c:pt idx="101">
                  <c:v>7.3365825688E-2</c:v>
                </c:pt>
                <c:pt idx="102">
                  <c:v>7.1367391483999995E-2</c:v>
                </c:pt>
                <c:pt idx="103">
                  <c:v>6.7524285978000004E-2</c:v>
                </c:pt>
                <c:pt idx="104">
                  <c:v>6.7162755199000002E-2</c:v>
                </c:pt>
                <c:pt idx="105">
                  <c:v>6.7567567566999998E-2</c:v>
                </c:pt>
                <c:pt idx="106">
                  <c:v>6.9907196105E-2</c:v>
                </c:pt>
                <c:pt idx="107">
                  <c:v>6.4015406388999996E-2</c:v>
                </c:pt>
                <c:pt idx="108">
                  <c:v>6.1028943145999999E-2</c:v>
                </c:pt>
                <c:pt idx="109">
                  <c:v>5.7965738757999999E-2</c:v>
                </c:pt>
                <c:pt idx="110">
                  <c:v>5.4474081528999997E-2</c:v>
                </c:pt>
                <c:pt idx="111">
                  <c:v>5.4041314861E-2</c:v>
                </c:pt>
                <c:pt idx="112">
                  <c:v>5.4584028506999997E-2</c:v>
                </c:pt>
                <c:pt idx="113">
                  <c:v>5.4042155081999999E-2</c:v>
                </c:pt>
                <c:pt idx="114">
                  <c:v>4.7393050345999999E-2</c:v>
                </c:pt>
                <c:pt idx="115">
                  <c:v>4.3109540635999997E-2</c:v>
                </c:pt>
                <c:pt idx="116">
                  <c:v>4.2108456821E-2</c:v>
                </c:pt>
                <c:pt idx="117">
                  <c:v>4.4118921730000003E-2</c:v>
                </c:pt>
                <c:pt idx="118">
                  <c:v>4.8891459417000002E-2</c:v>
                </c:pt>
                <c:pt idx="119">
                  <c:v>5.3387641564999998E-2</c:v>
                </c:pt>
                <c:pt idx="120">
                  <c:v>5.4405666897E-2</c:v>
                </c:pt>
                <c:pt idx="121">
                  <c:v>5.0770898577999997E-2</c:v>
                </c:pt>
                <c:pt idx="122">
                  <c:v>4.9676859263999999E-2</c:v>
                </c:pt>
                <c:pt idx="123">
                  <c:v>5.1576570297000003E-2</c:v>
                </c:pt>
                <c:pt idx="124">
                  <c:v>5.3763592712E-2</c:v>
                </c:pt>
                <c:pt idx="125">
                  <c:v>5.5042735042000003E-2</c:v>
                </c:pt>
                <c:pt idx="126">
                  <c:v>5.4046621267000002E-2</c:v>
                </c:pt>
                <c:pt idx="127">
                  <c:v>5.1716075936999999E-2</c:v>
                </c:pt>
                <c:pt idx="128">
                  <c:v>4.9509255132000003E-2</c:v>
                </c:pt>
                <c:pt idx="129">
                  <c:v>4.8473871479000001E-2</c:v>
                </c:pt>
                <c:pt idx="130">
                  <c:v>4.8724559766999999E-2</c:v>
                </c:pt>
                <c:pt idx="131">
                  <c:v>4.8727112772000002E-2</c:v>
                </c:pt>
                <c:pt idx="132">
                  <c:v>4.7267648499000003E-2</c:v>
                </c:pt>
                <c:pt idx="133">
                  <c:v>4.5512275508000001E-2</c:v>
                </c:pt>
                <c:pt idx="134">
                  <c:v>4.5232360802E-2</c:v>
                </c:pt>
                <c:pt idx="135">
                  <c:v>4.4988882654000001E-2</c:v>
                </c:pt>
                <c:pt idx="136">
                  <c:v>4.4359285706E-2</c:v>
                </c:pt>
                <c:pt idx="137">
                  <c:v>4.6005719494000001E-2</c:v>
                </c:pt>
                <c:pt idx="138">
                  <c:v>4.7021396547000001E-2</c:v>
                </c:pt>
                <c:pt idx="139">
                  <c:v>4.8626014916999999E-2</c:v>
                </c:pt>
                <c:pt idx="140">
                  <c:v>5.0049325879000003E-2</c:v>
                </c:pt>
                <c:pt idx="141">
                  <c:v>5.0617726330000001E-2</c:v>
                </c:pt>
                <c:pt idx="142">
                  <c:v>4.8980795802000002E-2</c:v>
                </c:pt>
                <c:pt idx="143">
                  <c:v>4.8830589071999997E-2</c:v>
                </c:pt>
                <c:pt idx="144">
                  <c:v>5.0390979244000003E-2</c:v>
                </c:pt>
                <c:pt idx="145">
                  <c:v>5.0365584083999999E-2</c:v>
                </c:pt>
                <c:pt idx="146">
                  <c:v>5.2258256692000002E-2</c:v>
                </c:pt>
                <c:pt idx="147">
                  <c:v>5.4318123734000003E-2</c:v>
                </c:pt>
                <c:pt idx="148">
                  <c:v>5.3780386189000003E-2</c:v>
                </c:pt>
                <c:pt idx="149">
                  <c:v>5.1532941943000003E-2</c:v>
                </c:pt>
                <c:pt idx="150">
                  <c:v>5.1204602660000001E-2</c:v>
                </c:pt>
                <c:pt idx="151">
                  <c:v>5.1057609008999999E-2</c:v>
                </c:pt>
                <c:pt idx="152">
                  <c:v>4.9966915249000002E-2</c:v>
                </c:pt>
                <c:pt idx="153">
                  <c:v>5.0992271543999997E-2</c:v>
                </c:pt>
                <c:pt idx="154">
                  <c:v>5.2153148452000003E-2</c:v>
                </c:pt>
                <c:pt idx="155">
                  <c:v>5.3147518196999997E-2</c:v>
                </c:pt>
                <c:pt idx="156">
                  <c:v>5.1553100924999998E-2</c:v>
                </c:pt>
                <c:pt idx="157">
                  <c:v>5.0166582357E-2</c:v>
                </c:pt>
                <c:pt idx="158">
                  <c:v>5.0459440940000003E-2</c:v>
                </c:pt>
                <c:pt idx="159">
                  <c:v>4.9624556767999997E-2</c:v>
                </c:pt>
                <c:pt idx="160">
                  <c:v>5.0524027923000002E-2</c:v>
                </c:pt>
                <c:pt idx="161">
                  <c:v>5.2178039289999999E-2</c:v>
                </c:pt>
                <c:pt idx="162">
                  <c:v>5.0722760477999999E-2</c:v>
                </c:pt>
                <c:pt idx="163">
                  <c:v>4.7820594845000002E-2</c:v>
                </c:pt>
                <c:pt idx="164">
                  <c:v>4.6971771300999998E-2</c:v>
                </c:pt>
                <c:pt idx="165">
                  <c:v>4.7336693349000002E-2</c:v>
                </c:pt>
                <c:pt idx="166">
                  <c:v>4.5997591067E-2</c:v>
                </c:pt>
                <c:pt idx="167">
                  <c:v>4.6522864538000003E-2</c:v>
                </c:pt>
                <c:pt idx="168">
                  <c:v>4.7741474736000003E-2</c:v>
                </c:pt>
                <c:pt idx="169">
                  <c:v>4.7801239054000001E-2</c:v>
                </c:pt>
                <c:pt idx="170">
                  <c:v>4.7006197148999999E-2</c:v>
                </c:pt>
                <c:pt idx="171">
                  <c:v>4.6274082686000001E-2</c:v>
                </c:pt>
                <c:pt idx="172">
                  <c:v>4.5509016206000001E-2</c:v>
                </c:pt>
                <c:pt idx="173">
                  <c:v>4.5398637349000001E-2</c:v>
                </c:pt>
                <c:pt idx="174">
                  <c:v>4.6287998406000001E-2</c:v>
                </c:pt>
                <c:pt idx="175">
                  <c:v>4.7525496200000003E-2</c:v>
                </c:pt>
                <c:pt idx="176">
                  <c:v>4.7339864742999997E-2</c:v>
                </c:pt>
                <c:pt idx="177">
                  <c:v>4.4389627862999999E-2</c:v>
                </c:pt>
                <c:pt idx="178">
                  <c:v>4.3444864707E-2</c:v>
                </c:pt>
                <c:pt idx="179">
                  <c:v>4.2991426274000002E-2</c:v>
                </c:pt>
                <c:pt idx="180">
                  <c:v>4.2116735548000002E-2</c:v>
                </c:pt>
                <c:pt idx="181">
                  <c:v>4.2312864185999999E-2</c:v>
                </c:pt>
                <c:pt idx="182">
                  <c:v>4.3005318232000003E-2</c:v>
                </c:pt>
                <c:pt idx="183">
                  <c:v>4.3633770019999997E-2</c:v>
                </c:pt>
                <c:pt idx="184">
                  <c:v>4.1732033282000001E-2</c:v>
                </c:pt>
                <c:pt idx="185">
                  <c:v>4.1354096952E-2</c:v>
                </c:pt>
                <c:pt idx="186">
                  <c:v>4.0421148550000001E-2</c:v>
                </c:pt>
                <c:pt idx="187">
                  <c:v>3.9653197772999998E-2</c:v>
                </c:pt>
                <c:pt idx="188">
                  <c:v>4.0772623638000001E-2</c:v>
                </c:pt>
                <c:pt idx="189">
                  <c:v>4.2116258652999998E-2</c:v>
                </c:pt>
                <c:pt idx="190">
                  <c:v>4.2426071841000002E-2</c:v>
                </c:pt>
                <c:pt idx="191">
                  <c:v>3.9475675839000003E-2</c:v>
                </c:pt>
                <c:pt idx="192">
                  <c:v>3.8862617960999997E-2</c:v>
                </c:pt>
                <c:pt idx="193">
                  <c:v>3.93284442E-2</c:v>
                </c:pt>
                <c:pt idx="194">
                  <c:v>4.0824649329999997E-2</c:v>
                </c:pt>
                <c:pt idx="195">
                  <c:v>4.2209992990999999E-2</c:v>
                </c:pt>
                <c:pt idx="196">
                  <c:v>4.3654310047000003E-2</c:v>
                </c:pt>
                <c:pt idx="197">
                  <c:v>4.3809155442000002E-2</c:v>
                </c:pt>
                <c:pt idx="198">
                  <c:v>4.1871624359999998E-2</c:v>
                </c:pt>
                <c:pt idx="199">
                  <c:v>4.3578607484999997E-2</c:v>
                </c:pt>
                <c:pt idx="200">
                  <c:v>4.4456601887999998E-2</c:v>
                </c:pt>
                <c:pt idx="201">
                  <c:v>4.4622633510000002E-2</c:v>
                </c:pt>
                <c:pt idx="202">
                  <c:v>4.5696533413E-2</c:v>
                </c:pt>
                <c:pt idx="203">
                  <c:v>4.6871574515999999E-2</c:v>
                </c:pt>
                <c:pt idx="204">
                  <c:v>4.7087219766999998E-2</c:v>
                </c:pt>
                <c:pt idx="205">
                  <c:v>4.5266372582000003E-2</c:v>
                </c:pt>
                <c:pt idx="206">
                  <c:v>4.6522494632999997E-2</c:v>
                </c:pt>
                <c:pt idx="207">
                  <c:v>4.7428926518E-2</c:v>
                </c:pt>
                <c:pt idx="208">
                  <c:v>4.8950479571000002E-2</c:v>
                </c:pt>
                <c:pt idx="209">
                  <c:v>5.1375586262999998E-2</c:v>
                </c:pt>
                <c:pt idx="210">
                  <c:v>5.2602169598000001E-2</c:v>
                </c:pt>
                <c:pt idx="211">
                  <c:v>5.2980249755999999E-2</c:v>
                </c:pt>
                <c:pt idx="212">
                  <c:v>5.0699269944000001E-2</c:v>
                </c:pt>
                <c:pt idx="213">
                  <c:v>5.1739064969999998E-2</c:v>
                </c:pt>
                <c:pt idx="214">
                  <c:v>5.2946182926E-2</c:v>
                </c:pt>
                <c:pt idx="215">
                  <c:v>5.3072565532000002E-2</c:v>
                </c:pt>
                <c:pt idx="216">
                  <c:v>5.5902293364000002E-2</c:v>
                </c:pt>
                <c:pt idx="217">
                  <c:v>5.7488146773000001E-2</c:v>
                </c:pt>
                <c:pt idx="218">
                  <c:v>5.8663064091999999E-2</c:v>
                </c:pt>
                <c:pt idx="219">
                  <c:v>5.9560031233999999E-2</c:v>
                </c:pt>
                <c:pt idx="220">
                  <c:v>6.0666572915000001E-2</c:v>
                </c:pt>
                <c:pt idx="221">
                  <c:v>6.0519418631999999E-2</c:v>
                </c:pt>
                <c:pt idx="222">
                  <c:v>6.1172445963999997E-2</c:v>
                </c:pt>
                <c:pt idx="223">
                  <c:v>6.3093756141999996E-2</c:v>
                </c:pt>
                <c:pt idx="224">
                  <c:v>6.3264402275000006E-2</c:v>
                </c:pt>
                <c:pt idx="225">
                  <c:v>6.0904297810999999E-2</c:v>
                </c:pt>
                <c:pt idx="226">
                  <c:v>5.5657299834000001E-2</c:v>
                </c:pt>
                <c:pt idx="227">
                  <c:v>5.3823591666000002E-2</c:v>
                </c:pt>
                <c:pt idx="228">
                  <c:v>5.5587803461999999E-2</c:v>
                </c:pt>
                <c:pt idx="229">
                  <c:v>5.7500826689000001E-2</c:v>
                </c:pt>
                <c:pt idx="230">
                  <c:v>5.9519331242999997E-2</c:v>
                </c:pt>
                <c:pt idx="231">
                  <c:v>6.0412508316000001E-2</c:v>
                </c:pt>
                <c:pt idx="232">
                  <c:v>5.8620412751000002E-2</c:v>
                </c:pt>
                <c:pt idx="233">
                  <c:v>5.7424547282999998E-2</c:v>
                </c:pt>
                <c:pt idx="234">
                  <c:v>6.0764729176000003E-2</c:v>
                </c:pt>
                <c:pt idx="235">
                  <c:v>6.0587854699999999E-2</c:v>
                </c:pt>
                <c:pt idx="236">
                  <c:v>5.9224643554999998E-2</c:v>
                </c:pt>
                <c:pt idx="237">
                  <c:v>5.9922342322999998E-2</c:v>
                </c:pt>
                <c:pt idx="238">
                  <c:v>6.0067589664999997E-2</c:v>
                </c:pt>
                <c:pt idx="239">
                  <c:v>5.9139517532000002E-2</c:v>
                </c:pt>
                <c:pt idx="240">
                  <c:v>5.7030039486000002E-2</c:v>
                </c:pt>
                <c:pt idx="241">
                  <c:v>5.7482337829000002E-2</c:v>
                </c:pt>
                <c:pt idx="242">
                  <c:v>5.6347438751999997E-2</c:v>
                </c:pt>
                <c:pt idx="243">
                  <c:v>5.4955726934999997E-2</c:v>
                </c:pt>
                <c:pt idx="244">
                  <c:v>5.8003485186999999E-2</c:v>
                </c:pt>
                <c:pt idx="245">
                  <c:v>6.0653697516999998E-2</c:v>
                </c:pt>
                <c:pt idx="246">
                  <c:v>5.9716720681E-2</c:v>
                </c:pt>
                <c:pt idx="247">
                  <c:v>5.6293600242000003E-2</c:v>
                </c:pt>
                <c:pt idx="248">
                  <c:v>5.7426397618000002E-2</c:v>
                </c:pt>
                <c:pt idx="249">
                  <c:v>5.9436619718000003E-2</c:v>
                </c:pt>
                <c:pt idx="250">
                  <c:v>5.7980599647000003E-2</c:v>
                </c:pt>
                <c:pt idx="251">
                  <c:v>5.9292763157000002E-2</c:v>
                </c:pt>
                <c:pt idx="252">
                  <c:v>5.9883925429999998E-2</c:v>
                </c:pt>
                <c:pt idx="253">
                  <c:v>5.9468170829000001E-2</c:v>
                </c:pt>
                <c:pt idx="254">
                  <c:v>5.7813683413E-2</c:v>
                </c:pt>
                <c:pt idx="255">
                  <c:v>6.0374545793000001E-2</c:v>
                </c:pt>
                <c:pt idx="256">
                  <c:v>6.0690202300000003E-2</c:v>
                </c:pt>
                <c:pt idx="257">
                  <c:v>5.6799163179000002E-2</c:v>
                </c:pt>
                <c:pt idx="258">
                  <c:v>6.0129183793000002E-2</c:v>
                </c:pt>
                <c:pt idx="259">
                  <c:v>6.1427505595000001E-2</c:v>
                </c:pt>
                <c:pt idx="260">
                  <c:v>5.8321964529E-2</c:v>
                </c:pt>
                <c:pt idx="261">
                  <c:v>5.4188357785000002E-2</c:v>
                </c:pt>
                <c:pt idx="262">
                  <c:v>5.6270736561999997E-2</c:v>
                </c:pt>
                <c:pt idx="263">
                  <c:v>5.6834532373999998E-2</c:v>
                </c:pt>
                <c:pt idx="264">
                  <c:v>5.5677197371999998E-2</c:v>
                </c:pt>
                <c:pt idx="265">
                  <c:v>5.9030837003999997E-2</c:v>
                </c:pt>
                <c:pt idx="266">
                  <c:v>5.9325246397999999E-2</c:v>
                </c:pt>
                <c:pt idx="267">
                  <c:v>5.6633455689000002E-2</c:v>
                </c:pt>
                <c:pt idx="268">
                  <c:v>5.6603773583999997E-2</c:v>
                </c:pt>
                <c:pt idx="269">
                  <c:v>5.8900523560000001E-2</c:v>
                </c:pt>
                <c:pt idx="270">
                  <c:v>5.5182007882999998E-2</c:v>
                </c:pt>
                <c:pt idx="271">
                  <c:v>5.3610771113E-2</c:v>
                </c:pt>
                <c:pt idx="272">
                  <c:v>5.3138766519E-2</c:v>
                </c:pt>
                <c:pt idx="273">
                  <c:v>5.2801408037000001E-2</c:v>
                </c:pt>
                <c:pt idx="274">
                  <c:v>5.3379828326000002E-2</c:v>
                </c:pt>
                <c:pt idx="275">
                  <c:v>5.3036783575000003E-2</c:v>
                </c:pt>
                <c:pt idx="276">
                  <c:v>5.0359712229999999E-2</c:v>
                </c:pt>
                <c:pt idx="277">
                  <c:v>4.5719844357000002E-2</c:v>
                </c:pt>
                <c:pt idx="278">
                  <c:v>4.7947568125999998E-2</c:v>
                </c:pt>
                <c:pt idx="279">
                  <c:v>4.7013487474999997E-2</c:v>
                </c:pt>
                <c:pt idx="280">
                  <c:v>4.7734627831E-2</c:v>
                </c:pt>
                <c:pt idx="281">
                  <c:v>4.6669175761999998E-2</c:v>
                </c:pt>
                <c:pt idx="282">
                  <c:v>3.9588281868000001E-2</c:v>
                </c:pt>
                <c:pt idx="283">
                  <c:v>4.0434782608E-2</c:v>
                </c:pt>
                <c:pt idx="284">
                  <c:v>4.3539325842000001E-2</c:v>
                </c:pt>
                <c:pt idx="285">
                  <c:v>4.5045045045000003E-2</c:v>
                </c:pt>
                <c:pt idx="286">
                  <c:v>4.5759609516999998E-2</c:v>
                </c:pt>
                <c:pt idx="287">
                  <c:v>4.5157068061999997E-2</c:v>
                </c:pt>
                <c:pt idx="288">
                  <c:v>4.5454545454000003E-2</c:v>
                </c:pt>
                <c:pt idx="289">
                  <c:v>4.3478260869000002E-2</c:v>
                </c:pt>
                <c:pt idx="290">
                  <c:v>5.8637083993000001E-2</c:v>
                </c:pt>
                <c:pt idx="291">
                  <c:v>5.8319039450999997E-2</c:v>
                </c:pt>
                <c:pt idx="292">
                  <c:v>5.5357142856999997E-2</c:v>
                </c:pt>
                <c:pt idx="293">
                  <c:v>5.2841475573E-2</c:v>
                </c:pt>
                <c:pt idx="294">
                  <c:v>5.0813008129999997E-2</c:v>
                </c:pt>
                <c:pt idx="295">
                  <c:v>4.9905838041000003E-2</c:v>
                </c:pt>
                <c:pt idx="296">
                  <c:v>5.1102204408E-2</c:v>
                </c:pt>
                <c:pt idx="297">
                  <c:v>5.5741360088999999E-2</c:v>
                </c:pt>
                <c:pt idx="298">
                  <c:v>4.1618497109000001E-2</c:v>
                </c:pt>
                <c:pt idx="299">
                  <c:v>3.6992840095E-2</c:v>
                </c:pt>
                <c:pt idx="300">
                  <c:v>3.5479632062999998E-2</c:v>
                </c:pt>
                <c:pt idx="301">
                  <c:v>3.4391534390999998E-2</c:v>
                </c:pt>
                <c:pt idx="302">
                  <c:v>3.6470588234999997E-2</c:v>
                </c:pt>
                <c:pt idx="303">
                  <c:v>3.1531531531000002E-2</c:v>
                </c:pt>
                <c:pt idx="304">
                  <c:v>2.7382256297000002E-2</c:v>
                </c:pt>
                <c:pt idx="305">
                  <c:v>2.2657054582E-2</c:v>
                </c:pt>
                <c:pt idx="306">
                  <c:v>2.2115384615000001E-2</c:v>
                </c:pt>
                <c:pt idx="307">
                  <c:v>2.1276595743999999E-2</c:v>
                </c:pt>
                <c:pt idx="308">
                  <c:v>1.953488372E-2</c:v>
                </c:pt>
                <c:pt idx="309">
                  <c:v>1.9180470793000001E-2</c:v>
                </c:pt>
                <c:pt idx="310">
                  <c:v>1.4479638009E-2</c:v>
                </c:pt>
                <c:pt idx="311">
                  <c:v>1.6286644951E-2</c:v>
                </c:pt>
                <c:pt idx="312">
                  <c:v>1.4914243101999999E-2</c:v>
                </c:pt>
                <c:pt idx="313">
                  <c:v>1.3708019191000001E-2</c:v>
                </c:pt>
                <c:pt idx="314">
                  <c:v>1.4492753622999999E-2</c:v>
                </c:pt>
                <c:pt idx="315">
                  <c:v>1.5635622025E-2</c:v>
                </c:pt>
                <c:pt idx="316">
                  <c:v>1.5566625155E-2</c:v>
                </c:pt>
                <c:pt idx="317">
                  <c:v>1.3904338153E-2</c:v>
                </c:pt>
                <c:pt idx="318">
                  <c:v>1.5384615383999999E-2</c:v>
                </c:pt>
                <c:pt idx="319">
                  <c:v>1.5295358649E-2</c:v>
                </c:pt>
                <c:pt idx="320">
                  <c:v>1.5889830508E-2</c:v>
                </c:pt>
                <c:pt idx="321">
                  <c:v>1.6111111111000002E-2</c:v>
                </c:pt>
                <c:pt idx="322">
                  <c:v>1.5349630471000001E-2</c:v>
                </c:pt>
                <c:pt idx="323">
                  <c:v>1.6930638995E-2</c:v>
                </c:pt>
                <c:pt idx="324">
                  <c:v>1.6428192897999998E-2</c:v>
                </c:pt>
                <c:pt idx="325">
                  <c:v>2.0022246941000001E-2</c:v>
                </c:pt>
                <c:pt idx="326">
                  <c:v>2.0114942528000002E-2</c:v>
                </c:pt>
                <c:pt idx="327">
                  <c:v>2.1739130434000001E-2</c:v>
                </c:pt>
                <c:pt idx="328">
                  <c:v>2.14511041E-2</c:v>
                </c:pt>
                <c:pt idx="329">
                  <c:v>2.3144996596E-2</c:v>
                </c:pt>
                <c:pt idx="330">
                  <c:v>2.7079303674999999E-2</c:v>
                </c:pt>
                <c:pt idx="331">
                  <c:v>2.6465028355E-2</c:v>
                </c:pt>
                <c:pt idx="332">
                  <c:v>2.9629629628999999E-2</c:v>
                </c:pt>
                <c:pt idx="333">
                  <c:v>2.9472241260999999E-2</c:v>
                </c:pt>
                <c:pt idx="334">
                  <c:v>3.1563845049999997E-2</c:v>
                </c:pt>
                <c:pt idx="335">
                  <c:v>3.1794095382000002E-2</c:v>
                </c:pt>
                <c:pt idx="336">
                  <c:v>3.2232704401999997E-2</c:v>
                </c:pt>
                <c:pt idx="337">
                  <c:v>3.5714285714000003E-2</c:v>
                </c:pt>
                <c:pt idx="338">
                  <c:v>3.0346820808999999E-2</c:v>
                </c:pt>
                <c:pt idx="339">
                  <c:v>2.9169783096000001E-2</c:v>
                </c:pt>
                <c:pt idx="340">
                  <c:v>2.8396009209000001E-2</c:v>
                </c:pt>
                <c:pt idx="341">
                  <c:v>2.8279654359000001E-2</c:v>
                </c:pt>
                <c:pt idx="342">
                  <c:v>2.6397515526999999E-2</c:v>
                </c:pt>
                <c:pt idx="343">
                  <c:v>2.5019546520000002E-2</c:v>
                </c:pt>
                <c:pt idx="344">
                  <c:v>2.6200873361999999E-2</c:v>
                </c:pt>
                <c:pt idx="345">
                  <c:v>2.0931802834999999E-2</c:v>
                </c:pt>
                <c:pt idx="346">
                  <c:v>1.9835841313000001E-2</c:v>
                </c:pt>
                <c:pt idx="347">
                  <c:v>1.9404019404000002E-2</c:v>
                </c:pt>
                <c:pt idx="348">
                  <c:v>1.8654230511999999E-2</c:v>
                </c:pt>
                <c:pt idx="349">
                  <c:v>1.8417462482000001E-2</c:v>
                </c:pt>
                <c:pt idx="350">
                  <c:v>2.0878329732999999E-2</c:v>
                </c:pt>
                <c:pt idx="351">
                  <c:v>2.2696929237999999E-2</c:v>
                </c:pt>
                <c:pt idx="352">
                  <c:v>2.0295202952000001E-2</c:v>
                </c:pt>
                <c:pt idx="353">
                  <c:v>2.2236340532999999E-2</c:v>
                </c:pt>
                <c:pt idx="354">
                  <c:v>2.2353714661000001E-2</c:v>
                </c:pt>
                <c:pt idx="355">
                  <c:v>2.4633821571000001E-2</c:v>
                </c:pt>
                <c:pt idx="356">
                  <c:v>2.6148409893000001E-2</c:v>
                </c:pt>
                <c:pt idx="357">
                  <c:v>2.6086956521000002E-2</c:v>
                </c:pt>
                <c:pt idx="358">
                  <c:v>2.4406332453000001E-2</c:v>
                </c:pt>
                <c:pt idx="359">
                  <c:v>2.1935483870000001E-2</c:v>
                </c:pt>
                <c:pt idx="360">
                  <c:v>2.2044088175999999E-2</c:v>
                </c:pt>
                <c:pt idx="361">
                  <c:v>2.0639147802000001E-2</c:v>
                </c:pt>
                <c:pt idx="362">
                  <c:v>2.1724818959000001E-2</c:v>
                </c:pt>
                <c:pt idx="363">
                  <c:v>2.0256583389E-2</c:v>
                </c:pt>
                <c:pt idx="364">
                  <c:v>2.0322354590000001E-2</c:v>
                </c:pt>
                <c:pt idx="365">
                  <c:v>1.9218449711E-2</c:v>
                </c:pt>
                <c:pt idx="366">
                  <c:v>1.7083587553000001E-2</c:v>
                </c:pt>
                <c:pt idx="367">
                  <c:v>1.9987886129000002E-2</c:v>
                </c:pt>
                <c:pt idx="368">
                  <c:v>2.0467836257000001E-2</c:v>
                </c:pt>
                <c:pt idx="369">
                  <c:v>2.4916943521000001E-2</c:v>
                </c:pt>
                <c:pt idx="370">
                  <c:v>2.7322404371E-2</c:v>
                </c:pt>
                <c:pt idx="371">
                  <c:v>2.8291621326999999E-2</c:v>
                </c:pt>
                <c:pt idx="372">
                  <c:v>2.6046511626999998E-2</c:v>
                </c:pt>
                <c:pt idx="373">
                  <c:v>2.5682182985E-2</c:v>
                </c:pt>
                <c:pt idx="374">
                  <c:v>2.7100271002E-2</c:v>
                </c:pt>
                <c:pt idx="375">
                  <c:v>2.7727106894999999E-2</c:v>
                </c:pt>
                <c:pt idx="376">
                  <c:v>2.8134769016999999E-2</c:v>
                </c:pt>
                <c:pt idx="377">
                  <c:v>2.6241134751000001E-2</c:v>
                </c:pt>
                <c:pt idx="378">
                  <c:v>2.6555110949E-2</c:v>
                </c:pt>
                <c:pt idx="379">
                  <c:v>2.9013539650999998E-2</c:v>
                </c:pt>
                <c:pt idx="380">
                  <c:v>3.1537048376999999E-2</c:v>
                </c:pt>
                <c:pt idx="381">
                  <c:v>3.2751091703000001E-2</c:v>
                </c:pt>
                <c:pt idx="382">
                  <c:v>3.1010041346000002E-2</c:v>
                </c:pt>
                <c:pt idx="383">
                  <c:v>3.2551319648000003E-2</c:v>
                </c:pt>
                <c:pt idx="384">
                  <c:v>3.2435740514E-2</c:v>
                </c:pt>
                <c:pt idx="385">
                  <c:v>3.2439176542999999E-2</c:v>
                </c:pt>
                <c:pt idx="386">
                  <c:v>3.4074908475999997E-2</c:v>
                </c:pt>
                <c:pt idx="387">
                  <c:v>2.9564741307999999E-2</c:v>
                </c:pt>
                <c:pt idx="388">
                  <c:v>2.6526664823999999E-2</c:v>
                </c:pt>
                <c:pt idx="389">
                  <c:v>2.625698324E-2</c:v>
                </c:pt>
                <c:pt idx="390">
                  <c:v>2.9386832437999999E-2</c:v>
                </c:pt>
                <c:pt idx="391">
                  <c:v>2.6203360865000001E-2</c:v>
                </c:pt>
                <c:pt idx="392">
                  <c:v>2.9488291412999999E-2</c:v>
                </c:pt>
                <c:pt idx="393">
                  <c:v>3.2176336457999999E-2</c:v>
                </c:pt>
                <c:pt idx="394">
                  <c:v>2.9695431471999999E-2</c:v>
                </c:pt>
                <c:pt idx="395">
                  <c:v>3.2622025999E-2</c:v>
                </c:pt>
                <c:pt idx="396">
                  <c:v>3.3288650580000002E-2</c:v>
                </c:pt>
                <c:pt idx="397">
                  <c:v>3.3195020745999997E-2</c:v>
                </c:pt>
                <c:pt idx="398">
                  <c:v>3.2364460934999999E-2</c:v>
                </c:pt>
                <c:pt idx="399">
                  <c:v>3.3452556279999997E-2</c:v>
                </c:pt>
                <c:pt idx="400">
                  <c:v>3.1796801505E-2</c:v>
                </c:pt>
                <c:pt idx="401">
                  <c:v>3.0745179780999998E-2</c:v>
                </c:pt>
                <c:pt idx="402">
                  <c:v>3.2854209444999997E-2</c:v>
                </c:pt>
                <c:pt idx="403">
                  <c:v>3.2321699544E-2</c:v>
                </c:pt>
                <c:pt idx="404">
                  <c:v>3.3054142985E-2</c:v>
                </c:pt>
                <c:pt idx="405">
                  <c:v>3.3256704980000003E-2</c:v>
                </c:pt>
                <c:pt idx="406">
                  <c:v>3.5029323188999997E-2</c:v>
                </c:pt>
                <c:pt idx="407">
                  <c:v>3.7491479208999999E-2</c:v>
                </c:pt>
                <c:pt idx="408">
                  <c:v>3.7359900373E-2</c:v>
                </c:pt>
                <c:pt idx="409">
                  <c:v>3.6376604850000001E-2</c:v>
                </c:pt>
                <c:pt idx="410">
                  <c:v>3.4478885893000001E-2</c:v>
                </c:pt>
                <c:pt idx="411">
                  <c:v>3.5076859589000003E-2</c:v>
                </c:pt>
                <c:pt idx="412">
                  <c:v>3.5187633479000002E-2</c:v>
                </c:pt>
                <c:pt idx="413">
                  <c:v>3.6538847620000002E-2</c:v>
                </c:pt>
                <c:pt idx="414">
                  <c:v>3.7323248931000003E-2</c:v>
                </c:pt>
                <c:pt idx="415">
                  <c:v>3.5539128580000003E-2</c:v>
                </c:pt>
                <c:pt idx="416">
                  <c:v>3.4911616160999998E-2</c:v>
                </c:pt>
                <c:pt idx="417">
                  <c:v>3.3696619216999998E-2</c:v>
                </c:pt>
                <c:pt idx="418">
                  <c:v>3.3217290396999999E-2</c:v>
                </c:pt>
                <c:pt idx="419">
                  <c:v>3.1721845130000002E-2</c:v>
                </c:pt>
                <c:pt idx="420">
                  <c:v>3.2097770615E-2</c:v>
                </c:pt>
                <c:pt idx="421">
                  <c:v>3.3915366448000001E-2</c:v>
                </c:pt>
                <c:pt idx="422">
                  <c:v>3.2925427623999998E-2</c:v>
                </c:pt>
                <c:pt idx="423">
                  <c:v>3.2455432014000002E-2</c:v>
                </c:pt>
                <c:pt idx="424">
                  <c:v>3.1913934549000003E-2</c:v>
                </c:pt>
                <c:pt idx="425">
                  <c:v>3.3173212771E-2</c:v>
                </c:pt>
                <c:pt idx="426">
                  <c:v>3.2780999722999998E-2</c:v>
                </c:pt>
                <c:pt idx="427">
                  <c:v>3.4983170555999997E-2</c:v>
                </c:pt>
                <c:pt idx="428">
                  <c:v>3.7028223311000003E-2</c:v>
                </c:pt>
                <c:pt idx="429">
                  <c:v>3.4840062925999997E-2</c:v>
                </c:pt>
                <c:pt idx="430">
                  <c:v>3.4737649162999998E-2</c:v>
                </c:pt>
                <c:pt idx="431">
                  <c:v>3.4545930384000001E-2</c:v>
                </c:pt>
                <c:pt idx="432">
                  <c:v>3.4405397998999998E-2</c:v>
                </c:pt>
                <c:pt idx="433">
                  <c:v>3.3659363812E-2</c:v>
                </c:pt>
                <c:pt idx="434">
                  <c:v>3.5450543208E-2</c:v>
                </c:pt>
                <c:pt idx="435">
                  <c:v>3.6639714775999997E-2</c:v>
                </c:pt>
                <c:pt idx="436">
                  <c:v>3.3726861137999997E-2</c:v>
                </c:pt>
                <c:pt idx="437">
                  <c:v>3.3681543930000002E-2</c:v>
                </c:pt>
                <c:pt idx="438">
                  <c:v>3.3444905969000002E-2</c:v>
                </c:pt>
                <c:pt idx="439">
                  <c:v>3.1999301378999999E-2</c:v>
                </c:pt>
                <c:pt idx="440">
                  <c:v>3.2054243721999998E-2</c:v>
                </c:pt>
                <c:pt idx="441">
                  <c:v>3.2823139876000003E-2</c:v>
                </c:pt>
                <c:pt idx="442">
                  <c:v>3.418147337E-2</c:v>
                </c:pt>
                <c:pt idx="443">
                  <c:v>3.0766058153999999E-2</c:v>
                </c:pt>
                <c:pt idx="444">
                  <c:v>2.9960072952999999E-2</c:v>
                </c:pt>
                <c:pt idx="445">
                  <c:v>3.0410337344000001E-2</c:v>
                </c:pt>
                <c:pt idx="446">
                  <c:v>2.9210089639999999E-2</c:v>
                </c:pt>
                <c:pt idx="447">
                  <c:v>2.9082715205000002E-2</c:v>
                </c:pt>
                <c:pt idx="448">
                  <c:v>2.9155729953E-2</c:v>
                </c:pt>
                <c:pt idx="449">
                  <c:v>3.0548745992000002E-2</c:v>
                </c:pt>
                <c:pt idx="450">
                  <c:v>2.7780630583999998E-2</c:v>
                </c:pt>
                <c:pt idx="451">
                  <c:v>2.8097430723E-2</c:v>
                </c:pt>
                <c:pt idx="452">
                  <c:v>2.7613872880000001E-2</c:v>
                </c:pt>
                <c:pt idx="453">
                  <c:v>2.6494801403E-2</c:v>
                </c:pt>
                <c:pt idx="454">
                  <c:v>2.6936050646E-2</c:v>
                </c:pt>
                <c:pt idx="455">
                  <c:v>2.7802533346E-2</c:v>
                </c:pt>
                <c:pt idx="456">
                  <c:v>2.8202147302000002E-2</c:v>
                </c:pt>
                <c:pt idx="457">
                  <c:v>2.6168236457000001E-2</c:v>
                </c:pt>
                <c:pt idx="458">
                  <c:v>2.5869765130999998E-2</c:v>
                </c:pt>
                <c:pt idx="459">
                  <c:v>2.6138240465999999E-2</c:v>
                </c:pt>
                <c:pt idx="460">
                  <c:v>2.6425551160000001E-2</c:v>
                </c:pt>
                <c:pt idx="461">
                  <c:v>2.6843519295E-2</c:v>
                </c:pt>
                <c:pt idx="462">
                  <c:v>2.7128837728E-2</c:v>
                </c:pt>
                <c:pt idx="463">
                  <c:v>2.8175516075999999E-2</c:v>
                </c:pt>
                <c:pt idx="464">
                  <c:v>2.6674552264E-2</c:v>
                </c:pt>
                <c:pt idx="465">
                  <c:v>2.7080623155000001E-2</c:v>
                </c:pt>
                <c:pt idx="466">
                  <c:v>2.8142305754999999E-2</c:v>
                </c:pt>
                <c:pt idx="467">
                  <c:v>2.8408034631000001E-2</c:v>
                </c:pt>
                <c:pt idx="468">
                  <c:v>2.916770472E-2</c:v>
                </c:pt>
                <c:pt idx="469">
                  <c:v>3.0121532228999999E-2</c:v>
                </c:pt>
                <c:pt idx="470">
                  <c:v>3.0899830220000001E-2</c:v>
                </c:pt>
                <c:pt idx="471">
                  <c:v>2.8548397930999999E-2</c:v>
                </c:pt>
                <c:pt idx="472">
                  <c:v>2.9741012274E-2</c:v>
                </c:pt>
                <c:pt idx="473">
                  <c:v>3.0694362281999999E-2</c:v>
                </c:pt>
                <c:pt idx="474">
                  <c:v>3.0715022955999999E-2</c:v>
                </c:pt>
                <c:pt idx="475">
                  <c:v>3.0355950485000002E-2</c:v>
                </c:pt>
                <c:pt idx="476">
                  <c:v>3.1309886533999999E-2</c:v>
                </c:pt>
                <c:pt idx="477">
                  <c:v>3.1698417026999999E-2</c:v>
                </c:pt>
                <c:pt idx="478">
                  <c:v>2.9385007277999999E-2</c:v>
                </c:pt>
                <c:pt idx="479">
                  <c:v>3.0839663191999999E-2</c:v>
                </c:pt>
                <c:pt idx="480">
                  <c:v>3.0153594873000001E-2</c:v>
                </c:pt>
                <c:pt idx="481">
                  <c:v>2.9721461349E-2</c:v>
                </c:pt>
                <c:pt idx="482">
                  <c:v>3.2141305921E-2</c:v>
                </c:pt>
                <c:pt idx="483">
                  <c:v>3.4498298743999997E-2</c:v>
                </c:pt>
                <c:pt idx="484">
                  <c:v>3.6108303857E-2</c:v>
                </c:pt>
                <c:pt idx="485">
                  <c:v>3.4247003647E-2</c:v>
                </c:pt>
                <c:pt idx="486">
                  <c:v>3.8638889544999999E-2</c:v>
                </c:pt>
                <c:pt idx="487">
                  <c:v>3.8710316968000001E-2</c:v>
                </c:pt>
                <c:pt idx="488">
                  <c:v>4.0619159186000002E-2</c:v>
                </c:pt>
                <c:pt idx="489">
                  <c:v>4.1776937617999998E-2</c:v>
                </c:pt>
                <c:pt idx="490">
                  <c:v>4.0273596366000003E-2</c:v>
                </c:pt>
                <c:pt idx="491">
                  <c:v>3.5758541333999999E-2</c:v>
                </c:pt>
                <c:pt idx="492">
                  <c:v>3.0757813144000001E-2</c:v>
                </c:pt>
                <c:pt idx="493">
                  <c:v>2.9672512870000001E-2</c:v>
                </c:pt>
                <c:pt idx="494">
                  <c:v>2.5775484743999998E-2</c:v>
                </c:pt>
                <c:pt idx="495">
                  <c:v>2.4126127995E-2</c:v>
                </c:pt>
                <c:pt idx="496">
                  <c:v>2.3702007673999999E-2</c:v>
                </c:pt>
                <c:pt idx="497">
                  <c:v>2.2643981737E-2</c:v>
                </c:pt>
                <c:pt idx="498">
                  <c:v>2.0917803169E-2</c:v>
                </c:pt>
                <c:pt idx="499">
                  <c:v>1.8135483758E-2</c:v>
                </c:pt>
                <c:pt idx="500">
                  <c:v>1.5827755770999999E-2</c:v>
                </c:pt>
                <c:pt idx="501">
                  <c:v>1.3233656752E-2</c:v>
                </c:pt>
                <c:pt idx="502">
                  <c:v>1.1259899207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do_3_dne_7dni_shift3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1.21617021273</c:v>
                </c:pt>
                <c:pt idx="1">
                  <c:v>0.86089252706999997</c:v>
                </c:pt>
                <c:pt idx="2">
                  <c:v>0.87837807233999998</c:v>
                </c:pt>
                <c:pt idx="3">
                  <c:v>0.76805900191999998</c:v>
                </c:pt>
                <c:pt idx="4">
                  <c:v>0.81648812294999995</c:v>
                </c:pt>
                <c:pt idx="5">
                  <c:v>0.61436133491</c:v>
                </c:pt>
                <c:pt idx="6">
                  <c:v>0.68329554042999996</c:v>
                </c:pt>
                <c:pt idx="7">
                  <c:v>0.13307659392999999</c:v>
                </c:pt>
                <c:pt idx="8">
                  <c:v>0.56818181817000002</c:v>
                </c:pt>
                <c:pt idx="9">
                  <c:v>-7.1062857140000005E-2</c:v>
                </c:pt>
                <c:pt idx="10">
                  <c:v>0.46795107825999999</c:v>
                </c:pt>
                <c:pt idx="11">
                  <c:v>3.5280493308</c:v>
                </c:pt>
                <c:pt idx="12">
                  <c:v>0.32726537213000001</c:v>
                </c:pt>
                <c:pt idx="13">
                  <c:v>-4.2177537979999999E-2</c:v>
                </c:pt>
                <c:pt idx="14">
                  <c:v>0.37973130748</c:v>
                </c:pt>
                <c:pt idx="15">
                  <c:v>0.27394612146000002</c:v>
                </c:pt>
                <c:pt idx="16">
                  <c:v>0.32360092010000002</c:v>
                </c:pt>
                <c:pt idx="17">
                  <c:v>0.32898277713000001</c:v>
                </c:pt>
                <c:pt idx="18">
                  <c:v>0.24344604439</c:v>
                </c:pt>
                <c:pt idx="19">
                  <c:v>0.39187676793999998</c:v>
                </c:pt>
                <c:pt idx="20">
                  <c:v>0.23091978253000001</c:v>
                </c:pt>
                <c:pt idx="21">
                  <c:v>0.39588454741000001</c:v>
                </c:pt>
                <c:pt idx="22">
                  <c:v>0.19065081747000001</c:v>
                </c:pt>
                <c:pt idx="23">
                  <c:v>0.19950366549000001</c:v>
                </c:pt>
                <c:pt idx="24">
                  <c:v>0.30660953950999997</c:v>
                </c:pt>
                <c:pt idx="25">
                  <c:v>0.22852165887000001</c:v>
                </c:pt>
                <c:pt idx="26">
                  <c:v>0.33217595483000001</c:v>
                </c:pt>
                <c:pt idx="27">
                  <c:v>0.1176797978</c:v>
                </c:pt>
                <c:pt idx="28">
                  <c:v>0.45645590341999998</c:v>
                </c:pt>
                <c:pt idx="29">
                  <c:v>0.28980898337</c:v>
                </c:pt>
                <c:pt idx="30">
                  <c:v>0.55761020056999999</c:v>
                </c:pt>
                <c:pt idx="31">
                  <c:v>0.34407952804000003</c:v>
                </c:pt>
                <c:pt idx="32">
                  <c:v>0.5486138089</c:v>
                </c:pt>
                <c:pt idx="33">
                  <c:v>0.12922278622</c:v>
                </c:pt>
                <c:pt idx="34">
                  <c:v>0.81296522115000003</c:v>
                </c:pt>
                <c:pt idx="35">
                  <c:v>0.17497383950000001</c:v>
                </c:pt>
                <c:pt idx="36">
                  <c:v>0.69593098845000001</c:v>
                </c:pt>
                <c:pt idx="37">
                  <c:v>4.888398175E-2</c:v>
                </c:pt>
                <c:pt idx="38">
                  <c:v>0.59213280600999996</c:v>
                </c:pt>
                <c:pt idx="39">
                  <c:v>0.10677298915</c:v>
                </c:pt>
                <c:pt idx="40">
                  <c:v>0.48825413096999998</c:v>
                </c:pt>
                <c:pt idx="41">
                  <c:v>0.18211418293000001</c:v>
                </c:pt>
                <c:pt idx="42">
                  <c:v>0.45571056547</c:v>
                </c:pt>
                <c:pt idx="43">
                  <c:v>0.34571333513000002</c:v>
                </c:pt>
                <c:pt idx="44">
                  <c:v>0.23055403274</c:v>
                </c:pt>
                <c:pt idx="45">
                  <c:v>0.15670155322000001</c:v>
                </c:pt>
                <c:pt idx="46">
                  <c:v>0.27490799291000001</c:v>
                </c:pt>
                <c:pt idx="47">
                  <c:v>0.1106848615</c:v>
                </c:pt>
                <c:pt idx="48">
                  <c:v>0.35309157542000003</c:v>
                </c:pt>
                <c:pt idx="49">
                  <c:v>0.30205759391999998</c:v>
                </c:pt>
                <c:pt idx="50">
                  <c:v>0.30049999569000002</c:v>
                </c:pt>
                <c:pt idx="51">
                  <c:v>0.30559203243999999</c:v>
                </c:pt>
                <c:pt idx="52">
                  <c:v>0.49545229575999999</c:v>
                </c:pt>
                <c:pt idx="53">
                  <c:v>0.50214831685000005</c:v>
                </c:pt>
                <c:pt idx="54">
                  <c:v>0.36581073197000002</c:v>
                </c:pt>
                <c:pt idx="55">
                  <c:v>0.54531113791999997</c:v>
                </c:pt>
                <c:pt idx="56">
                  <c:v>0.26527761312999998</c:v>
                </c:pt>
                <c:pt idx="57">
                  <c:v>0.60912463223000002</c:v>
                </c:pt>
                <c:pt idx="58">
                  <c:v>5.7864528300000002E-3</c:v>
                </c:pt>
                <c:pt idx="59">
                  <c:v>0.44248417308999999</c:v>
                </c:pt>
                <c:pt idx="60">
                  <c:v>2.6660031590000001E-2</c:v>
                </c:pt>
                <c:pt idx="61">
                  <c:v>0.34461547096</c:v>
                </c:pt>
                <c:pt idx="62">
                  <c:v>-0.18269723086</c:v>
                </c:pt>
                <c:pt idx="63">
                  <c:v>0.35047372617</c:v>
                </c:pt>
                <c:pt idx="64">
                  <c:v>-0.16363974172000001</c:v>
                </c:pt>
                <c:pt idx="65">
                  <c:v>0.28466515256000002</c:v>
                </c:pt>
                <c:pt idx="66">
                  <c:v>-0.20949534335</c:v>
                </c:pt>
                <c:pt idx="67">
                  <c:v>0.36987084980000001</c:v>
                </c:pt>
                <c:pt idx="68">
                  <c:v>-0.15321388348000001</c:v>
                </c:pt>
                <c:pt idx="69">
                  <c:v>0.43153466159999998</c:v>
                </c:pt>
                <c:pt idx="70">
                  <c:v>-0.12879689208</c:v>
                </c:pt>
                <c:pt idx="71">
                  <c:v>0.49023928027000002</c:v>
                </c:pt>
                <c:pt idx="72">
                  <c:v>-0.15289166894</c:v>
                </c:pt>
                <c:pt idx="73">
                  <c:v>0.40637731896000001</c:v>
                </c:pt>
                <c:pt idx="74">
                  <c:v>-0.12672312886000001</c:v>
                </c:pt>
                <c:pt idx="75">
                  <c:v>0.37689391284000001</c:v>
                </c:pt>
                <c:pt idx="76">
                  <c:v>-0.13509806002999999</c:v>
                </c:pt>
                <c:pt idx="77">
                  <c:v>0.31983241306999999</c:v>
                </c:pt>
                <c:pt idx="78">
                  <c:v>-0.12171042448</c:v>
                </c:pt>
                <c:pt idx="79">
                  <c:v>0.25859056483999998</c:v>
                </c:pt>
                <c:pt idx="80">
                  <c:v>-0.11850286079</c:v>
                </c:pt>
                <c:pt idx="81">
                  <c:v>0.25300245718999997</c:v>
                </c:pt>
                <c:pt idx="82">
                  <c:v>-0.11875776706000001</c:v>
                </c:pt>
                <c:pt idx="83">
                  <c:v>0.20856569075</c:v>
                </c:pt>
                <c:pt idx="84">
                  <c:v>-0.11364912517</c:v>
                </c:pt>
                <c:pt idx="85">
                  <c:v>0.21889401076000001</c:v>
                </c:pt>
                <c:pt idx="86">
                  <c:v>-9.8704308810000002E-2</c:v>
                </c:pt>
                <c:pt idx="87">
                  <c:v>0.16603420208</c:v>
                </c:pt>
                <c:pt idx="88">
                  <c:v>-0.12283549764</c:v>
                </c:pt>
                <c:pt idx="89">
                  <c:v>0.11092664092</c:v>
                </c:pt>
                <c:pt idx="90">
                  <c:v>-0.11268261944999999</c:v>
                </c:pt>
                <c:pt idx="91">
                  <c:v>0.22416176977999999</c:v>
                </c:pt>
                <c:pt idx="92">
                  <c:v>-0.11504425347</c:v>
                </c:pt>
                <c:pt idx="93">
                  <c:v>0.19841819669999999</c:v>
                </c:pt>
                <c:pt idx="94">
                  <c:v>-0.20514047969999999</c:v>
                </c:pt>
                <c:pt idx="95">
                  <c:v>0.27317380439</c:v>
                </c:pt>
                <c:pt idx="96">
                  <c:v>-0.23844248761</c:v>
                </c:pt>
                <c:pt idx="97">
                  <c:v>0.36653865802000002</c:v>
                </c:pt>
                <c:pt idx="98">
                  <c:v>-0.20697919465</c:v>
                </c:pt>
                <c:pt idx="99">
                  <c:v>0.25833445221000001</c:v>
                </c:pt>
                <c:pt idx="100">
                  <c:v>-0.21499694665999999</c:v>
                </c:pt>
                <c:pt idx="101">
                  <c:v>0.24885544915999999</c:v>
                </c:pt>
                <c:pt idx="102">
                  <c:v>-0.16196012446999999</c:v>
                </c:pt>
                <c:pt idx="103">
                  <c:v>0.26304047564999999</c:v>
                </c:pt>
                <c:pt idx="104">
                  <c:v>-0.15939218262999999</c:v>
                </c:pt>
                <c:pt idx="105">
                  <c:v>0.40243902437000001</c:v>
                </c:pt>
                <c:pt idx="106">
                  <c:v>-0.15928201714000001</c:v>
                </c:pt>
                <c:pt idx="107">
                  <c:v>0.30085038505</c:v>
                </c:pt>
                <c:pt idx="108">
                  <c:v>-0.18669089879</c:v>
                </c:pt>
                <c:pt idx="109">
                  <c:v>0.28465766414999999</c:v>
                </c:pt>
                <c:pt idx="110">
                  <c:v>-0.20219604646</c:v>
                </c:pt>
                <c:pt idx="111">
                  <c:v>0.26709636122000002</c:v>
                </c:pt>
                <c:pt idx="112">
                  <c:v>-0.21259635471999999</c:v>
                </c:pt>
                <c:pt idx="113">
                  <c:v>0.24117480896999999</c:v>
                </c:pt>
                <c:pt idx="114">
                  <c:v>-0.24298716119</c:v>
                </c:pt>
                <c:pt idx="115">
                  <c:v>0.21973732539999999</c:v>
                </c:pt>
                <c:pt idx="116">
                  <c:v>-0.28946402270999999</c:v>
                </c:pt>
                <c:pt idx="117">
                  <c:v>5.212411653E-2</c:v>
                </c:pt>
                <c:pt idx="118">
                  <c:v>-0.25485794258</c:v>
                </c:pt>
                <c:pt idx="119">
                  <c:v>0.48350908999999997</c:v>
                </c:pt>
                <c:pt idx="120">
                  <c:v>-0.22219250131000001</c:v>
                </c:pt>
                <c:pt idx="121">
                  <c:v>0.21850156589</c:v>
                </c:pt>
                <c:pt idx="122">
                  <c:v>-0.21485900091999999</c:v>
                </c:pt>
                <c:pt idx="123">
                  <c:v>0.13019962739999999</c:v>
                </c:pt>
                <c:pt idx="124">
                  <c:v>-0.15685436830999999</c:v>
                </c:pt>
                <c:pt idx="125">
                  <c:v>6.137577365E-2</c:v>
                </c:pt>
                <c:pt idx="126">
                  <c:v>-0.15131508396000001</c:v>
                </c:pt>
                <c:pt idx="127">
                  <c:v>0.15675141278999999</c:v>
                </c:pt>
                <c:pt idx="128">
                  <c:v>-5.9978459820000003E-2</c:v>
                </c:pt>
                <c:pt idx="129">
                  <c:v>0.21029313727000001</c:v>
                </c:pt>
                <c:pt idx="130">
                  <c:v>-1.627192127E-2</c:v>
                </c:pt>
                <c:pt idx="131">
                  <c:v>0.13724600558</c:v>
                </c:pt>
                <c:pt idx="132">
                  <c:v>-8.6874972169999995E-2</c:v>
                </c:pt>
                <c:pt idx="133">
                  <c:v>4.5889939140000002E-2</c:v>
                </c:pt>
                <c:pt idx="134">
                  <c:v>-0.11615966992</c:v>
                </c:pt>
                <c:pt idx="135">
                  <c:v>0.11859792526</c:v>
                </c:pt>
                <c:pt idx="136">
                  <c:v>-0.16303926225000001</c:v>
                </c:pt>
                <c:pt idx="137">
                  <c:v>0.15381365647</c:v>
                </c:pt>
                <c:pt idx="138">
                  <c:v>-0.21683690791999999</c:v>
                </c:pt>
                <c:pt idx="139">
                  <c:v>0.32774280991999999</c:v>
                </c:pt>
                <c:pt idx="140">
                  <c:v>-0.24235675650999999</c:v>
                </c:pt>
                <c:pt idx="141">
                  <c:v>0.52469394792000001</c:v>
                </c:pt>
                <c:pt idx="142">
                  <c:v>-0.23981804913999999</c:v>
                </c:pt>
                <c:pt idx="143">
                  <c:v>0.33743628696</c:v>
                </c:pt>
                <c:pt idx="144">
                  <c:v>-0.24871630944000001</c:v>
                </c:pt>
                <c:pt idx="145">
                  <c:v>0.41825919077000001</c:v>
                </c:pt>
                <c:pt idx="146">
                  <c:v>-0.29909286641999999</c:v>
                </c:pt>
                <c:pt idx="147">
                  <c:v>0.42158289547</c:v>
                </c:pt>
                <c:pt idx="148">
                  <c:v>-0.31145956272999997</c:v>
                </c:pt>
                <c:pt idx="149">
                  <c:v>0.26427484233999998</c:v>
                </c:pt>
                <c:pt idx="150">
                  <c:v>-0.18556234767999999</c:v>
                </c:pt>
                <c:pt idx="151">
                  <c:v>0.21176725383</c:v>
                </c:pt>
                <c:pt idx="152">
                  <c:v>-0.11819393591000001</c:v>
                </c:pt>
                <c:pt idx="153">
                  <c:v>0.19305058463999999</c:v>
                </c:pt>
                <c:pt idx="154">
                  <c:v>-1.114345296E-2</c:v>
                </c:pt>
                <c:pt idx="155">
                  <c:v>0.13805966652000001</c:v>
                </c:pt>
                <c:pt idx="156">
                  <c:v>7.5568292689999997E-2</c:v>
                </c:pt>
                <c:pt idx="157">
                  <c:v>0.11050570946</c:v>
                </c:pt>
                <c:pt idx="158">
                  <c:v>5.441542882E-2</c:v>
                </c:pt>
                <c:pt idx="159">
                  <c:v>0.12546943983</c:v>
                </c:pt>
                <c:pt idx="160">
                  <c:v>-9.9816728299999997E-3</c:v>
                </c:pt>
                <c:pt idx="161">
                  <c:v>0.11874646446999999</c:v>
                </c:pt>
                <c:pt idx="162">
                  <c:v>7.4635539000000005E-4</c:v>
                </c:pt>
                <c:pt idx="163">
                  <c:v>5.8245681620000003E-2</c:v>
                </c:pt>
                <c:pt idx="164">
                  <c:v>-2.7684334040000001E-2</c:v>
                </c:pt>
                <c:pt idx="165">
                  <c:v>8.1883556689999998E-2</c:v>
                </c:pt>
                <c:pt idx="166">
                  <c:v>-5.2254305000000003E-3</c:v>
                </c:pt>
                <c:pt idx="167">
                  <c:v>0.15454834057</c:v>
                </c:pt>
                <c:pt idx="168">
                  <c:v>-5.9578968359999998E-2</c:v>
                </c:pt>
                <c:pt idx="169">
                  <c:v>0.12482290651</c:v>
                </c:pt>
                <c:pt idx="170">
                  <c:v>-6.0886942970000003E-2</c:v>
                </c:pt>
                <c:pt idx="171">
                  <c:v>0.15225747738000001</c:v>
                </c:pt>
                <c:pt idx="172">
                  <c:v>-4.1204242180000003E-2</c:v>
                </c:pt>
                <c:pt idx="173">
                  <c:v>0.11330514597000001</c:v>
                </c:pt>
                <c:pt idx="174">
                  <c:v>-5.779561137E-2</c:v>
                </c:pt>
                <c:pt idx="175">
                  <c:v>0.15446039778000001</c:v>
                </c:pt>
                <c:pt idx="176">
                  <c:v>-6.0890375470000001E-2</c:v>
                </c:pt>
                <c:pt idx="177">
                  <c:v>3.6336619219999998E-2</c:v>
                </c:pt>
                <c:pt idx="178">
                  <c:v>1.823110025E-2</c:v>
                </c:pt>
                <c:pt idx="179">
                  <c:v>6.1522344499999999E-2</c:v>
                </c:pt>
                <c:pt idx="180">
                  <c:v>3.3105727199999997E-2</c:v>
                </c:pt>
                <c:pt idx="181">
                  <c:v>0.1431189658</c:v>
                </c:pt>
                <c:pt idx="182">
                  <c:v>-1.86458999E-3</c:v>
                </c:pt>
                <c:pt idx="183">
                  <c:v>8.5026414509999995E-2</c:v>
                </c:pt>
                <c:pt idx="184">
                  <c:v>-4.6857094469999999E-2</c:v>
                </c:pt>
                <c:pt idx="185">
                  <c:v>0.12523489170999999</c:v>
                </c:pt>
                <c:pt idx="186">
                  <c:v>-7.6349808180000006E-2</c:v>
                </c:pt>
                <c:pt idx="187">
                  <c:v>0.10755483437</c:v>
                </c:pt>
                <c:pt idx="188">
                  <c:v>-9.5964148479999997E-2</c:v>
                </c:pt>
                <c:pt idx="189">
                  <c:v>0.19283370822000001</c:v>
                </c:pt>
                <c:pt idx="190">
                  <c:v>-0.12045734934000001</c:v>
                </c:pt>
                <c:pt idx="191">
                  <c:v>0.17182685562</c:v>
                </c:pt>
                <c:pt idx="192">
                  <c:v>-4.0267719879999997E-2</c:v>
                </c:pt>
                <c:pt idx="193">
                  <c:v>0.21579138708000001</c:v>
                </c:pt>
                <c:pt idx="194">
                  <c:v>-6.7554574869999995E-2</c:v>
                </c:pt>
                <c:pt idx="195">
                  <c:v>0.31387752750999998</c:v>
                </c:pt>
                <c:pt idx="196">
                  <c:v>-6.8553249790000007E-2</c:v>
                </c:pt>
                <c:pt idx="197">
                  <c:v>0.21774169866000001</c:v>
                </c:pt>
                <c:pt idx="198">
                  <c:v>5.4389533419999997E-2</c:v>
                </c:pt>
                <c:pt idx="199">
                  <c:v>0.20408600367999999</c:v>
                </c:pt>
                <c:pt idx="200">
                  <c:v>9.4671651709999999E-2</c:v>
                </c:pt>
                <c:pt idx="201">
                  <c:v>0.27109267736999998</c:v>
                </c:pt>
                <c:pt idx="202">
                  <c:v>5.8788679189999998E-2</c:v>
                </c:pt>
                <c:pt idx="203">
                  <c:v>0.19292752396000001</c:v>
                </c:pt>
                <c:pt idx="204">
                  <c:v>0.10843315332</c:v>
                </c:pt>
                <c:pt idx="205">
                  <c:v>0.29285970613000001</c:v>
                </c:pt>
                <c:pt idx="206">
                  <c:v>-2.398683938E-2</c:v>
                </c:pt>
                <c:pt idx="207">
                  <c:v>0.48078984739000002</c:v>
                </c:pt>
                <c:pt idx="208">
                  <c:v>-0.17954429428999999</c:v>
                </c:pt>
                <c:pt idx="209">
                  <c:v>0.41598326350999998</c:v>
                </c:pt>
                <c:pt idx="210">
                  <c:v>2.548941213E-2</c:v>
                </c:pt>
                <c:pt idx="211">
                  <c:v>0.43965719489999999</c:v>
                </c:pt>
                <c:pt idx="212">
                  <c:v>-4.0423573730000002E-2</c:v>
                </c:pt>
                <c:pt idx="213">
                  <c:v>0.35654900822000002</c:v>
                </c:pt>
                <c:pt idx="214">
                  <c:v>-6.5013146349999995E-2</c:v>
                </c:pt>
                <c:pt idx="215">
                  <c:v>0.32286192598000002</c:v>
                </c:pt>
                <c:pt idx="216">
                  <c:v>-0.17168429831000001</c:v>
                </c:pt>
                <c:pt idx="217">
                  <c:v>0.44584038624</c:v>
                </c:pt>
                <c:pt idx="218">
                  <c:v>-0.11866281970000001</c:v>
                </c:pt>
                <c:pt idx="219">
                  <c:v>0.34076841613999997</c:v>
                </c:pt>
                <c:pt idx="220">
                  <c:v>-0.19634091240000001</c:v>
                </c:pt>
                <c:pt idx="221">
                  <c:v>0.47164706510999999</c:v>
                </c:pt>
                <c:pt idx="222">
                  <c:v>-0.17968752788</c:v>
                </c:pt>
                <c:pt idx="223">
                  <c:v>0.13404881169999999</c:v>
                </c:pt>
                <c:pt idx="224">
                  <c:v>-2.1094947699999999E-3</c:v>
                </c:pt>
                <c:pt idx="225">
                  <c:v>9.8017483409999995E-2</c:v>
                </c:pt>
                <c:pt idx="226">
                  <c:v>6.6138142100000005E-2</c:v>
                </c:pt>
                <c:pt idx="227">
                  <c:v>-7.4481688109999999E-2</c:v>
                </c:pt>
                <c:pt idx="228">
                  <c:v>0.29519582068</c:v>
                </c:pt>
                <c:pt idx="229">
                  <c:v>-5.2417883460000002E-2</c:v>
                </c:pt>
                <c:pt idx="230">
                  <c:v>0.13213366235999999</c:v>
                </c:pt>
                <c:pt idx="231">
                  <c:v>-0.10302784262</c:v>
                </c:pt>
                <c:pt idx="232">
                  <c:v>0.14907972341</c:v>
                </c:pt>
                <c:pt idx="233">
                  <c:v>-0.19267842348</c:v>
                </c:pt>
                <c:pt idx="234">
                  <c:v>0.30644167730999999</c:v>
                </c:pt>
                <c:pt idx="235">
                  <c:v>-7.5177840509999996E-2</c:v>
                </c:pt>
                <c:pt idx="236">
                  <c:v>-0.19126348225000001</c:v>
                </c:pt>
                <c:pt idx="237">
                  <c:v>2.4127305169999998E-2</c:v>
                </c:pt>
                <c:pt idx="238">
                  <c:v>0.29917615362</c:v>
                </c:pt>
                <c:pt idx="239">
                  <c:v>1.5986583249999999E-2</c:v>
                </c:pt>
                <c:pt idx="240">
                  <c:v>0.20875864180000001</c:v>
                </c:pt>
                <c:pt idx="241">
                  <c:v>0.23151554076</c:v>
                </c:pt>
                <c:pt idx="242">
                  <c:v>1.7455456559999999E-2</c:v>
                </c:pt>
                <c:pt idx="243">
                  <c:v>-5.811990224E-2</c:v>
                </c:pt>
                <c:pt idx="244">
                  <c:v>-0.12328065492</c:v>
                </c:pt>
                <c:pt idx="245">
                  <c:v>6.2485459950000002E-2</c:v>
                </c:pt>
                <c:pt idx="246">
                  <c:v>-2.078150065E-2</c:v>
                </c:pt>
                <c:pt idx="247">
                  <c:v>-0.19129437700999999</c:v>
                </c:pt>
                <c:pt idx="248">
                  <c:v>-9.7999512149999995E-2</c:v>
                </c:pt>
                <c:pt idx="249">
                  <c:v>-0.20542624166000001</c:v>
                </c:pt>
                <c:pt idx="250">
                  <c:v>-8.9165231119999994E-2</c:v>
                </c:pt>
                <c:pt idx="251">
                  <c:v>-0.25103878116</c:v>
                </c:pt>
                <c:pt idx="252">
                  <c:v>0.16010428088000001</c:v>
                </c:pt>
                <c:pt idx="253">
                  <c:v>-0.38791297340999997</c:v>
                </c:pt>
                <c:pt idx="254">
                  <c:v>0.27536985609999998</c:v>
                </c:pt>
                <c:pt idx="255">
                  <c:v>-0.29059908692000003</c:v>
                </c:pt>
                <c:pt idx="256">
                  <c:v>-0.11094177331000001</c:v>
                </c:pt>
                <c:pt idx="257">
                  <c:v>-0.51247384936999996</c:v>
                </c:pt>
                <c:pt idx="258">
                  <c:v>-0.16290744130000001</c:v>
                </c:pt>
                <c:pt idx="259">
                  <c:v>0.1824794827</c:v>
                </c:pt>
                <c:pt idx="260">
                  <c:v>0.47011572659</c:v>
                </c:pt>
                <c:pt idx="261">
                  <c:v>0.37406192955000001</c:v>
                </c:pt>
                <c:pt idx="262">
                  <c:v>-0.27551426675000001</c:v>
                </c:pt>
                <c:pt idx="263">
                  <c:v>-0.42597122302000001</c:v>
                </c:pt>
                <c:pt idx="264">
                  <c:v>-0.22979876967999999</c:v>
                </c:pt>
                <c:pt idx="265">
                  <c:v>0.28602894901999998</c:v>
                </c:pt>
                <c:pt idx="266">
                  <c:v>-0.22058900420999999</c:v>
                </c:pt>
                <c:pt idx="267">
                  <c:v>-5.1389617200000001E-2</c:v>
                </c:pt>
                <c:pt idx="268">
                  <c:v>-0.14867924529000001</c:v>
                </c:pt>
                <c:pt idx="269">
                  <c:v>-0.25392670157000002</c:v>
                </c:pt>
                <c:pt idx="270">
                  <c:v>2.8982147E-2</c:v>
                </c:pt>
                <c:pt idx="271">
                  <c:v>-6.5640846310000001E-2</c:v>
                </c:pt>
                <c:pt idx="272">
                  <c:v>3.0892070479999999E-2</c:v>
                </c:pt>
                <c:pt idx="273">
                  <c:v>-0.27702687456000002</c:v>
                </c:pt>
                <c:pt idx="274">
                  <c:v>-9.5508464459999998E-2</c:v>
                </c:pt>
                <c:pt idx="275">
                  <c:v>-0.52266894781999995</c:v>
                </c:pt>
                <c:pt idx="276">
                  <c:v>0.30935251799000002</c:v>
                </c:pt>
                <c:pt idx="277">
                  <c:v>0.37159533072000001</c:v>
                </c:pt>
                <c:pt idx="278">
                  <c:v>-0.21309579368000001</c:v>
                </c:pt>
                <c:pt idx="279">
                  <c:v>0.23578309937</c:v>
                </c:pt>
                <c:pt idx="280">
                  <c:v>-0.41616878268000002</c:v>
                </c:pt>
                <c:pt idx="281">
                  <c:v>-0.13402751639999999</c:v>
                </c:pt>
                <c:pt idx="282">
                  <c:v>-0.43856618441</c:v>
                </c:pt>
                <c:pt idx="283">
                  <c:v>-9.3105590069999994E-2</c:v>
                </c:pt>
                <c:pt idx="284">
                  <c:v>-8.0836454429999996E-2</c:v>
                </c:pt>
                <c:pt idx="285">
                  <c:v>3.4582970079999997E-2</c:v>
                </c:pt>
                <c:pt idx="286">
                  <c:v>-0.57152365633000002</c:v>
                </c:pt>
                <c:pt idx="287">
                  <c:v>-2.159685863E-2</c:v>
                </c:pt>
                <c:pt idx="288">
                  <c:v>-0.69480519480000003</c:v>
                </c:pt>
                <c:pt idx="289">
                  <c:v>-0.20289855071999999</c:v>
                </c:pt>
                <c:pt idx="290">
                  <c:v>-0.74590596935999998</c:v>
                </c:pt>
                <c:pt idx="291">
                  <c:v>0.72041166383999999</c:v>
                </c:pt>
                <c:pt idx="292">
                  <c:v>-0.38184523808999998</c:v>
                </c:pt>
                <c:pt idx="293">
                  <c:v>0.96834496515000001</c:v>
                </c:pt>
                <c:pt idx="294">
                  <c:v>-6.7750676999999999E-4</c:v>
                </c:pt>
                <c:pt idx="295">
                  <c:v>-8.9218455729999993E-2</c:v>
                </c:pt>
                <c:pt idx="296">
                  <c:v>-1.2024048109999999E-2</c:v>
                </c:pt>
                <c:pt idx="297">
                  <c:v>0</c:v>
                </c:pt>
                <c:pt idx="298">
                  <c:v>-0.20924855492</c:v>
                </c:pt>
                <c:pt idx="299">
                  <c:v>-0.48210023866000001</c:v>
                </c:pt>
                <c:pt idx="300">
                  <c:v>-0.65407358737999999</c:v>
                </c:pt>
                <c:pt idx="301">
                  <c:v>1.1838624338299999</c:v>
                </c:pt>
                <c:pt idx="302">
                  <c:v>0.75058823529999996</c:v>
                </c:pt>
                <c:pt idx="303">
                  <c:v>0</c:v>
                </c:pt>
                <c:pt idx="304">
                  <c:v>-0.81106243154000002</c:v>
                </c:pt>
                <c:pt idx="305">
                  <c:v>0.69927909368999996</c:v>
                </c:pt>
                <c:pt idx="306">
                  <c:v>0</c:v>
                </c:pt>
                <c:pt idx="307">
                  <c:v>2.5319148938199998</c:v>
                </c:pt>
                <c:pt idx="308">
                  <c:v>-0.51162790700000005</c:v>
                </c:pt>
                <c:pt idx="309">
                  <c:v>0</c:v>
                </c:pt>
                <c:pt idx="310">
                  <c:v>-0.63438914027000004</c:v>
                </c:pt>
                <c:pt idx="311">
                  <c:v>0</c:v>
                </c:pt>
                <c:pt idx="312">
                  <c:v>-0.63460104398999995</c:v>
                </c:pt>
                <c:pt idx="313">
                  <c:v>0</c:v>
                </c:pt>
                <c:pt idx="314">
                  <c:v>-0.62318840579000001</c:v>
                </c:pt>
                <c:pt idx="315">
                  <c:v>0.37072286424000001</c:v>
                </c:pt>
                <c:pt idx="316">
                  <c:v>-0.68244084682999995</c:v>
                </c:pt>
                <c:pt idx="317">
                  <c:v>-0.17964404895</c:v>
                </c:pt>
                <c:pt idx="318">
                  <c:v>-0.68205128205999999</c:v>
                </c:pt>
                <c:pt idx="319">
                  <c:v>0</c:v>
                </c:pt>
                <c:pt idx="320">
                  <c:v>0.28707627118000001</c:v>
                </c:pt>
                <c:pt idx="321">
                  <c:v>-0.20134920632</c:v>
                </c:pt>
                <c:pt idx="322">
                  <c:v>-0.61242183059999999</c:v>
                </c:pt>
                <c:pt idx="323">
                  <c:v>-0.23570258250000001</c:v>
                </c:pt>
                <c:pt idx="324">
                  <c:v>-0.10466348704</c:v>
                </c:pt>
                <c:pt idx="325">
                  <c:v>0.37352614017000002</c:v>
                </c:pt>
                <c:pt idx="326">
                  <c:v>1.0718390804</c:v>
                </c:pt>
                <c:pt idx="327">
                  <c:v>9.4202898549999997E-2</c:v>
                </c:pt>
                <c:pt idx="328">
                  <c:v>1.0164037854600001</c:v>
                </c:pt>
                <c:pt idx="329">
                  <c:v>0.60857726348999996</c:v>
                </c:pt>
                <c:pt idx="330">
                  <c:v>-0.58027079302999995</c:v>
                </c:pt>
                <c:pt idx="331">
                  <c:v>2.5992438565099998</c:v>
                </c:pt>
                <c:pt idx="332">
                  <c:v>-0.27901234566999999</c:v>
                </c:pt>
                <c:pt idx="333">
                  <c:v>2.38930774537</c:v>
                </c:pt>
                <c:pt idx="334">
                  <c:v>-0.20301291248</c:v>
                </c:pt>
                <c:pt idx="335">
                  <c:v>-0.30052990157999998</c:v>
                </c:pt>
                <c:pt idx="336">
                  <c:v>-0.35534591195999998</c:v>
                </c:pt>
                <c:pt idx="337">
                  <c:v>5.9285714288599998</c:v>
                </c:pt>
                <c:pt idx="338">
                  <c:v>-0.46134393064000001</c:v>
                </c:pt>
                <c:pt idx="339">
                  <c:v>5.2423335828899997</c:v>
                </c:pt>
                <c:pt idx="340">
                  <c:v>-0.29009976977000002</c:v>
                </c:pt>
                <c:pt idx="341">
                  <c:v>0</c:v>
                </c:pt>
                <c:pt idx="342">
                  <c:v>3.1055900499999999E-3</c:v>
                </c:pt>
                <c:pt idx="343">
                  <c:v>1.5519937452000001</c:v>
                </c:pt>
                <c:pt idx="344">
                  <c:v>-1.7467248899999999E-2</c:v>
                </c:pt>
                <c:pt idx="345">
                  <c:v>0</c:v>
                </c:pt>
                <c:pt idx="346">
                  <c:v>-6.7715458249999999E-2</c:v>
                </c:pt>
                <c:pt idx="347">
                  <c:v>0</c:v>
                </c:pt>
                <c:pt idx="348">
                  <c:v>0.66022651559000001</c:v>
                </c:pt>
                <c:pt idx="349">
                  <c:v>0</c:v>
                </c:pt>
                <c:pt idx="350">
                  <c:v>-0.37365010799999998</c:v>
                </c:pt>
                <c:pt idx="351">
                  <c:v>-0.30774365821999999</c:v>
                </c:pt>
                <c:pt idx="352">
                  <c:v>-0.41143911438000003</c:v>
                </c:pt>
                <c:pt idx="353">
                  <c:v>-0.40406607369999997</c:v>
                </c:pt>
                <c:pt idx="354">
                  <c:v>0.39231708463999998</c:v>
                </c:pt>
                <c:pt idx="355">
                  <c:v>-0.36444740345999999</c:v>
                </c:pt>
                <c:pt idx="356">
                  <c:v>6.1484098899999999E-2</c:v>
                </c:pt>
                <c:pt idx="357">
                  <c:v>-0.39478260869999998</c:v>
                </c:pt>
                <c:pt idx="358">
                  <c:v>1.04036939307</c:v>
                </c:pt>
                <c:pt idx="359">
                  <c:v>-0.39458064517000002</c:v>
                </c:pt>
                <c:pt idx="360">
                  <c:v>1.46893787587</c:v>
                </c:pt>
                <c:pt idx="361">
                  <c:v>0.14547270301000001</c:v>
                </c:pt>
                <c:pt idx="362">
                  <c:v>1.54723502299</c:v>
                </c:pt>
                <c:pt idx="363">
                  <c:v>0.98514517223999998</c:v>
                </c:pt>
                <c:pt idx="364">
                  <c:v>0.75991590762000005</c:v>
                </c:pt>
                <c:pt idx="365">
                  <c:v>-0.27610506086999997</c:v>
                </c:pt>
                <c:pt idx="366">
                  <c:v>1.4372584910299999</c:v>
                </c:pt>
                <c:pt idx="367">
                  <c:v>0.27922471225000001</c:v>
                </c:pt>
                <c:pt idx="368">
                  <c:v>1.8586744641299999</c:v>
                </c:pt>
                <c:pt idx="369">
                  <c:v>-0.19019933555999999</c:v>
                </c:pt>
                <c:pt idx="370">
                  <c:v>-0.28051001821999999</c:v>
                </c:pt>
                <c:pt idx="371">
                  <c:v>-0.49782372143999998</c:v>
                </c:pt>
                <c:pt idx="372">
                  <c:v>-0.57283720931000004</c:v>
                </c:pt>
                <c:pt idx="373">
                  <c:v>-0.57367576243999996</c:v>
                </c:pt>
                <c:pt idx="374">
                  <c:v>-0.39837398374999999</c:v>
                </c:pt>
                <c:pt idx="375">
                  <c:v>-0.30682232762</c:v>
                </c:pt>
                <c:pt idx="376">
                  <c:v>-0.22348037509999999</c:v>
                </c:pt>
                <c:pt idx="377">
                  <c:v>1.32234042551</c:v>
                </c:pt>
                <c:pt idx="378">
                  <c:v>0.87213532191999998</c:v>
                </c:pt>
                <c:pt idx="379">
                  <c:v>4.2224371377000001</c:v>
                </c:pt>
                <c:pt idx="380">
                  <c:v>3.8567054504299998</c:v>
                </c:pt>
                <c:pt idx="381">
                  <c:v>1.8329694324600001</c:v>
                </c:pt>
                <c:pt idx="382">
                  <c:v>4.4267572358200002</c:v>
                </c:pt>
                <c:pt idx="383">
                  <c:v>5.08709677518</c:v>
                </c:pt>
                <c:pt idx="384">
                  <c:v>0.95695634437999999</c:v>
                </c:pt>
                <c:pt idx="385">
                  <c:v>4.2551466001099998</c:v>
                </c:pt>
                <c:pt idx="386">
                  <c:v>0.33744015770000002</c:v>
                </c:pt>
                <c:pt idx="387">
                  <c:v>1.9564741308</c:v>
                </c:pt>
                <c:pt idx="388">
                  <c:v>-0.13523072671</c:v>
                </c:pt>
                <c:pt idx="389">
                  <c:v>0.79422718812000004</c:v>
                </c:pt>
                <c:pt idx="390">
                  <c:v>-0.39966899447999998</c:v>
                </c:pt>
                <c:pt idx="391">
                  <c:v>0.10578182852</c:v>
                </c:pt>
                <c:pt idx="392">
                  <c:v>-0.38917110643000002</c:v>
                </c:pt>
                <c:pt idx="393">
                  <c:v>-0.28139515242000002</c:v>
                </c:pt>
                <c:pt idx="394">
                  <c:v>-0.28306744017000002</c:v>
                </c:pt>
                <c:pt idx="395">
                  <c:v>-0.51066961001</c:v>
                </c:pt>
                <c:pt idx="396">
                  <c:v>2.085195112E-2</c:v>
                </c:pt>
                <c:pt idx="397">
                  <c:v>-0.37453592487999998</c:v>
                </c:pt>
                <c:pt idx="398">
                  <c:v>3.566274992E-2</c:v>
                </c:pt>
                <c:pt idx="399">
                  <c:v>-0.41959814853999999</c:v>
                </c:pt>
                <c:pt idx="400">
                  <c:v>-6.7195269000000003E-4</c:v>
                </c:pt>
                <c:pt idx="401">
                  <c:v>-0.17892284583000001</c:v>
                </c:pt>
                <c:pt idx="402">
                  <c:v>0.48939082820000002</c:v>
                </c:pt>
                <c:pt idx="403">
                  <c:v>-4.7360434469999997E-2</c:v>
                </c:pt>
                <c:pt idx="404">
                  <c:v>-0.21614460919</c:v>
                </c:pt>
                <c:pt idx="405">
                  <c:v>-0.11703448276</c:v>
                </c:pt>
                <c:pt idx="406">
                  <c:v>6.6802115309999993E-2</c:v>
                </c:pt>
                <c:pt idx="407">
                  <c:v>4.1196170900000004E-3</c:v>
                </c:pt>
                <c:pt idx="408">
                  <c:v>-0.26317974263999999</c:v>
                </c:pt>
                <c:pt idx="409">
                  <c:v>0.19891226820999999</c:v>
                </c:pt>
                <c:pt idx="410">
                  <c:v>-0.41529556006000001</c:v>
                </c:pt>
                <c:pt idx="411">
                  <c:v>0.19651065487</c:v>
                </c:pt>
                <c:pt idx="412">
                  <c:v>-0.16290471933</c:v>
                </c:pt>
                <c:pt idx="413">
                  <c:v>0.16546324305999999</c:v>
                </c:pt>
                <c:pt idx="414">
                  <c:v>-0.45459897528999998</c:v>
                </c:pt>
                <c:pt idx="415">
                  <c:v>-0.12894292696000001</c:v>
                </c:pt>
                <c:pt idx="416">
                  <c:v>-0.41872159091</c:v>
                </c:pt>
                <c:pt idx="417">
                  <c:v>-0.15537490519</c:v>
                </c:pt>
                <c:pt idx="418">
                  <c:v>-0.48205632380000002</c:v>
                </c:pt>
                <c:pt idx="419">
                  <c:v>-2.0451299490000002E-2</c:v>
                </c:pt>
                <c:pt idx="420">
                  <c:v>-0.44179970789</c:v>
                </c:pt>
                <c:pt idx="421">
                  <c:v>6.98713028E-3</c:v>
                </c:pt>
                <c:pt idx="422">
                  <c:v>-0.34391243484</c:v>
                </c:pt>
                <c:pt idx="423">
                  <c:v>0.28756027302999998</c:v>
                </c:pt>
                <c:pt idx="424">
                  <c:v>-0.2068955995</c:v>
                </c:pt>
                <c:pt idx="425">
                  <c:v>0.14884073702</c:v>
                </c:pt>
                <c:pt idx="426">
                  <c:v>-0.10767564389000001</c:v>
                </c:pt>
                <c:pt idx="427">
                  <c:v>-2.1266296470000001E-2</c:v>
                </c:pt>
                <c:pt idx="428">
                  <c:v>-6.9914734879999996E-2</c:v>
                </c:pt>
                <c:pt idx="429">
                  <c:v>7.2333972189999998E-2</c:v>
                </c:pt>
                <c:pt idx="430">
                  <c:v>-0.25214803872000002</c:v>
                </c:pt>
                <c:pt idx="431">
                  <c:v>7.3988400250000003E-2</c:v>
                </c:pt>
                <c:pt idx="432">
                  <c:v>-0.28368388760000002</c:v>
                </c:pt>
                <c:pt idx="433">
                  <c:v>5.7652009570000003E-2</c:v>
                </c:pt>
                <c:pt idx="434">
                  <c:v>-0.25125336211999999</c:v>
                </c:pt>
                <c:pt idx="435">
                  <c:v>3.0918682829999999E-2</c:v>
                </c:pt>
                <c:pt idx="436">
                  <c:v>-0.33722393905999998</c:v>
                </c:pt>
                <c:pt idx="437">
                  <c:v>-1.1561509080000001E-2</c:v>
                </c:pt>
                <c:pt idx="438">
                  <c:v>-0.17427473085</c:v>
                </c:pt>
                <c:pt idx="439">
                  <c:v>-6.7742278520000004E-2</c:v>
                </c:pt>
                <c:pt idx="440">
                  <c:v>-0.11961069225</c:v>
                </c:pt>
                <c:pt idx="441">
                  <c:v>-9.4583551380000006E-2</c:v>
                </c:pt>
                <c:pt idx="442">
                  <c:v>-3.8373336920000001E-2</c:v>
                </c:pt>
                <c:pt idx="443">
                  <c:v>-0.1113081792</c:v>
                </c:pt>
                <c:pt idx="444">
                  <c:v>-7.0571959049999994E-2</c:v>
                </c:pt>
                <c:pt idx="445">
                  <c:v>-0.2481154274</c:v>
                </c:pt>
                <c:pt idx="446">
                  <c:v>-0.12699932091999999</c:v>
                </c:pt>
                <c:pt idx="447">
                  <c:v>-0.19427659465</c:v>
                </c:pt>
                <c:pt idx="448">
                  <c:v>-6.9561982989999993E-2</c:v>
                </c:pt>
                <c:pt idx="449">
                  <c:v>-0.18470715149</c:v>
                </c:pt>
                <c:pt idx="450">
                  <c:v>-0.15649774247000001</c:v>
                </c:pt>
                <c:pt idx="451">
                  <c:v>-0.25423917265000001</c:v>
                </c:pt>
                <c:pt idx="452">
                  <c:v>-0.15725852798000001</c:v>
                </c:pt>
                <c:pt idx="453">
                  <c:v>-0.21566406556000001</c:v>
                </c:pt>
                <c:pt idx="454">
                  <c:v>-0.17998965818000001</c:v>
                </c:pt>
                <c:pt idx="455">
                  <c:v>-0.21868004343</c:v>
                </c:pt>
                <c:pt idx="456">
                  <c:v>0.46254714061000002</c:v>
                </c:pt>
                <c:pt idx="457">
                  <c:v>-0.17068198570000001</c:v>
                </c:pt>
                <c:pt idx="458">
                  <c:v>0.29558972212000001</c:v>
                </c:pt>
                <c:pt idx="459">
                  <c:v>-0.11827002159</c:v>
                </c:pt>
                <c:pt idx="460">
                  <c:v>0.25456030113</c:v>
                </c:pt>
                <c:pt idx="461">
                  <c:v>-0.11050813104</c:v>
                </c:pt>
                <c:pt idx="462">
                  <c:v>0.19252899294</c:v>
                </c:pt>
                <c:pt idx="463">
                  <c:v>-3.8224951209999997E-2</c:v>
                </c:pt>
                <c:pt idx="464">
                  <c:v>3.4248133850000001E-2</c:v>
                </c:pt>
                <c:pt idx="465">
                  <c:v>-8.1140863729999999E-2</c:v>
                </c:pt>
                <c:pt idx="466">
                  <c:v>0.20022716536999999</c:v>
                </c:pt>
                <c:pt idx="467">
                  <c:v>3.1186292809999999E-2</c:v>
                </c:pt>
                <c:pt idx="468">
                  <c:v>0.18121101978000001</c:v>
                </c:pt>
                <c:pt idx="469">
                  <c:v>7.9130117319999999E-2</c:v>
                </c:pt>
                <c:pt idx="470">
                  <c:v>0.32594830668000002</c:v>
                </c:pt>
                <c:pt idx="471">
                  <c:v>3.4185784199999999E-3</c:v>
                </c:pt>
                <c:pt idx="472">
                  <c:v>0.46816398547999999</c:v>
                </c:pt>
                <c:pt idx="473">
                  <c:v>3.176906358E-2</c:v>
                </c:pt>
                <c:pt idx="474">
                  <c:v>0.44603414400000002</c:v>
                </c:pt>
                <c:pt idx="475">
                  <c:v>1.96768238E-2</c:v>
                </c:pt>
                <c:pt idx="476">
                  <c:v>0.48875714945999998</c:v>
                </c:pt>
                <c:pt idx="477">
                  <c:v>6.1336416000000004E-4</c:v>
                </c:pt>
                <c:pt idx="478">
                  <c:v>0.3134207799</c:v>
                </c:pt>
                <c:pt idx="479">
                  <c:v>9.1870932530000005E-2</c:v>
                </c:pt>
                <c:pt idx="480">
                  <c:v>0.37624469618</c:v>
                </c:pt>
                <c:pt idx="481">
                  <c:v>0.15124222946999999</c:v>
                </c:pt>
                <c:pt idx="482">
                  <c:v>0.55677360562</c:v>
                </c:pt>
                <c:pt idx="483">
                  <c:v>0.10912030465</c:v>
                </c:pt>
                <c:pt idx="484">
                  <c:v>0.60215652881000004</c:v>
                </c:pt>
                <c:pt idx="485">
                  <c:v>0.1003590115</c:v>
                </c:pt>
                <c:pt idx="486">
                  <c:v>0.46217692545</c:v>
                </c:pt>
                <c:pt idx="487">
                  <c:v>1.699744739E-2</c:v>
                </c:pt>
                <c:pt idx="488">
                  <c:v>0.51734581997999995</c:v>
                </c:pt>
                <c:pt idx="489">
                  <c:v>-9.3809073719999997E-2</c:v>
                </c:pt>
                <c:pt idx="490">
                  <c:v>0.39164921104</c:v>
                </c:pt>
                <c:pt idx="491">
                  <c:v>-2.5248995999999999E-3</c:v>
                </c:pt>
                <c:pt idx="492">
                  <c:v>0.21938053195000001</c:v>
                </c:pt>
                <c:pt idx="493">
                  <c:v>-0.14340745791000001</c:v>
                </c:pt>
                <c:pt idx="494">
                  <c:v>0.38280320556000003</c:v>
                </c:pt>
                <c:pt idx="495">
                  <c:v>-0.18892344249000001</c:v>
                </c:pt>
                <c:pt idx="496">
                  <c:v>0.46359897393999999</c:v>
                </c:pt>
                <c:pt idx="497">
                  <c:v>-0.12207395804</c:v>
                </c:pt>
                <c:pt idx="498">
                  <c:v>0.45624823836</c:v>
                </c:pt>
                <c:pt idx="499">
                  <c:v>-0.23098221394999999</c:v>
                </c:pt>
                <c:pt idx="500">
                  <c:v>0.48006720540999998</c:v>
                </c:pt>
                <c:pt idx="501">
                  <c:v>-0.19167393888000001</c:v>
                </c:pt>
                <c:pt idx="502">
                  <c:v>0.74181979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do_3_dne_7dni_shift3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3.8684719530000002E-3</c:v>
                </c:pt>
                <c:pt idx="1">
                  <c:v>4.4362292050000003E-3</c:v>
                </c:pt>
                <c:pt idx="2">
                  <c:v>5.4366292890000003E-3</c:v>
                </c:pt>
                <c:pt idx="3">
                  <c:v>4.9627791559999999E-3</c:v>
                </c:pt>
                <c:pt idx="4">
                  <c:v>5.1384527540000004E-3</c:v>
                </c:pt>
                <c:pt idx="5">
                  <c:v>5.5696202530000002E-3</c:v>
                </c:pt>
                <c:pt idx="6">
                  <c:v>6.0468631890000001E-3</c:v>
                </c:pt>
                <c:pt idx="7">
                  <c:v>5.9127863999999999E-3</c:v>
                </c:pt>
                <c:pt idx="8">
                  <c:v>6.9044879170000002E-3</c:v>
                </c:pt>
                <c:pt idx="9">
                  <c:v>5.5238095230000003E-3</c:v>
                </c:pt>
                <c:pt idx="10">
                  <c:v>4.5677550319999996E-3</c:v>
                </c:pt>
                <c:pt idx="11">
                  <c:v>4.6623552410000003E-3</c:v>
                </c:pt>
                <c:pt idx="12">
                  <c:v>4.5846817690000001E-3</c:v>
                </c:pt>
                <c:pt idx="13">
                  <c:v>3.9234919069999997E-3</c:v>
                </c:pt>
                <c:pt idx="14">
                  <c:v>3.908563306E-3</c:v>
                </c:pt>
                <c:pt idx="15">
                  <c:v>3.7523452149999998E-3</c:v>
                </c:pt>
                <c:pt idx="16">
                  <c:v>3.9308176099999998E-3</c:v>
                </c:pt>
                <c:pt idx="17">
                  <c:v>3.857194115E-3</c:v>
                </c:pt>
                <c:pt idx="18">
                  <c:v>4.6511627899999998E-3</c:v>
                </c:pt>
                <c:pt idx="19">
                  <c:v>4.6242774560000003E-3</c:v>
                </c:pt>
                <c:pt idx="20">
                  <c:v>4.6389254309999999E-3</c:v>
                </c:pt>
                <c:pt idx="21">
                  <c:v>5.5435565149999999E-3</c:v>
                </c:pt>
                <c:pt idx="22">
                  <c:v>5.6942919860000002E-3</c:v>
                </c:pt>
                <c:pt idx="23">
                  <c:v>5.7106997169999998E-3</c:v>
                </c:pt>
                <c:pt idx="24">
                  <c:v>5.7957015210000004E-3</c:v>
                </c:pt>
                <c:pt idx="25">
                  <c:v>6.7485724170000001E-3</c:v>
                </c:pt>
                <c:pt idx="26">
                  <c:v>6.2365215359999997E-3</c:v>
                </c:pt>
                <c:pt idx="27">
                  <c:v>6.2243100409999997E-3</c:v>
                </c:pt>
                <c:pt idx="28">
                  <c:v>6.8139963159999997E-3</c:v>
                </c:pt>
                <c:pt idx="29">
                  <c:v>6.8716094029999996E-3</c:v>
                </c:pt>
                <c:pt idx="30">
                  <c:v>7.4963396769999998E-3</c:v>
                </c:pt>
                <c:pt idx="31">
                  <c:v>7.8918980289999999E-3</c:v>
                </c:pt>
                <c:pt idx="32">
                  <c:v>7.7614161920000002E-3</c:v>
                </c:pt>
                <c:pt idx="33">
                  <c:v>7.6142131970000004E-3</c:v>
                </c:pt>
                <c:pt idx="34">
                  <c:v>8.0273447609999996E-3</c:v>
                </c:pt>
                <c:pt idx="35">
                  <c:v>8.2424748290000002E-3</c:v>
                </c:pt>
                <c:pt idx="36">
                  <c:v>9.5796396909999994E-3</c:v>
                </c:pt>
                <c:pt idx="37">
                  <c:v>9.2316608710000005E-3</c:v>
                </c:pt>
                <c:pt idx="38">
                  <c:v>8.7540864510000007E-3</c:v>
                </c:pt>
                <c:pt idx="39">
                  <c:v>8.7002900089999998E-3</c:v>
                </c:pt>
                <c:pt idx="40">
                  <c:v>8.3727288260000005E-3</c:v>
                </c:pt>
                <c:pt idx="41">
                  <c:v>8.2044721320000003E-3</c:v>
                </c:pt>
                <c:pt idx="42">
                  <c:v>8.6287185660000008E-3</c:v>
                </c:pt>
                <c:pt idx="43">
                  <c:v>9.0577850760000002E-3</c:v>
                </c:pt>
                <c:pt idx="44">
                  <c:v>8.0356738640000001E-3</c:v>
                </c:pt>
                <c:pt idx="45">
                  <c:v>7.5308541729999998E-3</c:v>
                </c:pt>
                <c:pt idx="46">
                  <c:v>7.082680981E-3</c:v>
                </c:pt>
                <c:pt idx="47">
                  <c:v>6.6877800610000001E-3</c:v>
                </c:pt>
                <c:pt idx="48">
                  <c:v>6.2566224330000003E-3</c:v>
                </c:pt>
                <c:pt idx="49">
                  <c:v>6.5966365499999999E-3</c:v>
                </c:pt>
                <c:pt idx="50">
                  <c:v>6.8770912670000003E-3</c:v>
                </c:pt>
                <c:pt idx="51">
                  <c:v>6.3421157840000001E-3</c:v>
                </c:pt>
                <c:pt idx="52">
                  <c:v>6.0117709460000002E-3</c:v>
                </c:pt>
                <c:pt idx="53">
                  <c:v>6.0626312769999999E-3</c:v>
                </c:pt>
                <c:pt idx="54">
                  <c:v>5.8108289660000001E-3</c:v>
                </c:pt>
                <c:pt idx="55">
                  <c:v>5.910569553E-3</c:v>
                </c:pt>
                <c:pt idx="56">
                  <c:v>6.3849807330000003E-3</c:v>
                </c:pt>
                <c:pt idx="57">
                  <c:v>6.64648731E-3</c:v>
                </c:pt>
                <c:pt idx="58">
                  <c:v>6.2992897369999997E-3</c:v>
                </c:pt>
                <c:pt idx="59">
                  <c:v>6.1998505820000001E-3</c:v>
                </c:pt>
                <c:pt idx="60">
                  <c:v>6.3670337919999997E-3</c:v>
                </c:pt>
                <c:pt idx="61">
                  <c:v>6.2430411959999996E-3</c:v>
                </c:pt>
                <c:pt idx="62">
                  <c:v>6.6444839409999998E-3</c:v>
                </c:pt>
                <c:pt idx="63">
                  <c:v>6.8354430370000004E-3</c:v>
                </c:pt>
                <c:pt idx="64">
                  <c:v>7.2851892959999998E-3</c:v>
                </c:pt>
                <c:pt idx="65">
                  <c:v>6.7541856920000001E-3</c:v>
                </c:pt>
                <c:pt idx="66">
                  <c:v>6.3908225669999999E-3</c:v>
                </c:pt>
                <c:pt idx="67">
                  <c:v>6.6156098890000001E-3</c:v>
                </c:pt>
                <c:pt idx="68">
                  <c:v>6.7435214019999998E-3</c:v>
                </c:pt>
                <c:pt idx="69">
                  <c:v>7.0710532319999998E-3</c:v>
                </c:pt>
                <c:pt idx="70">
                  <c:v>7.2877337779999997E-3</c:v>
                </c:pt>
                <c:pt idx="71">
                  <c:v>7.5612219130000002E-3</c:v>
                </c:pt>
                <c:pt idx="72">
                  <c:v>6.9335492679999996E-3</c:v>
                </c:pt>
                <c:pt idx="73">
                  <c:v>7.0651815719999997E-3</c:v>
                </c:pt>
                <c:pt idx="74">
                  <c:v>7.7044094510000001E-3</c:v>
                </c:pt>
                <c:pt idx="75">
                  <c:v>7.7252389989999996E-3</c:v>
                </c:pt>
                <c:pt idx="76">
                  <c:v>8.1228095790000007E-3</c:v>
                </c:pt>
                <c:pt idx="77">
                  <c:v>8.4977734189999998E-3</c:v>
                </c:pt>
                <c:pt idx="78">
                  <c:v>8.7468725989999999E-3</c:v>
                </c:pt>
                <c:pt idx="79">
                  <c:v>8.2926530360000004E-3</c:v>
                </c:pt>
                <c:pt idx="80">
                  <c:v>8.7193940460000008E-3</c:v>
                </c:pt>
                <c:pt idx="81">
                  <c:v>9.0301859559999993E-3</c:v>
                </c:pt>
                <c:pt idx="82">
                  <c:v>8.9482176909999999E-3</c:v>
                </c:pt>
                <c:pt idx="83">
                  <c:v>9.9904723009999995E-3</c:v>
                </c:pt>
                <c:pt idx="84">
                  <c:v>1.0015566716000001E-2</c:v>
                </c:pt>
                <c:pt idx="85">
                  <c:v>9.4429998630000001E-3</c:v>
                </c:pt>
                <c:pt idx="86">
                  <c:v>8.7349234680000002E-3</c:v>
                </c:pt>
                <c:pt idx="87">
                  <c:v>8.7092748460000004E-3</c:v>
                </c:pt>
                <c:pt idx="88">
                  <c:v>8.4818345069999999E-3</c:v>
                </c:pt>
                <c:pt idx="89">
                  <c:v>8.3362583359999996E-3</c:v>
                </c:pt>
                <c:pt idx="90">
                  <c:v>8.7931201079999993E-3</c:v>
                </c:pt>
                <c:pt idx="91">
                  <c:v>8.6761147590000004E-3</c:v>
                </c:pt>
                <c:pt idx="92">
                  <c:v>8.8404207259999996E-3</c:v>
                </c:pt>
                <c:pt idx="93">
                  <c:v>8.6491586719999996E-3</c:v>
                </c:pt>
                <c:pt idx="94">
                  <c:v>8.8867027379999994E-3</c:v>
                </c:pt>
                <c:pt idx="95">
                  <c:v>9.0758529309999999E-3</c:v>
                </c:pt>
                <c:pt idx="96">
                  <c:v>8.8380977040000003E-3</c:v>
                </c:pt>
                <c:pt idx="97">
                  <c:v>9.0453613099999997E-3</c:v>
                </c:pt>
                <c:pt idx="98">
                  <c:v>9.6866905579999999E-3</c:v>
                </c:pt>
                <c:pt idx="99">
                  <c:v>9.4387755100000005E-3</c:v>
                </c:pt>
                <c:pt idx="100">
                  <c:v>8.8874357220000005E-3</c:v>
                </c:pt>
                <c:pt idx="101">
                  <c:v>8.7442660549999999E-3</c:v>
                </c:pt>
                <c:pt idx="102">
                  <c:v>8.4270439029999998E-3</c:v>
                </c:pt>
                <c:pt idx="103">
                  <c:v>7.7291617030000002E-3</c:v>
                </c:pt>
                <c:pt idx="104">
                  <c:v>7.7139041069999997E-3</c:v>
                </c:pt>
                <c:pt idx="105">
                  <c:v>7.7745109119999999E-3</c:v>
                </c:pt>
                <c:pt idx="106">
                  <c:v>7.8604391700000005E-3</c:v>
                </c:pt>
                <c:pt idx="107">
                  <c:v>7.5871829970000004E-3</c:v>
                </c:pt>
                <c:pt idx="108">
                  <c:v>7.0105267779999999E-3</c:v>
                </c:pt>
                <c:pt idx="109">
                  <c:v>6.9164882220000001E-3</c:v>
                </c:pt>
                <c:pt idx="110">
                  <c:v>6.4418721690000002E-3</c:v>
                </c:pt>
                <c:pt idx="111">
                  <c:v>6.4759406500000003E-3</c:v>
                </c:pt>
                <c:pt idx="112">
                  <c:v>6.6324744069999999E-3</c:v>
                </c:pt>
                <c:pt idx="113">
                  <c:v>6.4204868559999996E-3</c:v>
                </c:pt>
                <c:pt idx="114">
                  <c:v>5.4594935439999997E-3</c:v>
                </c:pt>
                <c:pt idx="115">
                  <c:v>4.9921058560000002E-3</c:v>
                </c:pt>
                <c:pt idx="116">
                  <c:v>5.1737353089999997E-3</c:v>
                </c:pt>
                <c:pt idx="117">
                  <c:v>5.4433561580000001E-3</c:v>
                </c:pt>
                <c:pt idx="118">
                  <c:v>6.0535955270000002E-3</c:v>
                </c:pt>
                <c:pt idx="119">
                  <c:v>6.8944963240000004E-3</c:v>
                </c:pt>
                <c:pt idx="120">
                  <c:v>7.0836212850000002E-3</c:v>
                </c:pt>
                <c:pt idx="121">
                  <c:v>6.579739821E-3</c:v>
                </c:pt>
                <c:pt idx="122">
                  <c:v>6.586834598E-3</c:v>
                </c:pt>
                <c:pt idx="123">
                  <c:v>6.5097995479999997E-3</c:v>
                </c:pt>
                <c:pt idx="124">
                  <c:v>6.5951136840000004E-3</c:v>
                </c:pt>
                <c:pt idx="125">
                  <c:v>6.6735042729999996E-3</c:v>
                </c:pt>
                <c:pt idx="126">
                  <c:v>6.6265060239999998E-3</c:v>
                </c:pt>
                <c:pt idx="127">
                  <c:v>6.1255026650000001E-3</c:v>
                </c:pt>
                <c:pt idx="128">
                  <c:v>5.5759051329999998E-3</c:v>
                </c:pt>
                <c:pt idx="129">
                  <c:v>5.337162944E-3</c:v>
                </c:pt>
                <c:pt idx="130">
                  <c:v>5.1675901029999997E-3</c:v>
                </c:pt>
                <c:pt idx="131">
                  <c:v>5.3114862259999998E-3</c:v>
                </c:pt>
                <c:pt idx="132">
                  <c:v>5.2322733280000004E-3</c:v>
                </c:pt>
                <c:pt idx="133">
                  <c:v>5.0697484010000004E-3</c:v>
                </c:pt>
                <c:pt idx="134">
                  <c:v>4.9287115229999998E-3</c:v>
                </c:pt>
                <c:pt idx="135">
                  <c:v>4.8001994879999996E-3</c:v>
                </c:pt>
                <c:pt idx="136">
                  <c:v>4.8458787749999996E-3</c:v>
                </c:pt>
                <c:pt idx="137">
                  <c:v>5.4572473989999998E-3</c:v>
                </c:pt>
                <c:pt idx="138">
                  <c:v>5.8793524650000003E-3</c:v>
                </c:pt>
                <c:pt idx="139">
                  <c:v>6.1082679229999999E-3</c:v>
                </c:pt>
                <c:pt idx="140">
                  <c:v>6.2808286740000004E-3</c:v>
                </c:pt>
                <c:pt idx="141">
                  <c:v>6.3252683559999997E-3</c:v>
                </c:pt>
                <c:pt idx="142">
                  <c:v>6.2875506489999998E-3</c:v>
                </c:pt>
                <c:pt idx="143">
                  <c:v>6.502118849E-3</c:v>
                </c:pt>
                <c:pt idx="144">
                  <c:v>6.5705045939999998E-3</c:v>
                </c:pt>
                <c:pt idx="145">
                  <c:v>6.2064274780000003E-3</c:v>
                </c:pt>
                <c:pt idx="146">
                  <c:v>6.2553524219999997E-3</c:v>
                </c:pt>
                <c:pt idx="147">
                  <c:v>6.4875066339999997E-3</c:v>
                </c:pt>
                <c:pt idx="148">
                  <c:v>6.502916349E-3</c:v>
                </c:pt>
                <c:pt idx="149">
                  <c:v>6.2763350430000003E-3</c:v>
                </c:pt>
                <c:pt idx="150">
                  <c:v>6.2028047459999998E-3</c:v>
                </c:pt>
                <c:pt idx="151">
                  <c:v>6.1362980069999996E-3</c:v>
                </c:pt>
                <c:pt idx="152">
                  <c:v>6.2056261950000002E-3</c:v>
                </c:pt>
                <c:pt idx="153">
                  <c:v>6.4662705340000001E-3</c:v>
                </c:pt>
                <c:pt idx="154">
                  <c:v>6.8025845799999998E-3</c:v>
                </c:pt>
                <c:pt idx="155">
                  <c:v>6.9314898129999997E-3</c:v>
                </c:pt>
                <c:pt idx="156">
                  <c:v>6.4727195969999998E-3</c:v>
                </c:pt>
                <c:pt idx="157">
                  <c:v>6.2621012049999996E-3</c:v>
                </c:pt>
                <c:pt idx="158">
                  <c:v>6.6939578680000004E-3</c:v>
                </c:pt>
                <c:pt idx="159">
                  <c:v>6.7788361249999998E-3</c:v>
                </c:pt>
                <c:pt idx="160">
                  <c:v>6.9072221909999999E-3</c:v>
                </c:pt>
                <c:pt idx="161">
                  <c:v>7.0038910499999997E-3</c:v>
                </c:pt>
                <c:pt idx="162">
                  <c:v>6.7699428349999998E-3</c:v>
                </c:pt>
                <c:pt idx="163">
                  <c:v>6.5784077300000002E-3</c:v>
                </c:pt>
                <c:pt idx="164">
                  <c:v>6.6823130580000003E-3</c:v>
                </c:pt>
                <c:pt idx="165">
                  <c:v>6.7529729550000004E-3</c:v>
                </c:pt>
                <c:pt idx="166">
                  <c:v>6.2176503140000004E-3</c:v>
                </c:pt>
                <c:pt idx="167">
                  <c:v>6.0914581529999999E-3</c:v>
                </c:pt>
                <c:pt idx="168">
                  <c:v>6.4452776280000002E-3</c:v>
                </c:pt>
                <c:pt idx="169">
                  <c:v>6.4033809850000002E-3</c:v>
                </c:pt>
                <c:pt idx="170">
                  <c:v>6.2714559580000001E-3</c:v>
                </c:pt>
                <c:pt idx="171">
                  <c:v>6.093342949E-3</c:v>
                </c:pt>
                <c:pt idx="172">
                  <c:v>6.0916457420000002E-3</c:v>
                </c:pt>
                <c:pt idx="173">
                  <c:v>5.7767520280000003E-3</c:v>
                </c:pt>
                <c:pt idx="174">
                  <c:v>6.1736297809999998E-3</c:v>
                </c:pt>
                <c:pt idx="175">
                  <c:v>6.572675006E-3</c:v>
                </c:pt>
                <c:pt idx="176">
                  <c:v>6.3385533179999998E-3</c:v>
                </c:pt>
                <c:pt idx="177">
                  <c:v>5.9957274540000001E-3</c:v>
                </c:pt>
                <c:pt idx="178">
                  <c:v>5.912132673E-3</c:v>
                </c:pt>
                <c:pt idx="179">
                  <c:v>5.726980441E-3</c:v>
                </c:pt>
                <c:pt idx="180">
                  <c:v>5.4709671840000003E-3</c:v>
                </c:pt>
                <c:pt idx="181">
                  <c:v>5.6588973550000003E-3</c:v>
                </c:pt>
                <c:pt idx="182">
                  <c:v>5.7547180640000004E-3</c:v>
                </c:pt>
                <c:pt idx="183">
                  <c:v>5.7583989760000001E-3</c:v>
                </c:pt>
                <c:pt idx="184">
                  <c:v>5.5205830370000002E-3</c:v>
                </c:pt>
                <c:pt idx="185">
                  <c:v>5.384023733E-3</c:v>
                </c:pt>
                <c:pt idx="186">
                  <c:v>5.2197856609999998E-3</c:v>
                </c:pt>
                <c:pt idx="187">
                  <c:v>5.3547388929999998E-3</c:v>
                </c:pt>
                <c:pt idx="188">
                  <c:v>5.6465875429999998E-3</c:v>
                </c:pt>
                <c:pt idx="189">
                  <c:v>5.8562713220000001E-3</c:v>
                </c:pt>
                <c:pt idx="190">
                  <c:v>6.0787109799999997E-3</c:v>
                </c:pt>
                <c:pt idx="191">
                  <c:v>5.5298237109999999E-3</c:v>
                </c:pt>
                <c:pt idx="192">
                  <c:v>5.4721539629999996E-3</c:v>
                </c:pt>
                <c:pt idx="193">
                  <c:v>5.8368063400000003E-3</c:v>
                </c:pt>
                <c:pt idx="194">
                  <c:v>6.3104347539999998E-3</c:v>
                </c:pt>
                <c:pt idx="195">
                  <c:v>6.433749612E-3</c:v>
                </c:pt>
                <c:pt idx="196">
                  <c:v>6.7075271990000001E-3</c:v>
                </c:pt>
                <c:pt idx="197">
                  <c:v>6.7232435379999999E-3</c:v>
                </c:pt>
                <c:pt idx="198">
                  <c:v>5.8501955540000003E-3</c:v>
                </c:pt>
                <c:pt idx="199">
                  <c:v>6.1280640319999998E-3</c:v>
                </c:pt>
                <c:pt idx="200">
                  <c:v>6.1844389999999999E-3</c:v>
                </c:pt>
                <c:pt idx="201">
                  <c:v>6.0441623559999999E-3</c:v>
                </c:pt>
                <c:pt idx="202">
                  <c:v>5.8848485669999997E-3</c:v>
                </c:pt>
                <c:pt idx="203">
                  <c:v>5.8900045300000004E-3</c:v>
                </c:pt>
                <c:pt idx="204">
                  <c:v>6.0410189269999998E-3</c:v>
                </c:pt>
                <c:pt idx="205">
                  <c:v>5.9450288419999999E-3</c:v>
                </c:pt>
                <c:pt idx="206">
                  <c:v>6.3081348650000004E-3</c:v>
                </c:pt>
                <c:pt idx="207">
                  <c:v>6.5403138100000001E-3</c:v>
                </c:pt>
                <c:pt idx="208">
                  <c:v>6.7253985570000004E-3</c:v>
                </c:pt>
                <c:pt idx="209">
                  <c:v>6.9722726370000003E-3</c:v>
                </c:pt>
                <c:pt idx="210">
                  <c:v>7.0906953889999999E-3</c:v>
                </c:pt>
                <c:pt idx="211">
                  <c:v>7.1561420599999996E-3</c:v>
                </c:pt>
                <c:pt idx="212">
                  <c:v>6.4385609990000002E-3</c:v>
                </c:pt>
                <c:pt idx="213">
                  <c:v>6.2109463219999998E-3</c:v>
                </c:pt>
                <c:pt idx="214">
                  <c:v>6.5316786409999996E-3</c:v>
                </c:pt>
                <c:pt idx="215">
                  <c:v>6.5694531190000002E-3</c:v>
                </c:pt>
                <c:pt idx="216">
                  <c:v>7.1468781349999996E-3</c:v>
                </c:pt>
                <c:pt idx="217">
                  <c:v>7.524221809E-3</c:v>
                </c:pt>
                <c:pt idx="218">
                  <c:v>7.794029773E-3</c:v>
                </c:pt>
                <c:pt idx="219">
                  <c:v>7.8892808089999992E-3</c:v>
                </c:pt>
                <c:pt idx="220">
                  <c:v>8.1282520030000003E-3</c:v>
                </c:pt>
                <c:pt idx="221">
                  <c:v>8.3392899689999998E-3</c:v>
                </c:pt>
                <c:pt idx="222">
                  <c:v>8.3968278649999995E-3</c:v>
                </c:pt>
                <c:pt idx="223">
                  <c:v>8.8449190849999998E-3</c:v>
                </c:pt>
                <c:pt idx="224">
                  <c:v>8.9258338150000009E-3</c:v>
                </c:pt>
                <c:pt idx="225">
                  <c:v>9.0429781109999992E-3</c:v>
                </c:pt>
                <c:pt idx="226">
                  <c:v>8.0982086639999999E-3</c:v>
                </c:pt>
                <c:pt idx="227">
                  <c:v>7.9525868580000002E-3</c:v>
                </c:pt>
                <c:pt idx="228">
                  <c:v>8.6045002900000007E-3</c:v>
                </c:pt>
                <c:pt idx="229">
                  <c:v>8.9282433769999996E-3</c:v>
                </c:pt>
                <c:pt idx="230">
                  <c:v>9.6969696960000004E-3</c:v>
                </c:pt>
                <c:pt idx="231">
                  <c:v>9.7582612549999993E-3</c:v>
                </c:pt>
                <c:pt idx="232">
                  <c:v>9.3551754589999998E-3</c:v>
                </c:pt>
                <c:pt idx="233">
                  <c:v>8.4909456739999997E-3</c:v>
                </c:pt>
                <c:pt idx="234">
                  <c:v>8.8881066569999993E-3</c:v>
                </c:pt>
                <c:pt idx="235">
                  <c:v>9.196783436E-3</c:v>
                </c:pt>
                <c:pt idx="236">
                  <c:v>9.2985551470000007E-3</c:v>
                </c:pt>
                <c:pt idx="237">
                  <c:v>9.7596809729999998E-3</c:v>
                </c:pt>
                <c:pt idx="238">
                  <c:v>9.7568952360000006E-3</c:v>
                </c:pt>
                <c:pt idx="239">
                  <c:v>9.5001243470000003E-3</c:v>
                </c:pt>
                <c:pt idx="240">
                  <c:v>8.9468685950000008E-3</c:v>
                </c:pt>
                <c:pt idx="241">
                  <c:v>9.4733461780000007E-3</c:v>
                </c:pt>
                <c:pt idx="242">
                  <c:v>9.6881959909999992E-3</c:v>
                </c:pt>
                <c:pt idx="243">
                  <c:v>9.0831191080000002E-3</c:v>
                </c:pt>
                <c:pt idx="244">
                  <c:v>8.7752053770000001E-3</c:v>
                </c:pt>
                <c:pt idx="245">
                  <c:v>8.9736031959999994E-3</c:v>
                </c:pt>
                <c:pt idx="246">
                  <c:v>8.5223862680000005E-3</c:v>
                </c:pt>
                <c:pt idx="247">
                  <c:v>8.0679405520000004E-3</c:v>
                </c:pt>
                <c:pt idx="248">
                  <c:v>8.0714521990000003E-3</c:v>
                </c:pt>
                <c:pt idx="249">
                  <c:v>7.5352112670000002E-3</c:v>
                </c:pt>
                <c:pt idx="250">
                  <c:v>7.3486184589999998E-3</c:v>
                </c:pt>
                <c:pt idx="251">
                  <c:v>7.8125E-3</c:v>
                </c:pt>
                <c:pt idx="252">
                  <c:v>8.7055926830000002E-3</c:v>
                </c:pt>
                <c:pt idx="253">
                  <c:v>8.6220789679999996E-3</c:v>
                </c:pt>
                <c:pt idx="254">
                  <c:v>7.8263064879999997E-3</c:v>
                </c:pt>
                <c:pt idx="255">
                  <c:v>8.1990123910000001E-3</c:v>
                </c:pt>
                <c:pt idx="256">
                  <c:v>8.9250297500000006E-3</c:v>
                </c:pt>
                <c:pt idx="257">
                  <c:v>8.9958158990000002E-3</c:v>
                </c:pt>
                <c:pt idx="258">
                  <c:v>9.2777451549999994E-3</c:v>
                </c:pt>
                <c:pt idx="259">
                  <c:v>9.2016911209999996E-3</c:v>
                </c:pt>
                <c:pt idx="260">
                  <c:v>8.6402910409999999E-3</c:v>
                </c:pt>
                <c:pt idx="261">
                  <c:v>7.8088026500000001E-3</c:v>
                </c:pt>
                <c:pt idx="262">
                  <c:v>8.6264100859999998E-3</c:v>
                </c:pt>
                <c:pt idx="263">
                  <c:v>8.3453237409999992E-3</c:v>
                </c:pt>
                <c:pt idx="264">
                  <c:v>8.1326243349999997E-3</c:v>
                </c:pt>
                <c:pt idx="265">
                  <c:v>9.515418502E-3</c:v>
                </c:pt>
                <c:pt idx="266">
                  <c:v>9.8559514780000006E-3</c:v>
                </c:pt>
                <c:pt idx="267">
                  <c:v>9.0893200479999995E-3</c:v>
                </c:pt>
                <c:pt idx="268">
                  <c:v>8.3857442340000005E-3</c:v>
                </c:pt>
                <c:pt idx="269">
                  <c:v>9.1623036639999992E-3</c:v>
                </c:pt>
                <c:pt idx="270">
                  <c:v>8.5787155109999999E-3</c:v>
                </c:pt>
                <c:pt idx="271">
                  <c:v>8.5679314560000008E-3</c:v>
                </c:pt>
                <c:pt idx="272">
                  <c:v>8.2599118940000008E-3</c:v>
                </c:pt>
                <c:pt idx="273">
                  <c:v>7.3335288939999996E-3</c:v>
                </c:pt>
                <c:pt idx="274">
                  <c:v>7.7789699570000002E-3</c:v>
                </c:pt>
                <c:pt idx="275">
                  <c:v>8.5543199310000005E-3</c:v>
                </c:pt>
                <c:pt idx="276">
                  <c:v>8.758210822E-3</c:v>
                </c:pt>
                <c:pt idx="277">
                  <c:v>9.0791180280000005E-3</c:v>
                </c:pt>
                <c:pt idx="278">
                  <c:v>8.9686098649999994E-3</c:v>
                </c:pt>
                <c:pt idx="279">
                  <c:v>8.863198458E-3</c:v>
                </c:pt>
                <c:pt idx="280">
                  <c:v>8.8996763750000003E-3</c:v>
                </c:pt>
                <c:pt idx="281">
                  <c:v>7.9036507329999992E-3</c:v>
                </c:pt>
                <c:pt idx="282">
                  <c:v>5.9382422799999996E-3</c:v>
                </c:pt>
                <c:pt idx="283">
                  <c:v>5.6521739130000002E-3</c:v>
                </c:pt>
                <c:pt idx="284">
                  <c:v>6.5543071160000001E-3</c:v>
                </c:pt>
                <c:pt idx="285">
                  <c:v>5.8293587700000002E-3</c:v>
                </c:pt>
                <c:pt idx="286">
                  <c:v>6.1012812690000003E-3</c:v>
                </c:pt>
                <c:pt idx="287">
                  <c:v>5.8900523560000001E-3</c:v>
                </c:pt>
                <c:pt idx="288">
                  <c:v>6.226650062E-3</c:v>
                </c:pt>
                <c:pt idx="289">
                  <c:v>5.928853754E-3</c:v>
                </c:pt>
                <c:pt idx="290">
                  <c:v>9.5087163230000004E-3</c:v>
                </c:pt>
                <c:pt idx="291">
                  <c:v>8.5763293310000006E-3</c:v>
                </c:pt>
                <c:pt idx="292">
                  <c:v>9.8214285710000009E-3</c:v>
                </c:pt>
                <c:pt idx="293">
                  <c:v>9.9700897299999994E-3</c:v>
                </c:pt>
                <c:pt idx="294">
                  <c:v>1.1178861788E-2</c:v>
                </c:pt>
                <c:pt idx="295">
                  <c:v>1.0357815442E-2</c:v>
                </c:pt>
                <c:pt idx="296">
                  <c:v>9.0180360719999998E-3</c:v>
                </c:pt>
                <c:pt idx="297">
                  <c:v>8.9186176140000004E-3</c:v>
                </c:pt>
                <c:pt idx="298">
                  <c:v>6.9364161840000001E-3</c:v>
                </c:pt>
                <c:pt idx="299">
                  <c:v>7.1599045340000004E-3</c:v>
                </c:pt>
                <c:pt idx="300">
                  <c:v>3.9421813399999998E-3</c:v>
                </c:pt>
                <c:pt idx="301">
                  <c:v>2.6455026450000001E-3</c:v>
                </c:pt>
                <c:pt idx="302">
                  <c:v>3.5294117640000001E-3</c:v>
                </c:pt>
                <c:pt idx="303">
                  <c:v>3.3783783779999998E-3</c:v>
                </c:pt>
                <c:pt idx="304">
                  <c:v>4.3811610070000001E-3</c:v>
                </c:pt>
                <c:pt idx="305">
                  <c:v>6.1791967040000003E-3</c:v>
                </c:pt>
                <c:pt idx="306">
                  <c:v>6.7307692300000001E-3</c:v>
                </c:pt>
                <c:pt idx="307">
                  <c:v>6.7698259179999999E-3</c:v>
                </c:pt>
                <c:pt idx="308">
                  <c:v>6.5116279059999997E-3</c:v>
                </c:pt>
                <c:pt idx="309">
                  <c:v>6.1028770700000002E-3</c:v>
                </c:pt>
                <c:pt idx="310">
                  <c:v>4.5248868770000001E-3</c:v>
                </c:pt>
                <c:pt idx="311">
                  <c:v>5.7003257319999997E-3</c:v>
                </c:pt>
                <c:pt idx="312">
                  <c:v>4.4742729300000002E-3</c:v>
                </c:pt>
                <c:pt idx="313">
                  <c:v>2.7416038380000001E-3</c:v>
                </c:pt>
                <c:pt idx="314">
                  <c:v>2.7605244990000001E-3</c:v>
                </c:pt>
                <c:pt idx="315">
                  <c:v>2.7192386129999998E-3</c:v>
                </c:pt>
                <c:pt idx="316">
                  <c:v>3.113325031E-3</c:v>
                </c:pt>
                <c:pt idx="317">
                  <c:v>3.337041156E-3</c:v>
                </c:pt>
                <c:pt idx="318">
                  <c:v>4.102564102E-3</c:v>
                </c:pt>
                <c:pt idx="319">
                  <c:v>4.2194092820000001E-3</c:v>
                </c:pt>
                <c:pt idx="320">
                  <c:v>4.2372881350000004E-3</c:v>
                </c:pt>
                <c:pt idx="321">
                  <c:v>4.4444444439999996E-3</c:v>
                </c:pt>
                <c:pt idx="322">
                  <c:v>3.9795338259999997E-3</c:v>
                </c:pt>
                <c:pt idx="323">
                  <c:v>4.3691971600000002E-3</c:v>
                </c:pt>
                <c:pt idx="324">
                  <c:v>3.7095919440000001E-3</c:v>
                </c:pt>
                <c:pt idx="325">
                  <c:v>4.4493882089999999E-3</c:v>
                </c:pt>
                <c:pt idx="326">
                  <c:v>4.0229885050000001E-3</c:v>
                </c:pt>
                <c:pt idx="327">
                  <c:v>3.5252643939999999E-3</c:v>
                </c:pt>
                <c:pt idx="328">
                  <c:v>3.7854889580000001E-3</c:v>
                </c:pt>
                <c:pt idx="329">
                  <c:v>4.0844111639999998E-3</c:v>
                </c:pt>
                <c:pt idx="330">
                  <c:v>3.8684719530000002E-3</c:v>
                </c:pt>
                <c:pt idx="331">
                  <c:v>4.4108380589999996E-3</c:v>
                </c:pt>
                <c:pt idx="332">
                  <c:v>4.7138047129999996E-3</c:v>
                </c:pt>
                <c:pt idx="333">
                  <c:v>4.1124057570000004E-3</c:v>
                </c:pt>
                <c:pt idx="334">
                  <c:v>5.7388809179999998E-3</c:v>
                </c:pt>
                <c:pt idx="335">
                  <c:v>6.056018168E-3</c:v>
                </c:pt>
                <c:pt idx="336">
                  <c:v>7.0754716979999997E-3</c:v>
                </c:pt>
                <c:pt idx="337">
                  <c:v>6.6964285709999998E-3</c:v>
                </c:pt>
                <c:pt idx="338">
                  <c:v>7.2254335260000004E-3</c:v>
                </c:pt>
                <c:pt idx="339">
                  <c:v>6.731488406E-3</c:v>
                </c:pt>
                <c:pt idx="340">
                  <c:v>7.6745970830000001E-3</c:v>
                </c:pt>
                <c:pt idx="341">
                  <c:v>8.6410054980000008E-3</c:v>
                </c:pt>
                <c:pt idx="342">
                  <c:v>6.2111801239999997E-3</c:v>
                </c:pt>
                <c:pt idx="343">
                  <c:v>6.2548866300000004E-3</c:v>
                </c:pt>
                <c:pt idx="344">
                  <c:v>5.8224163020000001E-3</c:v>
                </c:pt>
                <c:pt idx="345">
                  <c:v>6.076975016E-3</c:v>
                </c:pt>
                <c:pt idx="346">
                  <c:v>6.1559507519999999E-3</c:v>
                </c:pt>
                <c:pt idx="347">
                  <c:v>5.5440055439999998E-3</c:v>
                </c:pt>
                <c:pt idx="348">
                  <c:v>5.3297801460000004E-3</c:v>
                </c:pt>
                <c:pt idx="349">
                  <c:v>4.0927694400000004E-3</c:v>
                </c:pt>
                <c:pt idx="350">
                  <c:v>5.0395968319999996E-3</c:v>
                </c:pt>
                <c:pt idx="351">
                  <c:v>6.0080106800000001E-3</c:v>
                </c:pt>
                <c:pt idx="352">
                  <c:v>6.1500614999999998E-3</c:v>
                </c:pt>
                <c:pt idx="353">
                  <c:v>5.7179161369999999E-3</c:v>
                </c:pt>
                <c:pt idx="354">
                  <c:v>4.6022353710000003E-3</c:v>
                </c:pt>
                <c:pt idx="355">
                  <c:v>6.6577896129999996E-3</c:v>
                </c:pt>
                <c:pt idx="356">
                  <c:v>7.067137809E-3</c:v>
                </c:pt>
                <c:pt idx="357">
                  <c:v>7.2463768110000003E-3</c:v>
                </c:pt>
                <c:pt idx="358">
                  <c:v>6.5963060680000003E-3</c:v>
                </c:pt>
                <c:pt idx="359">
                  <c:v>5.1612903220000002E-3</c:v>
                </c:pt>
                <c:pt idx="360">
                  <c:v>4.6760187040000003E-3</c:v>
                </c:pt>
                <c:pt idx="361">
                  <c:v>4.6604527289999999E-3</c:v>
                </c:pt>
                <c:pt idx="362">
                  <c:v>4.6082949300000004E-3</c:v>
                </c:pt>
                <c:pt idx="363">
                  <c:v>2.7008777849999999E-3</c:v>
                </c:pt>
                <c:pt idx="364">
                  <c:v>2.1023125429999998E-3</c:v>
                </c:pt>
                <c:pt idx="365">
                  <c:v>1.921844971E-3</c:v>
                </c:pt>
                <c:pt idx="366">
                  <c:v>1.2202562529999999E-3</c:v>
                </c:pt>
                <c:pt idx="367">
                  <c:v>1.211387038E-3</c:v>
                </c:pt>
                <c:pt idx="368">
                  <c:v>5.8479532099999995E-4</c:v>
                </c:pt>
                <c:pt idx="369">
                  <c:v>3.322259136E-3</c:v>
                </c:pt>
                <c:pt idx="370">
                  <c:v>3.2786885240000002E-3</c:v>
                </c:pt>
                <c:pt idx="371">
                  <c:v>3.8084874859999999E-3</c:v>
                </c:pt>
                <c:pt idx="372">
                  <c:v>4.1860465109999998E-3</c:v>
                </c:pt>
                <c:pt idx="373">
                  <c:v>4.4141251999999997E-3</c:v>
                </c:pt>
                <c:pt idx="374">
                  <c:v>5.0329074709999999E-3</c:v>
                </c:pt>
                <c:pt idx="375">
                  <c:v>4.3779642459999997E-3</c:v>
                </c:pt>
                <c:pt idx="376">
                  <c:v>5.5574852370000004E-3</c:v>
                </c:pt>
                <c:pt idx="377">
                  <c:v>4.2553191479999999E-3</c:v>
                </c:pt>
                <c:pt idx="378">
                  <c:v>4.7289923599999999E-3</c:v>
                </c:pt>
                <c:pt idx="379">
                  <c:v>6.7698259179999999E-3</c:v>
                </c:pt>
                <c:pt idx="380">
                  <c:v>7.0422535210000001E-3</c:v>
                </c:pt>
                <c:pt idx="381">
                  <c:v>6.8621334989999996E-3</c:v>
                </c:pt>
                <c:pt idx="382">
                  <c:v>6.7926757229999999E-3</c:v>
                </c:pt>
                <c:pt idx="383">
                  <c:v>7.0381231670000001E-3</c:v>
                </c:pt>
                <c:pt idx="384">
                  <c:v>6.4259485920000001E-3</c:v>
                </c:pt>
                <c:pt idx="385">
                  <c:v>6.8621334989999996E-3</c:v>
                </c:pt>
                <c:pt idx="386">
                  <c:v>6.7586595319999998E-3</c:v>
                </c:pt>
                <c:pt idx="387">
                  <c:v>4.1062140700000001E-3</c:v>
                </c:pt>
                <c:pt idx="388">
                  <c:v>3.3158331029999998E-3</c:v>
                </c:pt>
                <c:pt idx="389">
                  <c:v>3.9106145249999998E-3</c:v>
                </c:pt>
                <c:pt idx="390">
                  <c:v>3.9559197509999996E-3</c:v>
                </c:pt>
                <c:pt idx="391">
                  <c:v>4.2722870969999997E-3</c:v>
                </c:pt>
                <c:pt idx="392">
                  <c:v>5.2038161309999999E-3</c:v>
                </c:pt>
                <c:pt idx="393">
                  <c:v>5.3204965789999999E-3</c:v>
                </c:pt>
                <c:pt idx="394">
                  <c:v>4.822335025E-3</c:v>
                </c:pt>
                <c:pt idx="395">
                  <c:v>5.6414029919999997E-3</c:v>
                </c:pt>
                <c:pt idx="396">
                  <c:v>5.8087578190000001E-3</c:v>
                </c:pt>
                <c:pt idx="397">
                  <c:v>6.01659751E-3</c:v>
                </c:pt>
                <c:pt idx="398">
                  <c:v>5.3597196450000002E-3</c:v>
                </c:pt>
                <c:pt idx="399">
                  <c:v>5.8910161999999999E-3</c:v>
                </c:pt>
                <c:pt idx="400">
                  <c:v>5.8325493880000004E-3</c:v>
                </c:pt>
                <c:pt idx="401">
                  <c:v>7.1217648080000003E-3</c:v>
                </c:pt>
                <c:pt idx="402">
                  <c:v>8.2135523609999997E-3</c:v>
                </c:pt>
                <c:pt idx="403">
                  <c:v>8.1942336870000007E-3</c:v>
                </c:pt>
                <c:pt idx="404">
                  <c:v>8.2261441809999992E-3</c:v>
                </c:pt>
                <c:pt idx="405">
                  <c:v>7.8160919539999995E-3</c:v>
                </c:pt>
                <c:pt idx="406">
                  <c:v>9.1932160400000004E-3</c:v>
                </c:pt>
                <c:pt idx="407">
                  <c:v>9.2706203129999994E-3</c:v>
                </c:pt>
                <c:pt idx="408">
                  <c:v>8.4682440839999994E-3</c:v>
                </c:pt>
                <c:pt idx="409">
                  <c:v>7.3704232040000001E-3</c:v>
                </c:pt>
                <c:pt idx="410">
                  <c:v>6.850853548E-3</c:v>
                </c:pt>
                <c:pt idx="411">
                  <c:v>6.3963685129999996E-3</c:v>
                </c:pt>
                <c:pt idx="412">
                  <c:v>6.2036001219999996E-3</c:v>
                </c:pt>
                <c:pt idx="413">
                  <c:v>6.8259385659999996E-3</c:v>
                </c:pt>
                <c:pt idx="414">
                  <c:v>6.0013153560000004E-3</c:v>
                </c:pt>
                <c:pt idx="415">
                  <c:v>5.0465562579999996E-3</c:v>
                </c:pt>
                <c:pt idx="416">
                  <c:v>4.6717171710000003E-3</c:v>
                </c:pt>
                <c:pt idx="417">
                  <c:v>4.2815836289999999E-3</c:v>
                </c:pt>
                <c:pt idx="418">
                  <c:v>3.6746929689999998E-3</c:v>
                </c:pt>
                <c:pt idx="419">
                  <c:v>3.4169090820000002E-3</c:v>
                </c:pt>
                <c:pt idx="420">
                  <c:v>3.6708747419999998E-3</c:v>
                </c:pt>
                <c:pt idx="421">
                  <c:v>4.2200627199999998E-3</c:v>
                </c:pt>
                <c:pt idx="422">
                  <c:v>3.5832600900000001E-3</c:v>
                </c:pt>
                <c:pt idx="423">
                  <c:v>3.4163612639999999E-3</c:v>
                </c:pt>
                <c:pt idx="424">
                  <c:v>3.5760435129999998E-3</c:v>
                </c:pt>
                <c:pt idx="425">
                  <c:v>3.6450974850000002E-3</c:v>
                </c:pt>
                <c:pt idx="426">
                  <c:v>3.7282518640000002E-3</c:v>
                </c:pt>
                <c:pt idx="427">
                  <c:v>3.9176736739999999E-3</c:v>
                </c:pt>
                <c:pt idx="428">
                  <c:v>3.9979058580000004E-3</c:v>
                </c:pt>
                <c:pt idx="429">
                  <c:v>3.5238594650000002E-3</c:v>
                </c:pt>
                <c:pt idx="430">
                  <c:v>3.715571981E-3</c:v>
                </c:pt>
                <c:pt idx="431">
                  <c:v>3.6639623129999998E-3</c:v>
                </c:pt>
                <c:pt idx="432">
                  <c:v>3.647759967E-3</c:v>
                </c:pt>
                <c:pt idx="433">
                  <c:v>3.7684783910000002E-3</c:v>
                </c:pt>
                <c:pt idx="434">
                  <c:v>4.1716963709999997E-3</c:v>
                </c:pt>
                <c:pt idx="435">
                  <c:v>4.3611128789999998E-3</c:v>
                </c:pt>
                <c:pt idx="436">
                  <c:v>3.9543813389999998E-3</c:v>
                </c:pt>
                <c:pt idx="437">
                  <c:v>3.8679977660000002E-3</c:v>
                </c:pt>
                <c:pt idx="438">
                  <c:v>3.857993574E-3</c:v>
                </c:pt>
                <c:pt idx="439">
                  <c:v>3.742608348E-3</c:v>
                </c:pt>
                <c:pt idx="440">
                  <c:v>3.6836781829999998E-3</c:v>
                </c:pt>
                <c:pt idx="441">
                  <c:v>3.6983819569999998E-3</c:v>
                </c:pt>
                <c:pt idx="442">
                  <c:v>3.634885873E-3</c:v>
                </c:pt>
                <c:pt idx="443">
                  <c:v>3.1227598119999999E-3</c:v>
                </c:pt>
                <c:pt idx="444">
                  <c:v>3.1941637499999999E-3</c:v>
                </c:pt>
                <c:pt idx="445">
                  <c:v>3.294535411E-3</c:v>
                </c:pt>
                <c:pt idx="446">
                  <c:v>3.072897918E-3</c:v>
                </c:pt>
                <c:pt idx="447">
                  <c:v>3.086257386E-3</c:v>
                </c:pt>
                <c:pt idx="448">
                  <c:v>3.23461569E-3</c:v>
                </c:pt>
                <c:pt idx="449">
                  <c:v>3.3451122820000001E-3</c:v>
                </c:pt>
                <c:pt idx="450">
                  <c:v>3.1177100599999999E-3</c:v>
                </c:pt>
                <c:pt idx="451">
                  <c:v>3.1859937639999998E-3</c:v>
                </c:pt>
                <c:pt idx="452">
                  <c:v>3.152927276E-3</c:v>
                </c:pt>
                <c:pt idx="453">
                  <c:v>2.9715635140000001E-3</c:v>
                </c:pt>
                <c:pt idx="454">
                  <c:v>3.133736611E-3</c:v>
                </c:pt>
                <c:pt idx="455">
                  <c:v>3.236080471E-3</c:v>
                </c:pt>
                <c:pt idx="456">
                  <c:v>3.1183751619999998E-3</c:v>
                </c:pt>
                <c:pt idx="457">
                  <c:v>2.842535255E-3</c:v>
                </c:pt>
                <c:pt idx="458">
                  <c:v>2.805802237E-3</c:v>
                </c:pt>
                <c:pt idx="459">
                  <c:v>2.8351532249999999E-3</c:v>
                </c:pt>
                <c:pt idx="460">
                  <c:v>2.6418372250000001E-3</c:v>
                </c:pt>
                <c:pt idx="461">
                  <c:v>2.7328504009999999E-3</c:v>
                </c:pt>
                <c:pt idx="462">
                  <c:v>2.813121433E-3</c:v>
                </c:pt>
                <c:pt idx="463">
                  <c:v>2.9314231630000001E-3</c:v>
                </c:pt>
                <c:pt idx="464">
                  <c:v>2.8509470299999998E-3</c:v>
                </c:pt>
                <c:pt idx="465">
                  <c:v>2.8635339650000002E-3</c:v>
                </c:pt>
                <c:pt idx="466">
                  <c:v>2.877999664E-3</c:v>
                </c:pt>
                <c:pt idx="467">
                  <c:v>2.9213622400000002E-3</c:v>
                </c:pt>
                <c:pt idx="468">
                  <c:v>3.1524884530000001E-3</c:v>
                </c:pt>
                <c:pt idx="469">
                  <c:v>3.2716270960000001E-3</c:v>
                </c:pt>
                <c:pt idx="470">
                  <c:v>3.1142372050000002E-3</c:v>
                </c:pt>
                <c:pt idx="471">
                  <c:v>2.8116573419999999E-3</c:v>
                </c:pt>
                <c:pt idx="472">
                  <c:v>2.907640864E-3</c:v>
                </c:pt>
                <c:pt idx="473">
                  <c:v>3.1364057450000002E-3</c:v>
                </c:pt>
                <c:pt idx="474">
                  <c:v>3.1320069750000001E-3</c:v>
                </c:pt>
                <c:pt idx="475">
                  <c:v>3.1588679429999998E-3</c:v>
                </c:pt>
                <c:pt idx="476">
                  <c:v>3.2950519070000001E-3</c:v>
                </c:pt>
                <c:pt idx="477">
                  <c:v>3.3503447729999998E-3</c:v>
                </c:pt>
                <c:pt idx="478">
                  <c:v>3.3920773540000002E-3</c:v>
                </c:pt>
                <c:pt idx="479">
                  <c:v>3.6507095329999999E-3</c:v>
                </c:pt>
                <c:pt idx="480">
                  <c:v>3.659264377E-3</c:v>
                </c:pt>
                <c:pt idx="481">
                  <c:v>3.770765892E-3</c:v>
                </c:pt>
                <c:pt idx="482">
                  <c:v>4.4675174250000003E-3</c:v>
                </c:pt>
                <c:pt idx="483">
                  <c:v>4.9798328029999998E-3</c:v>
                </c:pt>
                <c:pt idx="484">
                  <c:v>5.0320026939999997E-3</c:v>
                </c:pt>
                <c:pt idx="485">
                  <c:v>4.9817613339999999E-3</c:v>
                </c:pt>
                <c:pt idx="486">
                  <c:v>6.5738135209999996E-3</c:v>
                </c:pt>
                <c:pt idx="487">
                  <c:v>6.5673713160000003E-3</c:v>
                </c:pt>
                <c:pt idx="488">
                  <c:v>6.844446784E-3</c:v>
                </c:pt>
                <c:pt idx="489">
                  <c:v>7.048339184E-3</c:v>
                </c:pt>
                <c:pt idx="490">
                  <c:v>6.7606824059999997E-3</c:v>
                </c:pt>
                <c:pt idx="491">
                  <c:v>5.7974862799999999E-3</c:v>
                </c:pt>
                <c:pt idx="492">
                  <c:v>5.0713284399999999E-3</c:v>
                </c:pt>
                <c:pt idx="493">
                  <c:v>4.6570250580000002E-3</c:v>
                </c:pt>
                <c:pt idx="494">
                  <c:v>3.2985854139999998E-3</c:v>
                </c:pt>
                <c:pt idx="495">
                  <c:v>3.2776682910000002E-3</c:v>
                </c:pt>
                <c:pt idx="496">
                  <c:v>3.158854332E-3</c:v>
                </c:pt>
                <c:pt idx="497">
                  <c:v>2.9072743270000001E-3</c:v>
                </c:pt>
                <c:pt idx="498">
                  <c:v>2.6170291189999998E-3</c:v>
                </c:pt>
                <c:pt idx="499">
                  <c:v>2.3040268100000001E-3</c:v>
                </c:pt>
                <c:pt idx="500">
                  <c:v>2.014752083E-3</c:v>
                </c:pt>
                <c:pt idx="501">
                  <c:v>1.733736281E-3</c:v>
                </c:pt>
                <c:pt idx="502">
                  <c:v>1.511879049000000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.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do_3_dne_7dni_shift3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0</c:v>
                </c:pt>
                <c:pt idx="1">
                  <c:v>0.69907578579999996</c:v>
                </c:pt>
                <c:pt idx="2">
                  <c:v>3.4634726484199998</c:v>
                </c:pt>
                <c:pt idx="3">
                  <c:v>-0.24896608767</c:v>
                </c:pt>
                <c:pt idx="4">
                  <c:v>1.50499571791</c:v>
                </c:pt>
                <c:pt idx="5">
                  <c:v>1.7383966349999998E-2</c:v>
                </c:pt>
                <c:pt idx="6">
                  <c:v>0.61904761895000004</c:v>
                </c:pt>
                <c:pt idx="7">
                  <c:v>-2.1433850710000001E-2</c:v>
                </c:pt>
                <c:pt idx="8">
                  <c:v>0.63636363659999995</c:v>
                </c:pt>
                <c:pt idx="9">
                  <c:v>-0.34358730167000001</c:v>
                </c:pt>
                <c:pt idx="10">
                  <c:v>0.87163762483999996</c:v>
                </c:pt>
                <c:pt idx="11">
                  <c:v>0</c:v>
                </c:pt>
                <c:pt idx="12">
                  <c:v>1.2212783172199999</c:v>
                </c:pt>
                <c:pt idx="13">
                  <c:v>-0.14860225600999999</c:v>
                </c:pt>
                <c:pt idx="14">
                  <c:v>1.24449247907</c:v>
                </c:pt>
                <c:pt idx="15">
                  <c:v>0.11894934333</c:v>
                </c:pt>
                <c:pt idx="16">
                  <c:v>1.0133647803000001</c:v>
                </c:pt>
                <c:pt idx="17">
                  <c:v>0.68077233571999995</c:v>
                </c:pt>
                <c:pt idx="18">
                  <c:v>0.85813953470000004</c:v>
                </c:pt>
                <c:pt idx="19">
                  <c:v>1.0032369942899999</c:v>
                </c:pt>
                <c:pt idx="20">
                  <c:v>0.48909506358999999</c:v>
                </c:pt>
                <c:pt idx="21">
                  <c:v>0.47273818115999999</c:v>
                </c:pt>
                <c:pt idx="22">
                  <c:v>0.30665020111000002</c:v>
                </c:pt>
                <c:pt idx="23">
                  <c:v>3.5833071840000001E-2</c:v>
                </c:pt>
                <c:pt idx="24">
                  <c:v>0.71731094313999999</c:v>
                </c:pt>
                <c:pt idx="25">
                  <c:v>-6.3724374070000006E-2</c:v>
                </c:pt>
                <c:pt idx="26">
                  <c:v>0.43362038836</c:v>
                </c:pt>
                <c:pt idx="27">
                  <c:v>-0.17483432596000001</c:v>
                </c:pt>
                <c:pt idx="28">
                  <c:v>0.48545119698</c:v>
                </c:pt>
                <c:pt idx="29">
                  <c:v>9.6443642E-4</c:v>
                </c:pt>
                <c:pt idx="30">
                  <c:v>0.73515275750999998</c:v>
                </c:pt>
                <c:pt idx="31">
                  <c:v>-1.207785577E-2</c:v>
                </c:pt>
                <c:pt idx="32">
                  <c:v>0.4191749508</c:v>
                </c:pt>
                <c:pt idx="33">
                  <c:v>5.6299030829999999E-2</c:v>
                </c:pt>
                <c:pt idx="34">
                  <c:v>0.76701926567000001</c:v>
                </c:pt>
                <c:pt idx="35">
                  <c:v>0.10561560094</c:v>
                </c:pt>
                <c:pt idx="36">
                  <c:v>1.0697656816900001</c:v>
                </c:pt>
                <c:pt idx="37">
                  <c:v>-4.7908042089999998E-2</c:v>
                </c:pt>
                <c:pt idx="38">
                  <c:v>1.17193492311</c:v>
                </c:pt>
                <c:pt idx="39">
                  <c:v>1.2816113420000001E-2</c:v>
                </c:pt>
                <c:pt idx="40">
                  <c:v>0.94561286129</c:v>
                </c:pt>
                <c:pt idx="41">
                  <c:v>-5.9611217899999999E-2</c:v>
                </c:pt>
                <c:pt idx="42">
                  <c:v>0.69033621315000004</c:v>
                </c:pt>
                <c:pt idx="43">
                  <c:v>7.261026995E-2</c:v>
                </c:pt>
                <c:pt idx="44">
                  <c:v>0.68904680347000002</c:v>
                </c:pt>
                <c:pt idx="45">
                  <c:v>-6.5420997049999999E-2</c:v>
                </c:pt>
                <c:pt idx="46">
                  <c:v>0.61684326783999999</c:v>
                </c:pt>
                <c:pt idx="47">
                  <c:v>-4.1641117239999997E-2</c:v>
                </c:pt>
                <c:pt idx="48">
                  <c:v>0.78591811469999995</c:v>
                </c:pt>
                <c:pt idx="49">
                  <c:v>0.13548191757</c:v>
                </c:pt>
                <c:pt idx="50">
                  <c:v>0.73073463585999998</c:v>
                </c:pt>
                <c:pt idx="51">
                  <c:v>0.12048359893</c:v>
                </c:pt>
                <c:pt idx="52">
                  <c:v>0.82288167202999996</c:v>
                </c:pt>
                <c:pt idx="53">
                  <c:v>0.56976680345999997</c:v>
                </c:pt>
                <c:pt idx="54">
                  <c:v>0.84555449687999995</c:v>
                </c:pt>
                <c:pt idx="55">
                  <c:v>0.75013480024000001</c:v>
                </c:pt>
                <c:pt idx="56">
                  <c:v>0.56572186105</c:v>
                </c:pt>
                <c:pt idx="57">
                  <c:v>1.03907234413</c:v>
                </c:pt>
                <c:pt idx="58">
                  <c:v>0.18949027197000001</c:v>
                </c:pt>
                <c:pt idx="59">
                  <c:v>0.35828393188000002</c:v>
                </c:pt>
                <c:pt idx="60">
                  <c:v>1.7506187499999999E-2</c:v>
                </c:pt>
                <c:pt idx="61">
                  <c:v>4.2747957810000001E-2</c:v>
                </c:pt>
                <c:pt idx="62">
                  <c:v>-0.29641286481000001</c:v>
                </c:pt>
                <c:pt idx="63">
                  <c:v>0.10127531636999999</c:v>
                </c:pt>
                <c:pt idx="64">
                  <c:v>-0.23515773216999999</c:v>
                </c:pt>
                <c:pt idx="65">
                  <c:v>-2.530667902E-2</c:v>
                </c:pt>
                <c:pt idx="66">
                  <c:v>-0.28766174728999999</c:v>
                </c:pt>
                <c:pt idx="67">
                  <c:v>0.27072214716999998</c:v>
                </c:pt>
                <c:pt idx="68">
                  <c:v>-0.28498543221</c:v>
                </c:pt>
                <c:pt idx="69">
                  <c:v>0.54423945894000003</c:v>
                </c:pt>
                <c:pt idx="70">
                  <c:v>-0.19484037546999999</c:v>
                </c:pt>
                <c:pt idx="71">
                  <c:v>0.63494239286999998</c:v>
                </c:pt>
                <c:pt idx="72">
                  <c:v>-0.13345386372000001</c:v>
                </c:pt>
                <c:pt idx="73">
                  <c:v>0.39537336053</c:v>
                </c:pt>
                <c:pt idx="74">
                  <c:v>0.21776362727000001</c:v>
                </c:pt>
                <c:pt idx="75">
                  <c:v>-3.3793322309999999E-2</c:v>
                </c:pt>
                <c:pt idx="76">
                  <c:v>0.15046059685999999</c:v>
                </c:pt>
                <c:pt idx="77">
                  <c:v>0.28948264358999998</c:v>
                </c:pt>
                <c:pt idx="78">
                  <c:v>7.7276115679999993E-2</c:v>
                </c:pt>
                <c:pt idx="79">
                  <c:v>3.149295614E-2</c:v>
                </c:pt>
                <c:pt idx="80">
                  <c:v>-3.1763709300000002E-3</c:v>
                </c:pt>
                <c:pt idx="81">
                  <c:v>0.20610868330000001</c:v>
                </c:pt>
                <c:pt idx="82">
                  <c:v>-0.21666818639999999</c:v>
                </c:pt>
                <c:pt idx="83">
                  <c:v>5.0134872599999998E-2</c:v>
                </c:pt>
                <c:pt idx="84">
                  <c:v>-0.14382079672</c:v>
                </c:pt>
                <c:pt idx="85">
                  <c:v>-8.9786940019999997E-2</c:v>
                </c:pt>
                <c:pt idx="86">
                  <c:v>-0.29416965637999998</c:v>
                </c:pt>
                <c:pt idx="87">
                  <c:v>-9.6412734639999997E-2</c:v>
                </c:pt>
                <c:pt idx="88">
                  <c:v>-0.42069070315000001</c:v>
                </c:pt>
                <c:pt idx="89">
                  <c:v>-2.6581526580000001E-2</c:v>
                </c:pt>
                <c:pt idx="90">
                  <c:v>-0.38181701058</c:v>
                </c:pt>
                <c:pt idx="91">
                  <c:v>0.26446339185000001</c:v>
                </c:pt>
                <c:pt idx="92">
                  <c:v>-0.41438909974999999</c:v>
                </c:pt>
                <c:pt idx="93">
                  <c:v>0.17032064251000001</c:v>
                </c:pt>
                <c:pt idx="94">
                  <c:v>-0.29825692169000001</c:v>
                </c:pt>
                <c:pt idx="95">
                  <c:v>0.32473838525999998</c:v>
                </c:pt>
                <c:pt idx="96">
                  <c:v>-0.31151218879999998</c:v>
                </c:pt>
                <c:pt idx="97">
                  <c:v>7.4205181100000003E-2</c:v>
                </c:pt>
                <c:pt idx="98">
                  <c:v>-0.25546092225</c:v>
                </c:pt>
                <c:pt idx="99">
                  <c:v>-0.1067937701</c:v>
                </c:pt>
                <c:pt idx="100">
                  <c:v>-0.34664651101999999</c:v>
                </c:pt>
                <c:pt idx="101">
                  <c:v>-2.3414773900000001E-2</c:v>
                </c:pt>
                <c:pt idx="102">
                  <c:v>-0.32992962331999998</c:v>
                </c:pt>
                <c:pt idx="103">
                  <c:v>4.8160206509999998E-2</c:v>
                </c:pt>
                <c:pt idx="104">
                  <c:v>-0.24486388717999999</c:v>
                </c:pt>
                <c:pt idx="105">
                  <c:v>0.36885009369999999</c:v>
                </c:pt>
                <c:pt idx="106">
                  <c:v>-0.30168872660000001</c:v>
                </c:pt>
                <c:pt idx="107">
                  <c:v>0.33289672921000002</c:v>
                </c:pt>
                <c:pt idx="108">
                  <c:v>-0.14185959252999999</c:v>
                </c:pt>
                <c:pt idx="109">
                  <c:v>0.38468094203999997</c:v>
                </c:pt>
                <c:pt idx="110">
                  <c:v>-0.105610468</c:v>
                </c:pt>
                <c:pt idx="111">
                  <c:v>0.15726809677</c:v>
                </c:pt>
                <c:pt idx="112">
                  <c:v>-2.243094596E-2</c:v>
                </c:pt>
                <c:pt idx="113">
                  <c:v>-4.8544995370000003E-2</c:v>
                </c:pt>
                <c:pt idx="114">
                  <c:v>0.25962648274</c:v>
                </c:pt>
                <c:pt idx="115">
                  <c:v>6.5072530619999999E-2</c:v>
                </c:pt>
                <c:pt idx="116">
                  <c:v>9.3564263250000002E-2</c:v>
                </c:pt>
                <c:pt idx="117">
                  <c:v>0.17827724838</c:v>
                </c:pt>
                <c:pt idx="118">
                  <c:v>-9.4161978310000005E-2</c:v>
                </c:pt>
                <c:pt idx="119">
                  <c:v>0.48320632221999998</c:v>
                </c:pt>
                <c:pt idx="120">
                  <c:v>-0.19932943158999999</c:v>
                </c:pt>
                <c:pt idx="121">
                  <c:v>5.9338111210000002E-2</c:v>
                </c:pt>
                <c:pt idx="122">
                  <c:v>-0.34761062658000003</c:v>
                </c:pt>
                <c:pt idx="123">
                  <c:v>9.364632413E-2</c:v>
                </c:pt>
                <c:pt idx="124">
                  <c:v>-8.03494628E-3</c:v>
                </c:pt>
                <c:pt idx="125">
                  <c:v>9.7595173399999999E-2</c:v>
                </c:pt>
                <c:pt idx="126">
                  <c:v>-4.0885280240000002E-2</c:v>
                </c:pt>
                <c:pt idx="127">
                  <c:v>-4.092129689E-2</c:v>
                </c:pt>
                <c:pt idx="128">
                  <c:v>9.2370505739999997E-2</c:v>
                </c:pt>
                <c:pt idx="129">
                  <c:v>0.22283821582999999</c:v>
                </c:pt>
                <c:pt idx="130">
                  <c:v>0.46759558948000002</c:v>
                </c:pt>
                <c:pt idx="131">
                  <c:v>-0.13720217738000001</c:v>
                </c:pt>
                <c:pt idx="132">
                  <c:v>0.28741462179999999</c:v>
                </c:pt>
                <c:pt idx="133">
                  <c:v>-0.11974146273</c:v>
                </c:pt>
                <c:pt idx="134">
                  <c:v>0.60511705280000005</c:v>
                </c:pt>
                <c:pt idx="135">
                  <c:v>0.13980736843</c:v>
                </c:pt>
                <c:pt idx="136">
                  <c:v>0.70202172974999999</c:v>
                </c:pt>
                <c:pt idx="137">
                  <c:v>0.1695873403</c:v>
                </c:pt>
                <c:pt idx="138">
                  <c:v>0.29476406514999998</c:v>
                </c:pt>
                <c:pt idx="139">
                  <c:v>0.60532916380000001</c:v>
                </c:pt>
                <c:pt idx="140">
                  <c:v>0.37864189394999997</c:v>
                </c:pt>
                <c:pt idx="141">
                  <c:v>0.82589413222999997</c:v>
                </c:pt>
                <c:pt idx="142">
                  <c:v>0.15558562461</c:v>
                </c:pt>
                <c:pt idx="143">
                  <c:v>0.11093344912</c:v>
                </c:pt>
                <c:pt idx="144">
                  <c:v>0.20433484224000001</c:v>
                </c:pt>
                <c:pt idx="145">
                  <c:v>9.7158457549999994E-2</c:v>
                </c:pt>
                <c:pt idx="146">
                  <c:v>0.16260192881999999</c:v>
                </c:pt>
                <c:pt idx="147">
                  <c:v>4.8686366600000003E-2</c:v>
                </c:pt>
                <c:pt idx="148">
                  <c:v>0.26667520598</c:v>
                </c:pt>
                <c:pt idx="149">
                  <c:v>-0.12011760147</c:v>
                </c:pt>
                <c:pt idx="150">
                  <c:v>0.36604846067000002</c:v>
                </c:pt>
                <c:pt idx="151">
                  <c:v>2.801039562E-2</c:v>
                </c:pt>
                <c:pt idx="152">
                  <c:v>2.4293359130000001E-2</c:v>
                </c:pt>
                <c:pt idx="153">
                  <c:v>0.14412574272000001</c:v>
                </c:pt>
                <c:pt idx="154">
                  <c:v>0.26004797459000001</c:v>
                </c:pt>
                <c:pt idx="155">
                  <c:v>5.644059446E-2</c:v>
                </c:pt>
                <c:pt idx="156">
                  <c:v>-6.1455658410000003E-2</c:v>
                </c:pt>
                <c:pt idx="157">
                  <c:v>0.21985731493999999</c:v>
                </c:pt>
                <c:pt idx="158">
                  <c:v>0.25891034322000001</c:v>
                </c:pt>
                <c:pt idx="159">
                  <c:v>0.15758595712000001</c:v>
                </c:pt>
                <c:pt idx="160">
                  <c:v>-3.3235579729999999E-2</c:v>
                </c:pt>
                <c:pt idx="161">
                  <c:v>3.7681752500000002E-3</c:v>
                </c:pt>
                <c:pt idx="162">
                  <c:v>9.8235171120000006E-2</c:v>
                </c:pt>
                <c:pt idx="163">
                  <c:v>0.26469888611999998</c:v>
                </c:pt>
                <c:pt idx="164">
                  <c:v>-3.5924470600000001E-2</c:v>
                </c:pt>
                <c:pt idx="165">
                  <c:v>0.18327092778000001</c:v>
                </c:pt>
                <c:pt idx="166">
                  <c:v>0.1205587566</c:v>
                </c:pt>
                <c:pt idx="167">
                  <c:v>0.65027753798999999</c:v>
                </c:pt>
                <c:pt idx="168">
                  <c:v>4.3896261780000001E-2</c:v>
                </c:pt>
                <c:pt idx="169">
                  <c:v>0.60724862723999995</c:v>
                </c:pt>
                <c:pt idx="170">
                  <c:v>-0.10366421766</c:v>
                </c:pt>
                <c:pt idx="171">
                  <c:v>0.18854039416000001</c:v>
                </c:pt>
                <c:pt idx="172">
                  <c:v>-0.12549467047999999</c:v>
                </c:pt>
                <c:pt idx="173">
                  <c:v>0.20413186731999999</c:v>
                </c:pt>
                <c:pt idx="174">
                  <c:v>-0.15105730920999999</c:v>
                </c:pt>
                <c:pt idx="175">
                  <c:v>4.8198779240000003E-2</c:v>
                </c:pt>
                <c:pt idx="176">
                  <c:v>-0.18267876378</c:v>
                </c:pt>
                <c:pt idx="177">
                  <c:v>-7.1994628419999998E-2</c:v>
                </c:pt>
                <c:pt idx="178">
                  <c:v>-6.8085596770000006E-2</c:v>
                </c:pt>
                <c:pt idx="179">
                  <c:v>-5.054845686E-2</c:v>
                </c:pt>
                <c:pt idx="180">
                  <c:v>-2.7730974669999998E-2</c:v>
                </c:pt>
                <c:pt idx="181">
                  <c:v>-0.15016676770000001</c:v>
                </c:pt>
                <c:pt idx="182">
                  <c:v>-5.0838841799999999E-2</c:v>
                </c:pt>
                <c:pt idx="183">
                  <c:v>-0.15386434431000001</c:v>
                </c:pt>
                <c:pt idx="184">
                  <c:v>-8.5289577879999995E-2</c:v>
                </c:pt>
                <c:pt idx="185">
                  <c:v>-0.14194044616000001</c:v>
                </c:pt>
                <c:pt idx="186">
                  <c:v>-0.12297366019</c:v>
                </c:pt>
                <c:pt idx="187">
                  <c:v>-0.10701854341</c:v>
                </c:pt>
                <c:pt idx="188">
                  <c:v>-0.15865845597</c:v>
                </c:pt>
                <c:pt idx="189">
                  <c:v>1.176847539E-2</c:v>
                </c:pt>
                <c:pt idx="190">
                  <c:v>-0.17756106879</c:v>
                </c:pt>
                <c:pt idx="191">
                  <c:v>6.7965703299999996E-3</c:v>
                </c:pt>
                <c:pt idx="192">
                  <c:v>-8.3414211079999995E-2</c:v>
                </c:pt>
                <c:pt idx="193">
                  <c:v>1.27800421E-2</c:v>
                </c:pt>
                <c:pt idx="194">
                  <c:v>-7.9320447779999997E-2</c:v>
                </c:pt>
                <c:pt idx="195">
                  <c:v>0.15485805549000001</c:v>
                </c:pt>
                <c:pt idx="196">
                  <c:v>8.9797789200000006E-3</c:v>
                </c:pt>
                <c:pt idx="197">
                  <c:v>0.14799383418000001</c:v>
                </c:pt>
                <c:pt idx="198">
                  <c:v>1.988409163E-2</c:v>
                </c:pt>
                <c:pt idx="199">
                  <c:v>1.5918115359999999E-2</c:v>
                </c:pt>
                <c:pt idx="200">
                  <c:v>-2.285863799E-2</c:v>
                </c:pt>
                <c:pt idx="201">
                  <c:v>0.13235057067</c:v>
                </c:pt>
                <c:pt idx="202">
                  <c:v>-0.12031005609000001</c:v>
                </c:pt>
                <c:pt idx="203">
                  <c:v>-0.11785855227</c:v>
                </c:pt>
                <c:pt idx="204">
                  <c:v>-0.11121509031</c:v>
                </c:pt>
                <c:pt idx="205">
                  <c:v>7.280747756E-2</c:v>
                </c:pt>
                <c:pt idx="206">
                  <c:v>-0.11468589994</c:v>
                </c:pt>
                <c:pt idx="207">
                  <c:v>0.21443300647999999</c:v>
                </c:pt>
                <c:pt idx="208">
                  <c:v>1.7482008069999999E-2</c:v>
                </c:pt>
                <c:pt idx="209">
                  <c:v>4.318479184E-2</c:v>
                </c:pt>
                <c:pt idx="210">
                  <c:v>0.30694408212000002</c:v>
                </c:pt>
                <c:pt idx="211">
                  <c:v>5.8711461469999997E-2</c:v>
                </c:pt>
                <c:pt idx="212">
                  <c:v>0.15299769292000001</c:v>
                </c:pt>
                <c:pt idx="213">
                  <c:v>-0.18577451302</c:v>
                </c:pt>
                <c:pt idx="214">
                  <c:v>0.22484526149</c:v>
                </c:pt>
                <c:pt idx="215">
                  <c:v>-0.14487618560000001</c:v>
                </c:pt>
                <c:pt idx="216">
                  <c:v>1.879980035E-2</c:v>
                </c:pt>
                <c:pt idx="217">
                  <c:v>0.55027908579999996</c:v>
                </c:pt>
                <c:pt idx="218">
                  <c:v>0.3465957804</c:v>
                </c:pt>
                <c:pt idx="219">
                  <c:v>0.27755450535999998</c:v>
                </c:pt>
                <c:pt idx="220">
                  <c:v>1.138678494E-2</c:v>
                </c:pt>
                <c:pt idx="221">
                  <c:v>0.76713525554999995</c:v>
                </c:pt>
                <c:pt idx="222">
                  <c:v>9.897683098E-2</c:v>
                </c:pt>
                <c:pt idx="223">
                  <c:v>-0.31992399918999997</c:v>
                </c:pt>
                <c:pt idx="224">
                  <c:v>0.40790152044</c:v>
                </c:pt>
                <c:pt idx="225">
                  <c:v>-0.12213550951</c:v>
                </c:pt>
                <c:pt idx="226">
                  <c:v>0.20833797701000001</c:v>
                </c:pt>
                <c:pt idx="227">
                  <c:v>-0.15020929002</c:v>
                </c:pt>
                <c:pt idx="228">
                  <c:v>0.17932268680999999</c:v>
                </c:pt>
                <c:pt idx="229">
                  <c:v>7.4067678309999996E-2</c:v>
                </c:pt>
                <c:pt idx="230">
                  <c:v>0.23844155841</c:v>
                </c:pt>
                <c:pt idx="231">
                  <c:v>0.42470614333000001</c:v>
                </c:pt>
                <c:pt idx="232">
                  <c:v>0.28366371842999999</c:v>
                </c:pt>
                <c:pt idx="233">
                  <c:v>0.15962058065000001</c:v>
                </c:pt>
                <c:pt idx="234">
                  <c:v>0.36950910087</c:v>
                </c:pt>
                <c:pt idx="235">
                  <c:v>0.48803956010999999</c:v>
                </c:pt>
                <c:pt idx="236">
                  <c:v>-0.24830480191000001</c:v>
                </c:pt>
                <c:pt idx="237">
                  <c:v>0.46785601838000002</c:v>
                </c:pt>
                <c:pt idx="238">
                  <c:v>-0.13106238893</c:v>
                </c:pt>
                <c:pt idx="239">
                  <c:v>0.27301666252000001</c:v>
                </c:pt>
                <c:pt idx="240">
                  <c:v>-0.22251711902999999</c:v>
                </c:pt>
                <c:pt idx="241">
                  <c:v>0.67441393695999996</c:v>
                </c:pt>
                <c:pt idx="242">
                  <c:v>-0.26692650330000001</c:v>
                </c:pt>
                <c:pt idx="243">
                  <c:v>0.12085689803000001</c:v>
                </c:pt>
                <c:pt idx="244">
                  <c:v>-0.39266341729999998</c:v>
                </c:pt>
                <c:pt idx="245">
                  <c:v>0.51953014118999996</c:v>
                </c:pt>
                <c:pt idx="246">
                  <c:v>-0.23138728845000001</c:v>
                </c:pt>
                <c:pt idx="247">
                  <c:v>-0.32114043063999997</c:v>
                </c:pt>
                <c:pt idx="248">
                  <c:v>-0.37244459149999998</c:v>
                </c:pt>
                <c:pt idx="249">
                  <c:v>-0.36201877938999999</c:v>
                </c:pt>
                <c:pt idx="250">
                  <c:v>-0.44844535895999998</c:v>
                </c:pt>
                <c:pt idx="251">
                  <c:v>-0.375</c:v>
                </c:pt>
                <c:pt idx="252">
                  <c:v>0.43352092867999997</c:v>
                </c:pt>
                <c:pt idx="253">
                  <c:v>-0.48021181078000003</c:v>
                </c:pt>
                <c:pt idx="254">
                  <c:v>0.23320229391</c:v>
                </c:pt>
                <c:pt idx="255">
                  <c:v>-0.30636355170000001</c:v>
                </c:pt>
                <c:pt idx="256">
                  <c:v>-0.25476001586000002</c:v>
                </c:pt>
                <c:pt idx="257">
                  <c:v>0</c:v>
                </c:pt>
                <c:pt idx="258">
                  <c:v>-0.26808899332000002</c:v>
                </c:pt>
                <c:pt idx="259">
                  <c:v>-5.5293044880000003E-2</c:v>
                </c:pt>
                <c:pt idx="260">
                  <c:v>1.10535091712</c:v>
                </c:pt>
                <c:pt idx="261">
                  <c:v>-7.5958353039999996E-2</c:v>
                </c:pt>
                <c:pt idx="262">
                  <c:v>-0.11147976112999999</c:v>
                </c:pt>
                <c:pt idx="263">
                  <c:v>0</c:v>
                </c:pt>
                <c:pt idx="264">
                  <c:v>1.2511729710000001E-2</c:v>
                </c:pt>
                <c:pt idx="265">
                  <c:v>-3.259911888E-2</c:v>
                </c:pt>
                <c:pt idx="266">
                  <c:v>0.87755875656000004</c:v>
                </c:pt>
                <c:pt idx="267">
                  <c:v>-0.18802074231999999</c:v>
                </c:pt>
                <c:pt idx="268">
                  <c:v>2.1530398320800002</c:v>
                </c:pt>
                <c:pt idx="269">
                  <c:v>-0.18760907506999999</c:v>
                </c:pt>
                <c:pt idx="270">
                  <c:v>1.7194528174099999</c:v>
                </c:pt>
                <c:pt idx="271">
                  <c:v>4.528763769E-2</c:v>
                </c:pt>
                <c:pt idx="272">
                  <c:v>0.20181718068999999</c:v>
                </c:pt>
                <c:pt idx="273">
                  <c:v>0.30536814314999999</c:v>
                </c:pt>
                <c:pt idx="274">
                  <c:v>-0.40685354076000002</c:v>
                </c:pt>
                <c:pt idx="275">
                  <c:v>0</c:v>
                </c:pt>
                <c:pt idx="276">
                  <c:v>-0.24095506206</c:v>
                </c:pt>
                <c:pt idx="277">
                  <c:v>0</c:v>
                </c:pt>
                <c:pt idx="278">
                  <c:v>-0.16591928254999999</c:v>
                </c:pt>
                <c:pt idx="279">
                  <c:v>0</c:v>
                </c:pt>
                <c:pt idx="280">
                  <c:v>-0.64623786407999995</c:v>
                </c:pt>
                <c:pt idx="281">
                  <c:v>0</c:v>
                </c:pt>
                <c:pt idx="282">
                  <c:v>-0.53681710214</c:v>
                </c:pt>
                <c:pt idx="283">
                  <c:v>0</c:v>
                </c:pt>
                <c:pt idx="284">
                  <c:v>0</c:v>
                </c:pt>
                <c:pt idx="285">
                  <c:v>-0.11060640479</c:v>
                </c:pt>
                <c:pt idx="286">
                  <c:v>-0.79052267641999996</c:v>
                </c:pt>
                <c:pt idx="287">
                  <c:v>0</c:v>
                </c:pt>
                <c:pt idx="288">
                  <c:v>-0.85367372354000004</c:v>
                </c:pt>
                <c:pt idx="289">
                  <c:v>0</c:v>
                </c:pt>
                <c:pt idx="290">
                  <c:v>-0.84548335975</c:v>
                </c:pt>
                <c:pt idx="291">
                  <c:v>0</c:v>
                </c:pt>
                <c:pt idx="292">
                  <c:v>-0.67098214286000002</c:v>
                </c:pt>
                <c:pt idx="293">
                  <c:v>0</c:v>
                </c:pt>
                <c:pt idx="294">
                  <c:v>-0.34044715449000001</c:v>
                </c:pt>
                <c:pt idx="295">
                  <c:v>0</c:v>
                </c:pt>
                <c:pt idx="296">
                  <c:v>-0.47695390781000002</c:v>
                </c:pt>
                <c:pt idx="297">
                  <c:v>0</c:v>
                </c:pt>
                <c:pt idx="298">
                  <c:v>-0.60462427750000003</c:v>
                </c:pt>
                <c:pt idx="299">
                  <c:v>0</c:v>
                </c:pt>
                <c:pt idx="300">
                  <c:v>-0.69250985545999999</c:v>
                </c:pt>
                <c:pt idx="301">
                  <c:v>-0.66402116408</c:v>
                </c:pt>
                <c:pt idx="302">
                  <c:v>0</c:v>
                </c:pt>
                <c:pt idx="303">
                  <c:v>0</c:v>
                </c:pt>
                <c:pt idx="304">
                  <c:v>-0.69769989051000003</c:v>
                </c:pt>
                <c:pt idx="305">
                  <c:v>-7.3120494300000005E-2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-0.56152125282999998</c:v>
                </c:pt>
                <c:pt idx="313">
                  <c:v>0</c:v>
                </c:pt>
                <c:pt idx="314">
                  <c:v>-0.85645272604</c:v>
                </c:pt>
                <c:pt idx="315">
                  <c:v>-0.28484024462000002</c:v>
                </c:pt>
                <c:pt idx="316">
                  <c:v>-0.84122042341000003</c:v>
                </c:pt>
                <c:pt idx="317">
                  <c:v>-1.557285884E-2</c:v>
                </c:pt>
                <c:pt idx="318">
                  <c:v>-0.83042735044000004</c:v>
                </c:pt>
                <c:pt idx="319">
                  <c:v>0</c:v>
                </c:pt>
                <c:pt idx="320">
                  <c:v>2.9661016910000001E-2</c:v>
                </c:pt>
                <c:pt idx="321">
                  <c:v>-0.22888888885</c:v>
                </c:pt>
                <c:pt idx="322">
                  <c:v>-0.59806708357000005</c:v>
                </c:pt>
                <c:pt idx="323">
                  <c:v>-0.30966684871</c:v>
                </c:pt>
                <c:pt idx="324">
                  <c:v>-0.59565447807000005</c:v>
                </c:pt>
                <c:pt idx="325">
                  <c:v>-0.23692992214</c:v>
                </c:pt>
                <c:pt idx="326">
                  <c:v>0</c:v>
                </c:pt>
                <c:pt idx="327">
                  <c:v>-0.64512338432000005</c:v>
                </c:pt>
                <c:pt idx="328">
                  <c:v>0</c:v>
                </c:pt>
                <c:pt idx="329">
                  <c:v>-0.43226684817</c:v>
                </c:pt>
                <c:pt idx="330">
                  <c:v>-0.88007736945000004</c:v>
                </c:pt>
                <c:pt idx="331">
                  <c:v>0.19974795211999999</c:v>
                </c:pt>
                <c:pt idx="332">
                  <c:v>0</c:v>
                </c:pt>
                <c:pt idx="333">
                  <c:v>-5.4146675679999999E-2</c:v>
                </c:pt>
                <c:pt idx="334">
                  <c:v>0.15925394555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-0.48699421964</c:v>
                </c:pt>
                <c:pt idx="339">
                  <c:v>0</c:v>
                </c:pt>
                <c:pt idx="340">
                  <c:v>-0.71220260938000002</c:v>
                </c:pt>
                <c:pt idx="341">
                  <c:v>0</c:v>
                </c:pt>
                <c:pt idx="342">
                  <c:v>-0.76397515528000004</c:v>
                </c:pt>
                <c:pt idx="343">
                  <c:v>0</c:v>
                </c:pt>
                <c:pt idx="344">
                  <c:v>-0.78165938865999995</c:v>
                </c:pt>
                <c:pt idx="345">
                  <c:v>0</c:v>
                </c:pt>
                <c:pt idx="346">
                  <c:v>-0.42134062928999999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-0.74459974587</c:v>
                </c:pt>
                <c:pt idx="354">
                  <c:v>3.28731094E-3</c:v>
                </c:pt>
                <c:pt idx="355">
                  <c:v>-0.71371504662999996</c:v>
                </c:pt>
                <c:pt idx="356">
                  <c:v>6.1484099039999997E-2</c:v>
                </c:pt>
                <c:pt idx="357">
                  <c:v>-0.71980676330000004</c:v>
                </c:pt>
                <c:pt idx="358">
                  <c:v>1.7572559371200001</c:v>
                </c:pt>
                <c:pt idx="359">
                  <c:v>-0.64387096776999997</c:v>
                </c:pt>
                <c:pt idx="360">
                  <c:v>4.7428189760000003E-2</c:v>
                </c:pt>
                <c:pt idx="361">
                  <c:v>-0.48268974708000001</c:v>
                </c:pt>
                <c:pt idx="362">
                  <c:v>8.0645161100000001E-2</c:v>
                </c:pt>
                <c:pt idx="363">
                  <c:v>0</c:v>
                </c:pt>
                <c:pt idx="364">
                  <c:v>-0.54484933440000005</c:v>
                </c:pt>
                <c:pt idx="365">
                  <c:v>0</c:v>
                </c:pt>
                <c:pt idx="366">
                  <c:v>-0.73886516183999995</c:v>
                </c:pt>
                <c:pt idx="367">
                  <c:v>0</c:v>
                </c:pt>
                <c:pt idx="368">
                  <c:v>-0.7549707604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.16309669524000001</c:v>
                </c:pt>
                <c:pt idx="385">
                  <c:v>0</c:v>
                </c:pt>
                <c:pt idx="386">
                  <c:v>6.1109546620000003E-2</c:v>
                </c:pt>
                <c:pt idx="387">
                  <c:v>0</c:v>
                </c:pt>
                <c:pt idx="388">
                  <c:v>-0.45951920418999997</c:v>
                </c:pt>
                <c:pt idx="389">
                  <c:v>0</c:v>
                </c:pt>
                <c:pt idx="390">
                  <c:v>-0.43430347559999999</c:v>
                </c:pt>
                <c:pt idx="391">
                  <c:v>0</c:v>
                </c:pt>
                <c:pt idx="392">
                  <c:v>-0.24544666098000001</c:v>
                </c:pt>
                <c:pt idx="393">
                  <c:v>-0.28705345839000002</c:v>
                </c:pt>
                <c:pt idx="394">
                  <c:v>-0.18502538072999999</c:v>
                </c:pt>
                <c:pt idx="395">
                  <c:v>-0.49227373071000002</c:v>
                </c:pt>
                <c:pt idx="396">
                  <c:v>6.8811438830000002E-2</c:v>
                </c:pt>
                <c:pt idx="397">
                  <c:v>-0.46151452281999999</c:v>
                </c:pt>
                <c:pt idx="398">
                  <c:v>0.20057720055</c:v>
                </c:pt>
                <c:pt idx="399">
                  <c:v>-0.59116347571000005</c:v>
                </c:pt>
                <c:pt idx="400">
                  <c:v>0</c:v>
                </c:pt>
                <c:pt idx="401">
                  <c:v>-0.35334375543000002</c:v>
                </c:pt>
                <c:pt idx="402">
                  <c:v>0</c:v>
                </c:pt>
                <c:pt idx="403">
                  <c:v>0.14719271631</c:v>
                </c:pt>
                <c:pt idx="404">
                  <c:v>-0.45378402634999998</c:v>
                </c:pt>
                <c:pt idx="405">
                  <c:v>0.38344827588000002</c:v>
                </c:pt>
                <c:pt idx="406">
                  <c:v>-0.3840545253</c:v>
                </c:pt>
                <c:pt idx="407">
                  <c:v>0.90356737097999995</c:v>
                </c:pt>
                <c:pt idx="408">
                  <c:v>-0.66597481668000003</c:v>
                </c:pt>
                <c:pt idx="409">
                  <c:v>4.8300047551</c:v>
                </c:pt>
                <c:pt idx="410">
                  <c:v>-0.72117026059</c:v>
                </c:pt>
                <c:pt idx="411">
                  <c:v>1.94552770044</c:v>
                </c:pt>
                <c:pt idx="412">
                  <c:v>-0.43919454892999998</c:v>
                </c:pt>
                <c:pt idx="413">
                  <c:v>2.1569965870100001</c:v>
                </c:pt>
                <c:pt idx="414">
                  <c:v>-0.54690069060000002</c:v>
                </c:pt>
                <c:pt idx="415">
                  <c:v>1.10273177416</c:v>
                </c:pt>
                <c:pt idx="416">
                  <c:v>0.55568181794000004</c:v>
                </c:pt>
                <c:pt idx="417">
                  <c:v>0.30930827406</c:v>
                </c:pt>
                <c:pt idx="418">
                  <c:v>0.54704574001999995</c:v>
                </c:pt>
                <c:pt idx="419">
                  <c:v>0.22393683319999999</c:v>
                </c:pt>
                <c:pt idx="420">
                  <c:v>2.1420897049999998E-2</c:v>
                </c:pt>
                <c:pt idx="421">
                  <c:v>-5.3299263120000002E-2</c:v>
                </c:pt>
                <c:pt idx="422">
                  <c:v>0.21382935559999999</c:v>
                </c:pt>
                <c:pt idx="423">
                  <c:v>0.13508603026999999</c:v>
                </c:pt>
                <c:pt idx="424">
                  <c:v>9.6057336940000002E-2</c:v>
                </c:pt>
                <c:pt idx="425">
                  <c:v>0.37055665440000002</c:v>
                </c:pt>
                <c:pt idx="426">
                  <c:v>0.11634512972</c:v>
                </c:pt>
                <c:pt idx="427">
                  <c:v>0.60755209783999997</c:v>
                </c:pt>
                <c:pt idx="428">
                  <c:v>0.55651801446000004</c:v>
                </c:pt>
                <c:pt idx="429">
                  <c:v>2.0639958060599999</c:v>
                </c:pt>
                <c:pt idx="430">
                  <c:v>0.24430377266</c:v>
                </c:pt>
                <c:pt idx="431">
                  <c:v>2.5311436824700002</c:v>
                </c:pt>
                <c:pt idx="432">
                  <c:v>-0.18484723935</c:v>
                </c:pt>
                <c:pt idx="433">
                  <c:v>0.77620948203999995</c:v>
                </c:pt>
                <c:pt idx="434">
                  <c:v>-5.6705832150000003E-2</c:v>
                </c:pt>
                <c:pt idx="435">
                  <c:v>0.31705608951000003</c:v>
                </c:pt>
                <c:pt idx="436">
                  <c:v>-0.34116568291999999</c:v>
                </c:pt>
                <c:pt idx="437">
                  <c:v>-1.08957689E-3</c:v>
                </c:pt>
                <c:pt idx="438">
                  <c:v>-0.40698905218999998</c:v>
                </c:pt>
                <c:pt idx="439">
                  <c:v>-7.3194078110000005E-2</c:v>
                </c:pt>
                <c:pt idx="440">
                  <c:v>-0.29177876111000001</c:v>
                </c:pt>
                <c:pt idx="441">
                  <c:v>-6.6528393879999995E-2</c:v>
                </c:pt>
                <c:pt idx="442">
                  <c:v>-0.26058033142999998</c:v>
                </c:pt>
                <c:pt idx="443">
                  <c:v>-0.14683599633</c:v>
                </c:pt>
                <c:pt idx="444">
                  <c:v>-0.17424951934999999</c:v>
                </c:pt>
                <c:pt idx="445">
                  <c:v>-0.26689425064</c:v>
                </c:pt>
                <c:pt idx="446">
                  <c:v>5.615501446E-2</c:v>
                </c:pt>
                <c:pt idx="447">
                  <c:v>-0.30330597149999999</c:v>
                </c:pt>
                <c:pt idx="448">
                  <c:v>0.18239906268</c:v>
                </c:pt>
                <c:pt idx="449">
                  <c:v>-0.23962137356999999</c:v>
                </c:pt>
                <c:pt idx="450">
                  <c:v>6.4957794750000006E-2</c:v>
                </c:pt>
                <c:pt idx="451">
                  <c:v>-0.26712488895999997</c:v>
                </c:pt>
                <c:pt idx="452">
                  <c:v>-0.11895388409</c:v>
                </c:pt>
                <c:pt idx="453">
                  <c:v>-0.21361623732000001</c:v>
                </c:pt>
                <c:pt idx="454">
                  <c:v>4.3436362470000003E-2</c:v>
                </c:pt>
                <c:pt idx="455">
                  <c:v>-8.0837571770000005E-2</c:v>
                </c:pt>
                <c:pt idx="456">
                  <c:v>0.40604071201000003</c:v>
                </c:pt>
                <c:pt idx="457">
                  <c:v>5.2192850210000002E-2</c:v>
                </c:pt>
                <c:pt idx="458">
                  <c:v>0.32012995263999999</c:v>
                </c:pt>
                <c:pt idx="459">
                  <c:v>3.2903023060000001E-2</c:v>
                </c:pt>
                <c:pt idx="460">
                  <c:v>0.20141023919000001</c:v>
                </c:pt>
                <c:pt idx="461">
                  <c:v>0.16364770079999999</c:v>
                </c:pt>
                <c:pt idx="462">
                  <c:v>0.16174512243</c:v>
                </c:pt>
                <c:pt idx="463">
                  <c:v>0.17803237242</c:v>
                </c:pt>
                <c:pt idx="464">
                  <c:v>4.1126074829999998E-2</c:v>
                </c:pt>
                <c:pt idx="465">
                  <c:v>9.4118977970000003E-2</c:v>
                </c:pt>
                <c:pt idx="466">
                  <c:v>-2.0729331520000002E-2</c:v>
                </c:pt>
                <c:pt idx="467">
                  <c:v>0.25018928326000001</c:v>
                </c:pt>
                <c:pt idx="468">
                  <c:v>-8.6675735999999998E-4</c:v>
                </c:pt>
                <c:pt idx="469">
                  <c:v>0.38582274844999997</c:v>
                </c:pt>
                <c:pt idx="470">
                  <c:v>9.7979036510000006E-2</c:v>
                </c:pt>
                <c:pt idx="471">
                  <c:v>0.46918468351999998</c:v>
                </c:pt>
                <c:pt idx="472">
                  <c:v>9.2465286990000006E-2</c:v>
                </c:pt>
                <c:pt idx="473">
                  <c:v>0.58142058260999996</c:v>
                </c:pt>
                <c:pt idx="474">
                  <c:v>6.5866716850000007E-2</c:v>
                </c:pt>
                <c:pt idx="475">
                  <c:v>0.57530314463999999</c:v>
                </c:pt>
                <c:pt idx="476">
                  <c:v>6.3502965509999995E-2</c:v>
                </c:pt>
                <c:pt idx="477">
                  <c:v>0.30643738282999999</c:v>
                </c:pt>
                <c:pt idx="478">
                  <c:v>3.0094078890000001E-2</c:v>
                </c:pt>
                <c:pt idx="479">
                  <c:v>3.4020014539999997E-2</c:v>
                </c:pt>
                <c:pt idx="480">
                  <c:v>0.34252780360000001</c:v>
                </c:pt>
                <c:pt idx="481">
                  <c:v>-6.5227135160000005E-2</c:v>
                </c:pt>
                <c:pt idx="482">
                  <c:v>0.59937123836999995</c:v>
                </c:pt>
                <c:pt idx="483">
                  <c:v>-3.9390252149999999E-2</c:v>
                </c:pt>
                <c:pt idx="484">
                  <c:v>0.34857672220000002</c:v>
                </c:pt>
                <c:pt idx="485">
                  <c:v>-6.247996225E-2</c:v>
                </c:pt>
                <c:pt idx="486">
                  <c:v>0.47705372557999998</c:v>
                </c:pt>
                <c:pt idx="487">
                  <c:v>7.8362370249999994E-2</c:v>
                </c:pt>
                <c:pt idx="488">
                  <c:v>8.8267038670000006E-2</c:v>
                </c:pt>
                <c:pt idx="489">
                  <c:v>3.9630029779999999E-2</c:v>
                </c:pt>
                <c:pt idx="490">
                  <c:v>3.5480735030000002E-2</c:v>
                </c:pt>
                <c:pt idx="491">
                  <c:v>0.13203547900000001</c:v>
                </c:pt>
                <c:pt idx="492">
                  <c:v>1.134583225E-2</c:v>
                </c:pt>
                <c:pt idx="493">
                  <c:v>2.0162430410000001E-2</c:v>
                </c:pt>
                <c:pt idx="494">
                  <c:v>-7.8320258650000002E-2</c:v>
                </c:pt>
                <c:pt idx="495">
                  <c:v>-0.13422733274000001</c:v>
                </c:pt>
                <c:pt idx="496">
                  <c:v>0.28509626851999997</c:v>
                </c:pt>
                <c:pt idx="497">
                  <c:v>-0.27860833018999998</c:v>
                </c:pt>
                <c:pt idx="498">
                  <c:v>0.42950182913000001</c:v>
                </c:pt>
                <c:pt idx="499">
                  <c:v>-0.35517969659999998</c:v>
                </c:pt>
                <c:pt idx="500">
                  <c:v>0.23806515517999999</c:v>
                </c:pt>
                <c:pt idx="501">
                  <c:v>-0.28759200072000002</c:v>
                </c:pt>
                <c:pt idx="502">
                  <c:v>8.585313153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HOSP_do_7_dne_7dni_shift7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1.0372109</c:v>
                </c:pt>
                <c:pt idx="1">
                  <c:v>1.0652436000000001</c:v>
                </c:pt>
                <c:pt idx="2">
                  <c:v>1.1119648</c:v>
                </c:pt>
                <c:pt idx="3">
                  <c:v>0.98114539999999995</c:v>
                </c:pt>
                <c:pt idx="4">
                  <c:v>0.94376839999999995</c:v>
                </c:pt>
                <c:pt idx="5">
                  <c:v>1.1213090999999999</c:v>
                </c:pt>
                <c:pt idx="6">
                  <c:v>1.2240956999999999</c:v>
                </c:pt>
                <c:pt idx="7">
                  <c:v>1.3549150999999999</c:v>
                </c:pt>
                <c:pt idx="8">
                  <c:v>1.4857345</c:v>
                </c:pt>
                <c:pt idx="9">
                  <c:v>1.5324557000000001</c:v>
                </c:pt>
                <c:pt idx="10">
                  <c:v>1.5978654000000001</c:v>
                </c:pt>
                <c:pt idx="11">
                  <c:v>1.5885212</c:v>
                </c:pt>
                <c:pt idx="12">
                  <c:v>1.8875369</c:v>
                </c:pt>
                <c:pt idx="13">
                  <c:v>2.0463890999999998</c:v>
                </c:pt>
                <c:pt idx="14">
                  <c:v>2.1491756999999998</c:v>
                </c:pt>
                <c:pt idx="15">
                  <c:v>2.1865527</c:v>
                </c:pt>
                <c:pt idx="16">
                  <c:v>2.2986835999999999</c:v>
                </c:pt>
                <c:pt idx="17">
                  <c:v>2.4668800000000002</c:v>
                </c:pt>
                <c:pt idx="18">
                  <c:v>2.5603224</c:v>
                </c:pt>
                <c:pt idx="19">
                  <c:v>2.8686824</c:v>
                </c:pt>
                <c:pt idx="20">
                  <c:v>3.3639272999999998</c:v>
                </c:pt>
                <c:pt idx="21">
                  <c:v>3.7937623999999999</c:v>
                </c:pt>
                <c:pt idx="22">
                  <c:v>4.7468751999999999</c:v>
                </c:pt>
                <c:pt idx="23">
                  <c:v>5.1206449000000003</c:v>
                </c:pt>
                <c:pt idx="24">
                  <c:v>5.2608085000000004</c:v>
                </c:pt>
                <c:pt idx="25">
                  <c:v>5.3355623999999997</c:v>
                </c:pt>
                <c:pt idx="26">
                  <c:v>5.6532666999999996</c:v>
                </c:pt>
                <c:pt idx="27">
                  <c:v>6.3073636999999998</c:v>
                </c:pt>
                <c:pt idx="28">
                  <c:v>6.3821175999999999</c:v>
                </c:pt>
                <c:pt idx="29">
                  <c:v>7.0829357999999996</c:v>
                </c:pt>
                <c:pt idx="30">
                  <c:v>7.0455588000000002</c:v>
                </c:pt>
                <c:pt idx="31">
                  <c:v>7.2511321999999998</c:v>
                </c:pt>
                <c:pt idx="32">
                  <c:v>7.4380170000000003</c:v>
                </c:pt>
                <c:pt idx="33">
                  <c:v>7.9426060999999999</c:v>
                </c:pt>
                <c:pt idx="34">
                  <c:v>8.7462110000000006</c:v>
                </c:pt>
                <c:pt idx="35">
                  <c:v>9.3909637000000004</c:v>
                </c:pt>
                <c:pt idx="36">
                  <c:v>10.4468631</c:v>
                </c:pt>
                <c:pt idx="37">
                  <c:v>11.091615900000001</c:v>
                </c:pt>
                <c:pt idx="38">
                  <c:v>11.194402500000001</c:v>
                </c:pt>
                <c:pt idx="39">
                  <c:v>11.586860700000001</c:v>
                </c:pt>
                <c:pt idx="40">
                  <c:v>13.3996438</c:v>
                </c:pt>
                <c:pt idx="41">
                  <c:v>14.9975092</c:v>
                </c:pt>
                <c:pt idx="42">
                  <c:v>16.726194100000001</c:v>
                </c:pt>
                <c:pt idx="43">
                  <c:v>18.155863199999999</c:v>
                </c:pt>
                <c:pt idx="44">
                  <c:v>20.370448700000001</c:v>
                </c:pt>
                <c:pt idx="45">
                  <c:v>20.8656936</c:v>
                </c:pt>
                <c:pt idx="46">
                  <c:v>21.865527499999999</c:v>
                </c:pt>
                <c:pt idx="47">
                  <c:v>24.024047500000002</c:v>
                </c:pt>
                <c:pt idx="48">
                  <c:v>25.808797899999998</c:v>
                </c:pt>
                <c:pt idx="49">
                  <c:v>27.799121499999998</c:v>
                </c:pt>
                <c:pt idx="50">
                  <c:v>29.238134899999999</c:v>
                </c:pt>
                <c:pt idx="51">
                  <c:v>31.247146999999998</c:v>
                </c:pt>
                <c:pt idx="52">
                  <c:v>31.705014899999998</c:v>
                </c:pt>
                <c:pt idx="53">
                  <c:v>32.826324</c:v>
                </c:pt>
                <c:pt idx="54">
                  <c:v>36.769594400000003</c:v>
                </c:pt>
                <c:pt idx="55">
                  <c:v>39.713030799999999</c:v>
                </c:pt>
                <c:pt idx="56">
                  <c:v>43.366629600000003</c:v>
                </c:pt>
                <c:pt idx="57">
                  <c:v>45.805476900000002</c:v>
                </c:pt>
                <c:pt idx="58">
                  <c:v>48.599405500000003</c:v>
                </c:pt>
                <c:pt idx="59">
                  <c:v>49.786124299999997</c:v>
                </c:pt>
                <c:pt idx="60">
                  <c:v>50.3280903</c:v>
                </c:pt>
                <c:pt idx="61">
                  <c:v>54.6077534</c:v>
                </c:pt>
                <c:pt idx="62">
                  <c:v>56.943814000000003</c:v>
                </c:pt>
                <c:pt idx="63">
                  <c:v>57.177420099999999</c:v>
                </c:pt>
                <c:pt idx="64">
                  <c:v>57.093321899999999</c:v>
                </c:pt>
                <c:pt idx="65">
                  <c:v>58.195942500000001</c:v>
                </c:pt>
                <c:pt idx="66">
                  <c:v>56.654142499999999</c:v>
                </c:pt>
                <c:pt idx="67">
                  <c:v>54.252672199999999</c:v>
                </c:pt>
                <c:pt idx="68">
                  <c:v>56.962502499999999</c:v>
                </c:pt>
                <c:pt idx="69">
                  <c:v>57.4016819</c:v>
                </c:pt>
                <c:pt idx="70">
                  <c:v>57.027912200000003</c:v>
                </c:pt>
                <c:pt idx="71">
                  <c:v>58.1398771</c:v>
                </c:pt>
                <c:pt idx="72">
                  <c:v>56.934469800000002</c:v>
                </c:pt>
                <c:pt idx="73">
                  <c:v>53.196772799999998</c:v>
                </c:pt>
                <c:pt idx="74">
                  <c:v>50.197270899999999</c:v>
                </c:pt>
                <c:pt idx="75">
                  <c:v>51.5054649</c:v>
                </c:pt>
                <c:pt idx="76">
                  <c:v>49.832845499999998</c:v>
                </c:pt>
                <c:pt idx="77">
                  <c:v>48.1041606</c:v>
                </c:pt>
                <c:pt idx="78">
                  <c:v>45.347608999999999</c:v>
                </c:pt>
                <c:pt idx="79">
                  <c:v>43.2171217</c:v>
                </c:pt>
                <c:pt idx="80">
                  <c:v>39.563522900000002</c:v>
                </c:pt>
                <c:pt idx="81">
                  <c:v>36.993856200000003</c:v>
                </c:pt>
                <c:pt idx="82">
                  <c:v>40.283029599999999</c:v>
                </c:pt>
                <c:pt idx="83">
                  <c:v>38.1899193</c:v>
                </c:pt>
                <c:pt idx="84">
                  <c:v>36.461234400000002</c:v>
                </c:pt>
                <c:pt idx="85">
                  <c:v>34.153206500000003</c:v>
                </c:pt>
                <c:pt idx="86">
                  <c:v>32.312390700000002</c:v>
                </c:pt>
                <c:pt idx="87">
                  <c:v>28.892397899999999</c:v>
                </c:pt>
                <c:pt idx="88">
                  <c:v>27.4814173</c:v>
                </c:pt>
                <c:pt idx="89">
                  <c:v>29.6399373</c:v>
                </c:pt>
                <c:pt idx="90">
                  <c:v>28.313054900000001</c:v>
                </c:pt>
                <c:pt idx="91">
                  <c:v>28.929774900000002</c:v>
                </c:pt>
                <c:pt idx="92">
                  <c:v>28.051416100000001</c:v>
                </c:pt>
                <c:pt idx="93">
                  <c:v>26.7151894</c:v>
                </c:pt>
                <c:pt idx="94">
                  <c:v>24.958471800000002</c:v>
                </c:pt>
                <c:pt idx="95">
                  <c:v>24.2296209</c:v>
                </c:pt>
                <c:pt idx="96">
                  <c:v>26.556337299999999</c:v>
                </c:pt>
                <c:pt idx="97">
                  <c:v>26.771254899999999</c:v>
                </c:pt>
                <c:pt idx="98">
                  <c:v>25.575191799999999</c:v>
                </c:pt>
                <c:pt idx="99">
                  <c:v>25.257487600000001</c:v>
                </c:pt>
                <c:pt idx="100">
                  <c:v>25.117323899999999</c:v>
                </c:pt>
                <c:pt idx="101">
                  <c:v>24.622079100000001</c:v>
                </c:pt>
                <c:pt idx="102">
                  <c:v>24.220276599999998</c:v>
                </c:pt>
                <c:pt idx="103">
                  <c:v>26.948795499999999</c:v>
                </c:pt>
                <c:pt idx="104">
                  <c:v>27.4346961</c:v>
                </c:pt>
                <c:pt idx="105">
                  <c:v>27.7430561</c:v>
                </c:pt>
                <c:pt idx="106">
                  <c:v>28.256989399999998</c:v>
                </c:pt>
                <c:pt idx="107">
                  <c:v>28.135514300000001</c:v>
                </c:pt>
                <c:pt idx="108">
                  <c:v>26.902074299999999</c:v>
                </c:pt>
                <c:pt idx="109">
                  <c:v>26.079780899999999</c:v>
                </c:pt>
                <c:pt idx="110">
                  <c:v>29.696002799999999</c:v>
                </c:pt>
                <c:pt idx="111">
                  <c:v>29.920264599999999</c:v>
                </c:pt>
                <c:pt idx="112">
                  <c:v>30.200591899999999</c:v>
                </c:pt>
                <c:pt idx="113">
                  <c:v>29.6399373</c:v>
                </c:pt>
                <c:pt idx="114">
                  <c:v>29.789445199999999</c:v>
                </c:pt>
                <c:pt idx="115">
                  <c:v>28.948463400000001</c:v>
                </c:pt>
                <c:pt idx="116">
                  <c:v>29.069938499999999</c:v>
                </c:pt>
                <c:pt idx="117">
                  <c:v>32.284357999999997</c:v>
                </c:pt>
                <c:pt idx="118">
                  <c:v>32.265669500000001</c:v>
                </c:pt>
                <c:pt idx="119">
                  <c:v>33.031897399999998</c:v>
                </c:pt>
                <c:pt idx="120">
                  <c:v>30.546328800000001</c:v>
                </c:pt>
                <c:pt idx="121">
                  <c:v>29.4250197</c:v>
                </c:pt>
                <c:pt idx="122">
                  <c:v>28.742889999999999</c:v>
                </c:pt>
                <c:pt idx="123">
                  <c:v>29.957641599999999</c:v>
                </c:pt>
                <c:pt idx="124">
                  <c:v>34.8353362</c:v>
                </c:pt>
                <c:pt idx="125">
                  <c:v>37.601232000000003</c:v>
                </c:pt>
                <c:pt idx="126">
                  <c:v>40.217619900000003</c:v>
                </c:pt>
                <c:pt idx="127">
                  <c:v>41.152044099999998</c:v>
                </c:pt>
                <c:pt idx="128">
                  <c:v>42.292041699999999</c:v>
                </c:pt>
                <c:pt idx="129">
                  <c:v>44.487938700000001</c:v>
                </c:pt>
                <c:pt idx="130">
                  <c:v>45.5718709</c:v>
                </c:pt>
                <c:pt idx="131">
                  <c:v>48.991863600000002</c:v>
                </c:pt>
                <c:pt idx="132">
                  <c:v>50.655138800000003</c:v>
                </c:pt>
                <c:pt idx="133">
                  <c:v>50.599073400000002</c:v>
                </c:pt>
                <c:pt idx="134">
                  <c:v>49.795468499999998</c:v>
                </c:pt>
                <c:pt idx="135">
                  <c:v>49.692681800000003</c:v>
                </c:pt>
                <c:pt idx="136">
                  <c:v>50.823335200000002</c:v>
                </c:pt>
                <c:pt idx="137">
                  <c:v>48.692847899999997</c:v>
                </c:pt>
                <c:pt idx="138">
                  <c:v>49.944976400000002</c:v>
                </c:pt>
                <c:pt idx="139">
                  <c:v>48.7115364</c:v>
                </c:pt>
                <c:pt idx="140">
                  <c:v>45.2635109</c:v>
                </c:pt>
                <c:pt idx="141">
                  <c:v>41.778108400000001</c:v>
                </c:pt>
                <c:pt idx="142">
                  <c:v>39.647621100000002</c:v>
                </c:pt>
                <c:pt idx="143">
                  <c:v>36.442545899999999</c:v>
                </c:pt>
                <c:pt idx="144">
                  <c:v>34.199927700000003</c:v>
                </c:pt>
                <c:pt idx="145">
                  <c:v>36.461234400000002</c:v>
                </c:pt>
                <c:pt idx="146">
                  <c:v>35.947301000000003</c:v>
                </c:pt>
                <c:pt idx="147">
                  <c:v>34.629762800000002</c:v>
                </c:pt>
                <c:pt idx="148">
                  <c:v>33.685994299999997</c:v>
                </c:pt>
                <c:pt idx="149">
                  <c:v>34.143862200000001</c:v>
                </c:pt>
                <c:pt idx="150">
                  <c:v>32.013374900000002</c:v>
                </c:pt>
                <c:pt idx="151">
                  <c:v>31.303212500000001</c:v>
                </c:pt>
                <c:pt idx="152">
                  <c:v>33.583207700000003</c:v>
                </c:pt>
                <c:pt idx="153">
                  <c:v>33.489765200000001</c:v>
                </c:pt>
                <c:pt idx="154">
                  <c:v>32.835668300000002</c:v>
                </c:pt>
                <c:pt idx="155">
                  <c:v>33.013208900000002</c:v>
                </c:pt>
                <c:pt idx="156">
                  <c:v>33.115995499999997</c:v>
                </c:pt>
                <c:pt idx="157">
                  <c:v>31.041573700000001</c:v>
                </c:pt>
                <c:pt idx="158">
                  <c:v>30.695836700000001</c:v>
                </c:pt>
                <c:pt idx="159">
                  <c:v>34.059764000000001</c:v>
                </c:pt>
                <c:pt idx="160">
                  <c:v>35.022221000000002</c:v>
                </c:pt>
                <c:pt idx="161">
                  <c:v>34.583041600000001</c:v>
                </c:pt>
                <c:pt idx="162">
                  <c:v>34.461566500000004</c:v>
                </c:pt>
                <c:pt idx="163">
                  <c:v>34.433533699999998</c:v>
                </c:pt>
                <c:pt idx="164">
                  <c:v>32.901077999999998</c:v>
                </c:pt>
                <c:pt idx="165">
                  <c:v>32.676816100000003</c:v>
                </c:pt>
                <c:pt idx="166">
                  <c:v>34.938122800000002</c:v>
                </c:pt>
                <c:pt idx="167">
                  <c:v>35.283859800000002</c:v>
                </c:pt>
                <c:pt idx="168">
                  <c:v>34.807303400000002</c:v>
                </c:pt>
                <c:pt idx="169">
                  <c:v>35.162384699999997</c:v>
                </c:pt>
                <c:pt idx="170">
                  <c:v>34.9661556</c:v>
                </c:pt>
                <c:pt idx="171">
                  <c:v>33.190749500000003</c:v>
                </c:pt>
                <c:pt idx="172">
                  <c:v>32.6114064</c:v>
                </c:pt>
                <c:pt idx="173">
                  <c:v>36.255661000000003</c:v>
                </c:pt>
                <c:pt idx="174">
                  <c:v>38.694508300000003</c:v>
                </c:pt>
                <c:pt idx="175">
                  <c:v>38.573033199999998</c:v>
                </c:pt>
                <c:pt idx="176">
                  <c:v>39.385982300000002</c:v>
                </c:pt>
                <c:pt idx="177">
                  <c:v>40.479258700000003</c:v>
                </c:pt>
                <c:pt idx="178">
                  <c:v>39.778440500000002</c:v>
                </c:pt>
                <c:pt idx="179">
                  <c:v>40.012046499999997</c:v>
                </c:pt>
                <c:pt idx="180">
                  <c:v>44.422528999999997</c:v>
                </c:pt>
                <c:pt idx="181">
                  <c:v>45.917607799999999</c:v>
                </c:pt>
                <c:pt idx="182">
                  <c:v>46.048427199999999</c:v>
                </c:pt>
                <c:pt idx="183">
                  <c:v>47.767767900000003</c:v>
                </c:pt>
                <c:pt idx="184">
                  <c:v>48.833011499999998</c:v>
                </c:pt>
                <c:pt idx="185">
                  <c:v>46.917441799999999</c:v>
                </c:pt>
                <c:pt idx="186">
                  <c:v>46.300721799999998</c:v>
                </c:pt>
                <c:pt idx="187">
                  <c:v>51.131695200000003</c:v>
                </c:pt>
                <c:pt idx="188">
                  <c:v>52.439889100000002</c:v>
                </c:pt>
                <c:pt idx="189">
                  <c:v>52.196938799999998</c:v>
                </c:pt>
                <c:pt idx="190">
                  <c:v>51.804480599999998</c:v>
                </c:pt>
                <c:pt idx="191">
                  <c:v>50.384155800000002</c:v>
                </c:pt>
                <c:pt idx="192">
                  <c:v>48.421864800000002</c:v>
                </c:pt>
                <c:pt idx="193">
                  <c:v>47.805144800000001</c:v>
                </c:pt>
                <c:pt idx="194">
                  <c:v>51.253170300000001</c:v>
                </c:pt>
                <c:pt idx="195">
                  <c:v>50.262680600000003</c:v>
                </c:pt>
                <c:pt idx="196">
                  <c:v>48.702192099999998</c:v>
                </c:pt>
                <c:pt idx="197">
                  <c:v>47.1884248</c:v>
                </c:pt>
                <c:pt idx="198">
                  <c:v>48.963830899999998</c:v>
                </c:pt>
                <c:pt idx="199">
                  <c:v>46.9735072</c:v>
                </c:pt>
                <c:pt idx="200">
                  <c:v>44.833675700000001</c:v>
                </c:pt>
                <c:pt idx="201">
                  <c:v>48.141537599999999</c:v>
                </c:pt>
                <c:pt idx="202">
                  <c:v>48.4966188</c:v>
                </c:pt>
                <c:pt idx="203">
                  <c:v>48.216291499999997</c:v>
                </c:pt>
                <c:pt idx="204">
                  <c:v>47.076293900000003</c:v>
                </c:pt>
                <c:pt idx="205">
                  <c:v>46.440885399999999</c:v>
                </c:pt>
                <c:pt idx="206">
                  <c:v>41.712698699999997</c:v>
                </c:pt>
                <c:pt idx="207">
                  <c:v>39.750407799999998</c:v>
                </c:pt>
                <c:pt idx="208">
                  <c:v>42.759253899999997</c:v>
                </c:pt>
                <c:pt idx="209">
                  <c:v>42.142533800000002</c:v>
                </c:pt>
                <c:pt idx="210">
                  <c:v>40.404504699999997</c:v>
                </c:pt>
                <c:pt idx="211">
                  <c:v>38.815983500000002</c:v>
                </c:pt>
                <c:pt idx="212">
                  <c:v>38.1525423</c:v>
                </c:pt>
                <c:pt idx="213">
                  <c:v>35.881891299999999</c:v>
                </c:pt>
                <c:pt idx="214">
                  <c:v>33.975665900000003</c:v>
                </c:pt>
                <c:pt idx="215">
                  <c:v>37.246150800000002</c:v>
                </c:pt>
                <c:pt idx="216">
                  <c:v>36.367792000000001</c:v>
                </c:pt>
                <c:pt idx="217">
                  <c:v>34.956811299999998</c:v>
                </c:pt>
                <c:pt idx="218">
                  <c:v>33.6112404</c:v>
                </c:pt>
                <c:pt idx="219">
                  <c:v>30.938787000000001</c:v>
                </c:pt>
                <c:pt idx="220">
                  <c:v>28.275677900000002</c:v>
                </c:pt>
                <c:pt idx="221">
                  <c:v>27.425351800000001</c:v>
                </c:pt>
                <c:pt idx="222">
                  <c:v>27.546827</c:v>
                </c:pt>
                <c:pt idx="223">
                  <c:v>26.575025799999999</c:v>
                </c:pt>
                <c:pt idx="224">
                  <c:v>25.939617299999998</c:v>
                </c:pt>
                <c:pt idx="225">
                  <c:v>24.210932400000001</c:v>
                </c:pt>
                <c:pt idx="226">
                  <c:v>23.3979833</c:v>
                </c:pt>
                <c:pt idx="227">
                  <c:v>22.8747057</c:v>
                </c:pt>
                <c:pt idx="228">
                  <c:v>22.0243796</c:v>
                </c:pt>
                <c:pt idx="229">
                  <c:v>22.753230599999998</c:v>
                </c:pt>
                <c:pt idx="230">
                  <c:v>23.696999099999999</c:v>
                </c:pt>
                <c:pt idx="231">
                  <c:v>22.183231800000001</c:v>
                </c:pt>
                <c:pt idx="232">
                  <c:v>20.333071700000001</c:v>
                </c:pt>
                <c:pt idx="233">
                  <c:v>19.520122600000001</c:v>
                </c:pt>
                <c:pt idx="234">
                  <c:v>17.763404999999999</c:v>
                </c:pt>
                <c:pt idx="235">
                  <c:v>16.7635711</c:v>
                </c:pt>
                <c:pt idx="236">
                  <c:v>18.015699600000001</c:v>
                </c:pt>
                <c:pt idx="237">
                  <c:v>17.735372300000002</c:v>
                </c:pt>
                <c:pt idx="238">
                  <c:v>17.034554100000001</c:v>
                </c:pt>
                <c:pt idx="239">
                  <c:v>16.2402935</c:v>
                </c:pt>
                <c:pt idx="240">
                  <c:v>15.361934700000001</c:v>
                </c:pt>
                <c:pt idx="241">
                  <c:v>14.0070195</c:v>
                </c:pt>
                <c:pt idx="242">
                  <c:v>13.4837419</c:v>
                </c:pt>
                <c:pt idx="243">
                  <c:v>14.586362599999999</c:v>
                </c:pt>
                <c:pt idx="244">
                  <c:v>14.1378389</c:v>
                </c:pt>
                <c:pt idx="245">
                  <c:v>13.455709199999999</c:v>
                </c:pt>
                <c:pt idx="246">
                  <c:v>12.7455468</c:v>
                </c:pt>
                <c:pt idx="247">
                  <c:v>12.128826800000001</c:v>
                </c:pt>
                <c:pt idx="248">
                  <c:v>11.437352799999999</c:v>
                </c:pt>
                <c:pt idx="249">
                  <c:v>11.241123699999999</c:v>
                </c:pt>
                <c:pt idx="250">
                  <c:v>11.979318900000001</c:v>
                </c:pt>
                <c:pt idx="251">
                  <c:v>11.325221900000001</c:v>
                </c:pt>
                <c:pt idx="252">
                  <c:v>10.3814534</c:v>
                </c:pt>
                <c:pt idx="253">
                  <c:v>9.8207988999999998</c:v>
                </c:pt>
                <c:pt idx="254">
                  <c:v>9.1853903999999993</c:v>
                </c:pt>
                <c:pt idx="255">
                  <c:v>8.2229334000000005</c:v>
                </c:pt>
                <c:pt idx="256">
                  <c:v>7.8304752000000004</c:v>
                </c:pt>
                <c:pt idx="257">
                  <c:v>8.4378510000000002</c:v>
                </c:pt>
                <c:pt idx="258">
                  <c:v>7.9239176000000002</c:v>
                </c:pt>
                <c:pt idx="259">
                  <c:v>7.3071976000000003</c:v>
                </c:pt>
                <c:pt idx="260">
                  <c:v>6.9334278999999999</c:v>
                </c:pt>
                <c:pt idx="261">
                  <c:v>6.2045769999999996</c:v>
                </c:pt>
                <c:pt idx="262">
                  <c:v>5.7280205999999998</c:v>
                </c:pt>
                <c:pt idx="263">
                  <c:v>5.5037588</c:v>
                </c:pt>
                <c:pt idx="264">
                  <c:v>5.6906436999999999</c:v>
                </c:pt>
                <c:pt idx="265">
                  <c:v>5.1393333999999999</c:v>
                </c:pt>
                <c:pt idx="266">
                  <c:v>4.6534326999999998</c:v>
                </c:pt>
                <c:pt idx="267">
                  <c:v>4.3917938999999997</c:v>
                </c:pt>
                <c:pt idx="268">
                  <c:v>3.9432703</c:v>
                </c:pt>
                <c:pt idx="269">
                  <c:v>3.6535988000000001</c:v>
                </c:pt>
                <c:pt idx="270">
                  <c:v>3.4106485000000002</c:v>
                </c:pt>
                <c:pt idx="271">
                  <c:v>3.5414678999999998</c:v>
                </c:pt>
                <c:pt idx="272">
                  <c:v>3.2704848000000002</c:v>
                </c:pt>
                <c:pt idx="273">
                  <c:v>2.9247478999999998</c:v>
                </c:pt>
                <c:pt idx="274">
                  <c:v>2.6163878999999999</c:v>
                </c:pt>
                <c:pt idx="275">
                  <c:v>2.4014703000000002</c:v>
                </c:pt>
                <c:pt idx="276">
                  <c:v>2.121143</c:v>
                </c:pt>
                <c:pt idx="277">
                  <c:v>1.9903236</c:v>
                </c:pt>
                <c:pt idx="278">
                  <c:v>2.1865527</c:v>
                </c:pt>
                <c:pt idx="279">
                  <c:v>2.0463890999999998</c:v>
                </c:pt>
                <c:pt idx="280">
                  <c:v>1.7847503</c:v>
                </c:pt>
                <c:pt idx="281">
                  <c:v>1.5791769</c:v>
                </c:pt>
                <c:pt idx="282">
                  <c:v>1.5604884999999999</c:v>
                </c:pt>
                <c:pt idx="283">
                  <c:v>1.3642593999999999</c:v>
                </c:pt>
                <c:pt idx="284">
                  <c:v>1.2988497000000001</c:v>
                </c:pt>
                <c:pt idx="285">
                  <c:v>1.3549150999999999</c:v>
                </c:pt>
                <c:pt idx="286">
                  <c:v>1.1026206000000001</c:v>
                </c:pt>
                <c:pt idx="287">
                  <c:v>1.0185223999999999</c:v>
                </c:pt>
                <c:pt idx="288">
                  <c:v>0.99983390000000005</c:v>
                </c:pt>
                <c:pt idx="289">
                  <c:v>0.92508000000000001</c:v>
                </c:pt>
                <c:pt idx="290">
                  <c:v>0.78491630000000001</c:v>
                </c:pt>
                <c:pt idx="291">
                  <c:v>0.7195066</c:v>
                </c:pt>
                <c:pt idx="292">
                  <c:v>0.75688359999999999</c:v>
                </c:pt>
                <c:pt idx="293">
                  <c:v>0.68212969999999995</c:v>
                </c:pt>
                <c:pt idx="294">
                  <c:v>0.76622780000000001</c:v>
                </c:pt>
                <c:pt idx="295">
                  <c:v>0.7008181</c:v>
                </c:pt>
                <c:pt idx="296">
                  <c:v>0.64475269999999996</c:v>
                </c:pt>
                <c:pt idx="297">
                  <c:v>0.56999869999999997</c:v>
                </c:pt>
                <c:pt idx="298">
                  <c:v>0.54196599999999995</c:v>
                </c:pt>
                <c:pt idx="299">
                  <c:v>0.55131030000000003</c:v>
                </c:pt>
                <c:pt idx="300">
                  <c:v>0.52327749999999995</c:v>
                </c:pt>
                <c:pt idx="301">
                  <c:v>0.51393330000000004</c:v>
                </c:pt>
                <c:pt idx="302">
                  <c:v>0.36442540000000001</c:v>
                </c:pt>
                <c:pt idx="303">
                  <c:v>0.32704840000000002</c:v>
                </c:pt>
                <c:pt idx="304">
                  <c:v>0.28967150000000003</c:v>
                </c:pt>
                <c:pt idx="305">
                  <c:v>0.2616387</c:v>
                </c:pt>
                <c:pt idx="306">
                  <c:v>0.30836000000000002</c:v>
                </c:pt>
                <c:pt idx="307">
                  <c:v>0.2803272</c:v>
                </c:pt>
                <c:pt idx="308">
                  <c:v>0.2616387</c:v>
                </c:pt>
                <c:pt idx="309">
                  <c:v>0.23360600000000001</c:v>
                </c:pt>
                <c:pt idx="310">
                  <c:v>0.24295030000000001</c:v>
                </c:pt>
                <c:pt idx="311">
                  <c:v>0.22426180000000001</c:v>
                </c:pt>
                <c:pt idx="312">
                  <c:v>0.21491750000000001</c:v>
                </c:pt>
                <c:pt idx="313">
                  <c:v>0.22426180000000001</c:v>
                </c:pt>
                <c:pt idx="314">
                  <c:v>0.16819629999999999</c:v>
                </c:pt>
                <c:pt idx="315">
                  <c:v>0.20557329999999999</c:v>
                </c:pt>
                <c:pt idx="316">
                  <c:v>0.19622899999999999</c:v>
                </c:pt>
                <c:pt idx="317">
                  <c:v>0.22426180000000001</c:v>
                </c:pt>
                <c:pt idx="318">
                  <c:v>0.23360600000000001</c:v>
                </c:pt>
                <c:pt idx="319">
                  <c:v>0.25229449999999998</c:v>
                </c:pt>
                <c:pt idx="320">
                  <c:v>0.28967150000000003</c:v>
                </c:pt>
                <c:pt idx="321">
                  <c:v>0.30836000000000002</c:v>
                </c:pt>
                <c:pt idx="322">
                  <c:v>0.35508119999999999</c:v>
                </c:pt>
                <c:pt idx="323">
                  <c:v>0.34573690000000001</c:v>
                </c:pt>
                <c:pt idx="324">
                  <c:v>0.35508119999999999</c:v>
                </c:pt>
                <c:pt idx="325">
                  <c:v>0.30836000000000002</c:v>
                </c:pt>
                <c:pt idx="326">
                  <c:v>0.30836000000000002</c:v>
                </c:pt>
                <c:pt idx="327">
                  <c:v>0.34573690000000001</c:v>
                </c:pt>
                <c:pt idx="328">
                  <c:v>0.33639269999999999</c:v>
                </c:pt>
                <c:pt idx="329">
                  <c:v>0.37376969999999998</c:v>
                </c:pt>
                <c:pt idx="330">
                  <c:v>0.36442540000000001</c:v>
                </c:pt>
                <c:pt idx="331">
                  <c:v>0.38311390000000001</c:v>
                </c:pt>
                <c:pt idx="332">
                  <c:v>0.35508119999999999</c:v>
                </c:pt>
                <c:pt idx="333">
                  <c:v>0.35508119999999999</c:v>
                </c:pt>
                <c:pt idx="334">
                  <c:v>0.42983510000000003</c:v>
                </c:pt>
                <c:pt idx="335">
                  <c:v>0.45786779999999999</c:v>
                </c:pt>
                <c:pt idx="336">
                  <c:v>0.46721210000000002</c:v>
                </c:pt>
                <c:pt idx="337">
                  <c:v>0.44852360000000002</c:v>
                </c:pt>
                <c:pt idx="338">
                  <c:v>0.45786779999999999</c:v>
                </c:pt>
                <c:pt idx="339">
                  <c:v>0.43917929999999999</c:v>
                </c:pt>
                <c:pt idx="340">
                  <c:v>0.43917929999999999</c:v>
                </c:pt>
                <c:pt idx="341">
                  <c:v>0.50458899999999995</c:v>
                </c:pt>
                <c:pt idx="342">
                  <c:v>0.44852360000000002</c:v>
                </c:pt>
                <c:pt idx="343">
                  <c:v>0.4018024</c:v>
                </c:pt>
                <c:pt idx="344">
                  <c:v>0.38311390000000001</c:v>
                </c:pt>
                <c:pt idx="345">
                  <c:v>0.37376969999999998</c:v>
                </c:pt>
                <c:pt idx="346">
                  <c:v>0.36442540000000001</c:v>
                </c:pt>
                <c:pt idx="347">
                  <c:v>0.34573690000000001</c:v>
                </c:pt>
                <c:pt idx="348">
                  <c:v>0.37376969999999998</c:v>
                </c:pt>
                <c:pt idx="349">
                  <c:v>0.33639269999999999</c:v>
                </c:pt>
                <c:pt idx="350">
                  <c:v>0.31770419999999999</c:v>
                </c:pt>
                <c:pt idx="351">
                  <c:v>0.30836000000000002</c:v>
                </c:pt>
                <c:pt idx="352">
                  <c:v>0.33639269999999999</c:v>
                </c:pt>
                <c:pt idx="353">
                  <c:v>0.34573690000000001</c:v>
                </c:pt>
                <c:pt idx="354">
                  <c:v>0.36442540000000001</c:v>
                </c:pt>
                <c:pt idx="355">
                  <c:v>0.42983510000000003</c:v>
                </c:pt>
                <c:pt idx="356">
                  <c:v>0.44852360000000002</c:v>
                </c:pt>
                <c:pt idx="357">
                  <c:v>0.48590060000000002</c:v>
                </c:pt>
                <c:pt idx="358">
                  <c:v>0.46721210000000002</c:v>
                </c:pt>
                <c:pt idx="359">
                  <c:v>0.49524479999999999</c:v>
                </c:pt>
                <c:pt idx="360">
                  <c:v>0.47655629999999999</c:v>
                </c:pt>
                <c:pt idx="361">
                  <c:v>0.47655629999999999</c:v>
                </c:pt>
                <c:pt idx="362">
                  <c:v>0.49524479999999999</c:v>
                </c:pt>
                <c:pt idx="363">
                  <c:v>0.45786779999999999</c:v>
                </c:pt>
                <c:pt idx="364">
                  <c:v>0.4204909</c:v>
                </c:pt>
                <c:pt idx="365">
                  <c:v>0.37376969999999998</c:v>
                </c:pt>
                <c:pt idx="366">
                  <c:v>0.41114659999999997</c:v>
                </c:pt>
                <c:pt idx="367">
                  <c:v>0.39245809999999998</c:v>
                </c:pt>
                <c:pt idx="368">
                  <c:v>0.38311390000000001</c:v>
                </c:pt>
                <c:pt idx="369">
                  <c:v>0.38311390000000001</c:v>
                </c:pt>
                <c:pt idx="370">
                  <c:v>0.35508119999999999</c:v>
                </c:pt>
                <c:pt idx="371">
                  <c:v>0.41114659999999997</c:v>
                </c:pt>
                <c:pt idx="372">
                  <c:v>0.44852360000000002</c:v>
                </c:pt>
                <c:pt idx="373">
                  <c:v>0.57934300000000005</c:v>
                </c:pt>
                <c:pt idx="374">
                  <c:v>0.59803150000000005</c:v>
                </c:pt>
                <c:pt idx="375">
                  <c:v>0.60737569999999996</c:v>
                </c:pt>
                <c:pt idx="376">
                  <c:v>0.67278539999999998</c:v>
                </c:pt>
                <c:pt idx="377">
                  <c:v>0.74753939999999997</c:v>
                </c:pt>
                <c:pt idx="378">
                  <c:v>0.8409818</c:v>
                </c:pt>
                <c:pt idx="379">
                  <c:v>0.90639150000000002</c:v>
                </c:pt>
                <c:pt idx="380">
                  <c:v>0.96245689999999995</c:v>
                </c:pt>
                <c:pt idx="381">
                  <c:v>0.88770300000000002</c:v>
                </c:pt>
                <c:pt idx="382">
                  <c:v>0.88770300000000002</c:v>
                </c:pt>
                <c:pt idx="383">
                  <c:v>1.0465551</c:v>
                </c:pt>
                <c:pt idx="384">
                  <c:v>1.1680303000000001</c:v>
                </c:pt>
                <c:pt idx="385">
                  <c:v>1.2240956999999999</c:v>
                </c:pt>
                <c:pt idx="386">
                  <c:v>1.2147515</c:v>
                </c:pt>
                <c:pt idx="387">
                  <c:v>1.3081939</c:v>
                </c:pt>
                <c:pt idx="388">
                  <c:v>1.2708169</c:v>
                </c:pt>
                <c:pt idx="389">
                  <c:v>1.2334400000000001</c:v>
                </c:pt>
                <c:pt idx="390">
                  <c:v>1.4109806</c:v>
                </c:pt>
                <c:pt idx="391">
                  <c:v>1.3268823999999999</c:v>
                </c:pt>
                <c:pt idx="392">
                  <c:v>1.1867188</c:v>
                </c:pt>
                <c:pt idx="393">
                  <c:v>1.1399975</c:v>
                </c:pt>
                <c:pt idx="394">
                  <c:v>1.2334400000000001</c:v>
                </c:pt>
                <c:pt idx="395">
                  <c:v>1.0745878</c:v>
                </c:pt>
                <c:pt idx="396">
                  <c:v>1.1586860000000001</c:v>
                </c:pt>
                <c:pt idx="397">
                  <c:v>1.4203247999999999</c:v>
                </c:pt>
                <c:pt idx="398">
                  <c:v>1.3081939</c:v>
                </c:pt>
                <c:pt idx="399">
                  <c:v>1.4577017999999999</c:v>
                </c:pt>
                <c:pt idx="400">
                  <c:v>1.7193406</c:v>
                </c:pt>
                <c:pt idx="401">
                  <c:v>1.9342581999999999</c:v>
                </c:pt>
                <c:pt idx="402">
                  <c:v>1.9062254000000001</c:v>
                </c:pt>
                <c:pt idx="403">
                  <c:v>1.9155697</c:v>
                </c:pt>
                <c:pt idx="404">
                  <c:v>1.9996678999999999</c:v>
                </c:pt>
                <c:pt idx="405">
                  <c:v>2.0931103000000002</c:v>
                </c:pt>
                <c:pt idx="406">
                  <c:v>2.4762241999999999</c:v>
                </c:pt>
                <c:pt idx="407">
                  <c:v>2.5790109000000001</c:v>
                </c:pt>
                <c:pt idx="408">
                  <c:v>2.6537647999999998</c:v>
                </c:pt>
                <c:pt idx="409">
                  <c:v>2.5136012000000001</c:v>
                </c:pt>
                <c:pt idx="410">
                  <c:v>2.5322897000000002</c:v>
                </c:pt>
                <c:pt idx="411">
                  <c:v>3.1303212</c:v>
                </c:pt>
                <c:pt idx="412">
                  <c:v>3.5321235999999998</c:v>
                </c:pt>
                <c:pt idx="413">
                  <c:v>3.6068775999999998</c:v>
                </c:pt>
                <c:pt idx="414">
                  <c:v>3.6068775999999998</c:v>
                </c:pt>
                <c:pt idx="415">
                  <c:v>4.0273684999999997</c:v>
                </c:pt>
                <c:pt idx="416">
                  <c:v>4.0273684999999997</c:v>
                </c:pt>
                <c:pt idx="417">
                  <c:v>4.1955648999999999</c:v>
                </c:pt>
                <c:pt idx="418">
                  <c:v>5.2608085000000004</c:v>
                </c:pt>
                <c:pt idx="419">
                  <c:v>5.7653976</c:v>
                </c:pt>
                <c:pt idx="420">
                  <c:v>6.2139211999999997</c:v>
                </c:pt>
                <c:pt idx="421">
                  <c:v>6.8306412999999999</c:v>
                </c:pt>
                <c:pt idx="422">
                  <c:v>7.7930982000000002</c:v>
                </c:pt>
                <c:pt idx="423">
                  <c:v>7.7557213000000003</c:v>
                </c:pt>
                <c:pt idx="424">
                  <c:v>8.0267043000000005</c:v>
                </c:pt>
                <c:pt idx="425">
                  <c:v>9.7273563999999997</c:v>
                </c:pt>
                <c:pt idx="426">
                  <c:v>10.615059499999999</c:v>
                </c:pt>
                <c:pt idx="427">
                  <c:v>11.484074</c:v>
                </c:pt>
                <c:pt idx="428">
                  <c:v>11.7363686</c:v>
                </c:pt>
                <c:pt idx="429">
                  <c:v>12.997841299999999</c:v>
                </c:pt>
                <c:pt idx="430">
                  <c:v>13.259480099999999</c:v>
                </c:pt>
                <c:pt idx="431">
                  <c:v>14.0070195</c:v>
                </c:pt>
                <c:pt idx="432">
                  <c:v>17.0906196</c:v>
                </c:pt>
                <c:pt idx="433">
                  <c:v>18.417501999999999</c:v>
                </c:pt>
                <c:pt idx="434">
                  <c:v>19.744384499999999</c:v>
                </c:pt>
                <c:pt idx="435">
                  <c:v>20.678808700000001</c:v>
                </c:pt>
                <c:pt idx="436">
                  <c:v>22.697165099999999</c:v>
                </c:pt>
                <c:pt idx="437">
                  <c:v>22.229952999999998</c:v>
                </c:pt>
                <c:pt idx="438">
                  <c:v>22.239297199999999</c:v>
                </c:pt>
                <c:pt idx="439">
                  <c:v>25.491093599999999</c:v>
                </c:pt>
                <c:pt idx="440">
                  <c:v>26.4348621</c:v>
                </c:pt>
                <c:pt idx="441">
                  <c:v>27.668302099999998</c:v>
                </c:pt>
                <c:pt idx="442">
                  <c:v>27.7804331</c:v>
                </c:pt>
                <c:pt idx="443">
                  <c:v>29.060594300000002</c:v>
                </c:pt>
                <c:pt idx="444">
                  <c:v>28.780266999999998</c:v>
                </c:pt>
                <c:pt idx="445">
                  <c:v>29.284856099999999</c:v>
                </c:pt>
                <c:pt idx="446">
                  <c:v>33.508453699999997</c:v>
                </c:pt>
                <c:pt idx="447">
                  <c:v>35.367958000000002</c:v>
                </c:pt>
                <c:pt idx="448">
                  <c:v>34.3494356</c:v>
                </c:pt>
                <c:pt idx="449">
                  <c:v>34.713861000000001</c:v>
                </c:pt>
                <c:pt idx="450">
                  <c:v>37.7974611</c:v>
                </c:pt>
                <c:pt idx="451">
                  <c:v>37.423691400000003</c:v>
                </c:pt>
                <c:pt idx="452">
                  <c:v>37.096642899999999</c:v>
                </c:pt>
                <c:pt idx="453">
                  <c:v>41.525813800000002</c:v>
                </c:pt>
                <c:pt idx="454">
                  <c:v>42.497615099999997</c:v>
                </c:pt>
                <c:pt idx="455">
                  <c:v>41.366961699999997</c:v>
                </c:pt>
                <c:pt idx="456">
                  <c:v>45.170068399999998</c:v>
                </c:pt>
                <c:pt idx="457">
                  <c:v>46.057771500000001</c:v>
                </c:pt>
                <c:pt idx="458">
                  <c:v>43.385318099999999</c:v>
                </c:pt>
                <c:pt idx="459">
                  <c:v>42.768598099999998</c:v>
                </c:pt>
                <c:pt idx="460">
                  <c:v>46.197935100000002</c:v>
                </c:pt>
                <c:pt idx="461">
                  <c:v>45.413018700000002</c:v>
                </c:pt>
                <c:pt idx="462">
                  <c:v>43.8244975</c:v>
                </c:pt>
                <c:pt idx="463">
                  <c:v>44.3103981</c:v>
                </c:pt>
                <c:pt idx="464">
                  <c:v>41.908927800000001</c:v>
                </c:pt>
                <c:pt idx="465">
                  <c:v>39.460736199999999</c:v>
                </c:pt>
                <c:pt idx="466">
                  <c:v>37.788116799999997</c:v>
                </c:pt>
                <c:pt idx="467">
                  <c:v>40.937126599999999</c:v>
                </c:pt>
                <c:pt idx="468">
                  <c:v>39.722375</c:v>
                </c:pt>
                <c:pt idx="469">
                  <c:v>38.741229599999997</c:v>
                </c:pt>
                <c:pt idx="470">
                  <c:v>38.003034399999997</c:v>
                </c:pt>
                <c:pt idx="471">
                  <c:v>36.507955600000003</c:v>
                </c:pt>
                <c:pt idx="472">
                  <c:v>34.1812392</c:v>
                </c:pt>
                <c:pt idx="473">
                  <c:v>32.6114064</c:v>
                </c:pt>
                <c:pt idx="474">
                  <c:v>35.339925299999997</c:v>
                </c:pt>
                <c:pt idx="475">
                  <c:v>33.386978599999999</c:v>
                </c:pt>
                <c:pt idx="476">
                  <c:v>32.078784599999999</c:v>
                </c:pt>
                <c:pt idx="477">
                  <c:v>30.611738500000001</c:v>
                </c:pt>
                <c:pt idx="478">
                  <c:v>28.948463400000001</c:v>
                </c:pt>
                <c:pt idx="479">
                  <c:v>26.1732233</c:v>
                </c:pt>
                <c:pt idx="480">
                  <c:v>24.883717900000001</c:v>
                </c:pt>
                <c:pt idx="481">
                  <c:v>26.58437</c:v>
                </c:pt>
                <c:pt idx="482">
                  <c:v>24.743554199999998</c:v>
                </c:pt>
                <c:pt idx="483">
                  <c:v>22.996180899999999</c:v>
                </c:pt>
                <c:pt idx="484">
                  <c:v>21.220774800000001</c:v>
                </c:pt>
                <c:pt idx="485">
                  <c:v>18.538977200000001</c:v>
                </c:pt>
                <c:pt idx="486">
                  <c:v>16.7822596</c:v>
                </c:pt>
                <c:pt idx="487">
                  <c:v>16.4365226</c:v>
                </c:pt>
                <c:pt idx="488">
                  <c:v>18.286682599999999</c:v>
                </c:pt>
                <c:pt idx="489">
                  <c:v>17.819470500000001</c:v>
                </c:pt>
                <c:pt idx="490">
                  <c:v>17.7447166</c:v>
                </c:pt>
                <c:pt idx="491">
                  <c:v>16.913079</c:v>
                </c:pt>
                <c:pt idx="492">
                  <c:v>16.6327517</c:v>
                </c:pt>
                <c:pt idx="493">
                  <c:v>16.6327517</c:v>
                </c:pt>
                <c:pt idx="494">
                  <c:v>16.492588099999999</c:v>
                </c:pt>
                <c:pt idx="495">
                  <c:v>17.520454699999998</c:v>
                </c:pt>
                <c:pt idx="496">
                  <c:v>16.4552111</c:v>
                </c:pt>
                <c:pt idx="497">
                  <c:v>15.1937383</c:v>
                </c:pt>
                <c:pt idx="498">
                  <c:v>13.3342341</c:v>
                </c:pt>
                <c:pt idx="499">
                  <c:v>12.6801371</c:v>
                </c:pt>
                <c:pt idx="500">
                  <c:v>11.9699747</c:v>
                </c:pt>
                <c:pt idx="501">
                  <c:v>11.792434</c:v>
                </c:pt>
                <c:pt idx="502">
                  <c:v>12.0727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ripadu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24.098801535482998</c:v>
                </c:pt>
                <c:pt idx="1">
                  <c:v>26.425517930339002</c:v>
                </c:pt>
                <c:pt idx="2">
                  <c:v>29.462396758968001</c:v>
                </c:pt>
                <c:pt idx="3">
                  <c:v>32.377800434450997</c:v>
                </c:pt>
                <c:pt idx="4">
                  <c:v>34.097141063582001</c:v>
                </c:pt>
                <c:pt idx="5">
                  <c:v>35.358613807780998</c:v>
                </c:pt>
                <c:pt idx="6">
                  <c:v>38.208607785417001</c:v>
                </c:pt>
                <c:pt idx="7">
                  <c:v>44.413184838367997</c:v>
                </c:pt>
                <c:pt idx="8">
                  <c:v>49.206781266325997</c:v>
                </c:pt>
                <c:pt idx="9">
                  <c:v>55.822504991460001</c:v>
                </c:pt>
                <c:pt idx="10">
                  <c:v>61.849541435968</c:v>
                </c:pt>
                <c:pt idx="11">
                  <c:v>71.502143989730996</c:v>
                </c:pt>
                <c:pt idx="12">
                  <c:v>75.062300401138003</c:v>
                </c:pt>
                <c:pt idx="13">
                  <c:v>79.426061671813002</c:v>
                </c:pt>
                <c:pt idx="14">
                  <c:v>84.238346584870001</c:v>
                </c:pt>
                <c:pt idx="15">
                  <c:v>93.348983070754997</c:v>
                </c:pt>
                <c:pt idx="16">
                  <c:v>109.626653592202</c:v>
                </c:pt>
                <c:pt idx="17">
                  <c:v>115.849919130252</c:v>
                </c:pt>
                <c:pt idx="18">
                  <c:v>120.596794345462</c:v>
                </c:pt>
                <c:pt idx="19">
                  <c:v>122.40023315754</c:v>
                </c:pt>
                <c:pt idx="20">
                  <c:v>126.59579806232099</c:v>
                </c:pt>
                <c:pt idx="21">
                  <c:v>133.239554515105</c:v>
                </c:pt>
                <c:pt idx="22">
                  <c:v>134.84676423363999</c:v>
                </c:pt>
                <c:pt idx="23">
                  <c:v>132.800375115272</c:v>
                </c:pt>
                <c:pt idx="24">
                  <c:v>140.62150612930901</c:v>
                </c:pt>
                <c:pt idx="25">
                  <c:v>140.02347460613299</c:v>
                </c:pt>
                <c:pt idx="26">
                  <c:v>143.02297646456199</c:v>
                </c:pt>
                <c:pt idx="27">
                  <c:v>141.219537652485</c:v>
                </c:pt>
                <c:pt idx="28">
                  <c:v>137.24823456889399</c:v>
                </c:pt>
                <c:pt idx="29">
                  <c:v>143.04166494966199</c:v>
                </c:pt>
                <c:pt idx="30">
                  <c:v>148.62017775178799</c:v>
                </c:pt>
                <c:pt idx="31">
                  <c:v>156.56278391896899</c:v>
                </c:pt>
                <c:pt idx="32">
                  <c:v>161.917034899904</c:v>
                </c:pt>
                <c:pt idx="33">
                  <c:v>166.92554890650399</c:v>
                </c:pt>
                <c:pt idx="34">
                  <c:v>184.06288974251601</c:v>
                </c:pt>
                <c:pt idx="35">
                  <c:v>207.38611914638099</c:v>
                </c:pt>
                <c:pt idx="36">
                  <c:v>229.91508793352699</c:v>
                </c:pt>
                <c:pt idx="37">
                  <c:v>247.58505059486799</c:v>
                </c:pt>
                <c:pt idx="38">
                  <c:v>292.65233241171001</c:v>
                </c:pt>
                <c:pt idx="39">
                  <c:v>312.11638964257901</c:v>
                </c:pt>
                <c:pt idx="40">
                  <c:v>323.91816798275602</c:v>
                </c:pt>
                <c:pt idx="41">
                  <c:v>335.02847237425999</c:v>
                </c:pt>
                <c:pt idx="42">
                  <c:v>371.15331407111103</c:v>
                </c:pt>
                <c:pt idx="43">
                  <c:v>410.473886719934</c:v>
                </c:pt>
                <c:pt idx="44">
                  <c:v>450.93445695981097</c:v>
                </c:pt>
                <c:pt idx="45">
                  <c:v>474.16424393817903</c:v>
                </c:pt>
                <c:pt idx="46">
                  <c:v>512.25137657045104</c:v>
                </c:pt>
                <c:pt idx="47">
                  <c:v>530.51937075496903</c:v>
                </c:pt>
                <c:pt idx="48">
                  <c:v>565.75650940960497</c:v>
                </c:pt>
                <c:pt idx="49">
                  <c:v>599.965781383783</c:v>
                </c:pt>
                <c:pt idx="50">
                  <c:v>650.67698570059895</c:v>
                </c:pt>
                <c:pt idx="51">
                  <c:v>692.10935716563699</c:v>
                </c:pt>
                <c:pt idx="52">
                  <c:v>730.83189829128298</c:v>
                </c:pt>
                <c:pt idx="53">
                  <c:v>765.966250277874</c:v>
                </c:pt>
                <c:pt idx="54">
                  <c:v>786.90669783158398</c:v>
                </c:pt>
                <c:pt idx="55">
                  <c:v>807.41731022801105</c:v>
                </c:pt>
                <c:pt idx="56">
                  <c:v>841.82281129573096</c:v>
                </c:pt>
                <c:pt idx="57">
                  <c:v>823.19039165177799</c:v>
                </c:pt>
                <c:pt idx="58">
                  <c:v>812.83697090679402</c:v>
                </c:pt>
                <c:pt idx="59">
                  <c:v>797.47503615520998</c:v>
                </c:pt>
                <c:pt idx="60">
                  <c:v>787.71030269085202</c:v>
                </c:pt>
                <c:pt idx="61">
                  <c:v>780.71146502118199</c:v>
                </c:pt>
                <c:pt idx="62">
                  <c:v>771.06820670996899</c:v>
                </c:pt>
                <c:pt idx="63">
                  <c:v>737.64385110996</c:v>
                </c:pt>
                <c:pt idx="64">
                  <c:v>763.33117387888001</c:v>
                </c:pt>
                <c:pt idx="65">
                  <c:v>765.07854723566004</c:v>
                </c:pt>
                <c:pt idx="66">
                  <c:v>745.84809606853105</c:v>
                </c:pt>
                <c:pt idx="67">
                  <c:v>711.20898893706999</c:v>
                </c:pt>
                <c:pt idx="68">
                  <c:v>683.73691584117205</c:v>
                </c:pt>
                <c:pt idx="69">
                  <c:v>653.90074938021905</c:v>
                </c:pt>
                <c:pt idx="70">
                  <c:v>625.55966172720605</c:v>
                </c:pt>
                <c:pt idx="71">
                  <c:v>561.95340269190797</c:v>
                </c:pt>
                <c:pt idx="72">
                  <c:v>511.84022989826798</c:v>
                </c:pt>
                <c:pt idx="73">
                  <c:v>472.70654210043801</c:v>
                </c:pt>
                <c:pt idx="74">
                  <c:v>439.76808711300902</c:v>
                </c:pt>
                <c:pt idx="75">
                  <c:v>423.69598992765401</c:v>
                </c:pt>
                <c:pt idx="76">
                  <c:v>417.80911712138999</c:v>
                </c:pt>
                <c:pt idx="77">
                  <c:v>372.85396621514298</c:v>
                </c:pt>
                <c:pt idx="78">
                  <c:v>341.03682033366903</c:v>
                </c:pt>
                <c:pt idx="79">
                  <c:v>327.91750379399599</c:v>
                </c:pt>
                <c:pt idx="80">
                  <c:v>313.44327208462602</c:v>
                </c:pt>
                <c:pt idx="81">
                  <c:v>304.052308322253</c:v>
                </c:pt>
                <c:pt idx="82">
                  <c:v>300.47346342574599</c:v>
                </c:pt>
                <c:pt idx="83">
                  <c:v>290.76479541668601</c:v>
                </c:pt>
                <c:pt idx="84">
                  <c:v>305.85574713433101</c:v>
                </c:pt>
                <c:pt idx="85">
                  <c:v>300.38936524280001</c:v>
                </c:pt>
                <c:pt idx="86">
                  <c:v>277.75760978760798</c:v>
                </c:pt>
                <c:pt idx="87">
                  <c:v>265.18025931581201</c:v>
                </c:pt>
                <c:pt idx="88">
                  <c:v>260.29322046235802</c:v>
                </c:pt>
                <c:pt idx="89">
                  <c:v>256.23781919582098</c:v>
                </c:pt>
                <c:pt idx="90">
                  <c:v>248.697015458273</c:v>
                </c:pt>
                <c:pt idx="91">
                  <c:v>242.333586281979</c:v>
                </c:pt>
                <c:pt idx="92">
                  <c:v>238.894905023717</c:v>
                </c:pt>
                <c:pt idx="93">
                  <c:v>244.277188732301</c:v>
                </c:pt>
                <c:pt idx="94">
                  <c:v>246.93095361639399</c:v>
                </c:pt>
                <c:pt idx="95">
                  <c:v>252.95799006090201</c:v>
                </c:pt>
                <c:pt idx="96">
                  <c:v>253.313071277788</c:v>
                </c:pt>
                <c:pt idx="97">
                  <c:v>259.65781196898399</c:v>
                </c:pt>
                <c:pt idx="98">
                  <c:v>265.96517568998098</c:v>
                </c:pt>
                <c:pt idx="99">
                  <c:v>283.30808986208501</c:v>
                </c:pt>
                <c:pt idx="100">
                  <c:v>294.98839304911598</c:v>
                </c:pt>
                <c:pt idx="101">
                  <c:v>308.65901989921798</c:v>
                </c:pt>
                <c:pt idx="102">
                  <c:v>311.85475085118998</c:v>
                </c:pt>
                <c:pt idx="103">
                  <c:v>320.13374975015802</c:v>
                </c:pt>
                <c:pt idx="104">
                  <c:v>328.79586259365999</c:v>
                </c:pt>
                <c:pt idx="105">
                  <c:v>348.01696951823902</c:v>
                </c:pt>
                <c:pt idx="106">
                  <c:v>365.22906429464899</c:v>
                </c:pt>
                <c:pt idx="107">
                  <c:v>381.48804633099701</c:v>
                </c:pt>
                <c:pt idx="108">
                  <c:v>406.14750241945802</c:v>
                </c:pt>
                <c:pt idx="109">
                  <c:v>421.808452932629</c:v>
                </c:pt>
                <c:pt idx="110">
                  <c:v>434.98383492760098</c:v>
                </c:pt>
                <c:pt idx="111">
                  <c:v>460.998206185757</c:v>
                </c:pt>
                <c:pt idx="112">
                  <c:v>489.17109747287702</c:v>
                </c:pt>
                <c:pt idx="113">
                  <c:v>544.26475154546699</c:v>
                </c:pt>
                <c:pt idx="114">
                  <c:v>514.02678265487998</c:v>
                </c:pt>
                <c:pt idx="115">
                  <c:v>456.33542915349398</c:v>
                </c:pt>
                <c:pt idx="116">
                  <c:v>434.87170401700502</c:v>
                </c:pt>
                <c:pt idx="117">
                  <c:v>438.45054891351202</c:v>
                </c:pt>
                <c:pt idx="118">
                  <c:v>466.44589959218899</c:v>
                </c:pt>
                <c:pt idx="119">
                  <c:v>518.50267483615096</c:v>
                </c:pt>
                <c:pt idx="120">
                  <c:v>545.83458429380403</c:v>
                </c:pt>
                <c:pt idx="121">
                  <c:v>629.42817814275099</c:v>
                </c:pt>
                <c:pt idx="122">
                  <c:v>636.66996611871002</c:v>
                </c:pt>
                <c:pt idx="123">
                  <c:v>654.947304545777</c:v>
                </c:pt>
                <c:pt idx="124">
                  <c:v>678.10233758374795</c:v>
                </c:pt>
                <c:pt idx="125">
                  <c:v>696.94967480634205</c:v>
                </c:pt>
                <c:pt idx="126">
                  <c:v>705.537033709448</c:v>
                </c:pt>
                <c:pt idx="127">
                  <c:v>712.29292107282697</c:v>
                </c:pt>
                <c:pt idx="128">
                  <c:v>727.17829945437995</c:v>
                </c:pt>
                <c:pt idx="129">
                  <c:v>817.48105945395696</c:v>
                </c:pt>
                <c:pt idx="130">
                  <c:v>849.88689261605805</c:v>
                </c:pt>
                <c:pt idx="131">
                  <c:v>831.65627540173898</c:v>
                </c:pt>
                <c:pt idx="132">
                  <c:v>798.25995252937798</c:v>
                </c:pt>
                <c:pt idx="133">
                  <c:v>736.59729594440205</c:v>
                </c:pt>
                <c:pt idx="134">
                  <c:v>672.44907084122497</c:v>
                </c:pt>
                <c:pt idx="135">
                  <c:v>608.87084453357602</c:v>
                </c:pt>
                <c:pt idx="136">
                  <c:v>573.58698466619103</c:v>
                </c:pt>
                <c:pt idx="137">
                  <c:v>543.58262183934403</c:v>
                </c:pt>
                <c:pt idx="138">
                  <c:v>527.96839253892097</c:v>
                </c:pt>
                <c:pt idx="139">
                  <c:v>511.93367232376397</c:v>
                </c:pt>
                <c:pt idx="140">
                  <c:v>500.80467944716003</c:v>
                </c:pt>
                <c:pt idx="141">
                  <c:v>475.50981486532498</c:v>
                </c:pt>
                <c:pt idx="142">
                  <c:v>470.29572752263402</c:v>
                </c:pt>
                <c:pt idx="143">
                  <c:v>462.27836741505598</c:v>
                </c:pt>
                <c:pt idx="144">
                  <c:v>452.88740365268302</c:v>
                </c:pt>
                <c:pt idx="145">
                  <c:v>450.57937574292498</c:v>
                </c:pt>
                <c:pt idx="146">
                  <c:v>444.04775020073703</c:v>
                </c:pt>
                <c:pt idx="147">
                  <c:v>440.05775863204701</c:v>
                </c:pt>
                <c:pt idx="148">
                  <c:v>442.81431018418698</c:v>
                </c:pt>
                <c:pt idx="149">
                  <c:v>447.15003872721297</c:v>
                </c:pt>
                <c:pt idx="150">
                  <c:v>443.26283382656902</c:v>
                </c:pt>
                <c:pt idx="151">
                  <c:v>441.57152592508697</c:v>
                </c:pt>
                <c:pt idx="152">
                  <c:v>443.23480109892</c:v>
                </c:pt>
                <c:pt idx="153">
                  <c:v>445.64561567672303</c:v>
                </c:pt>
                <c:pt idx="154">
                  <c:v>445.29053445983698</c:v>
                </c:pt>
                <c:pt idx="155">
                  <c:v>456.02706914935698</c:v>
                </c:pt>
                <c:pt idx="156">
                  <c:v>456.91477219157099</c:v>
                </c:pt>
                <c:pt idx="157">
                  <c:v>462.240990444857</c:v>
                </c:pt>
                <c:pt idx="158">
                  <c:v>469.36130326767199</c:v>
                </c:pt>
                <c:pt idx="159">
                  <c:v>468.21196143406797</c:v>
                </c:pt>
                <c:pt idx="160">
                  <c:v>473.36998332146101</c:v>
                </c:pt>
                <c:pt idx="161">
                  <c:v>483.98504285783503</c:v>
                </c:pt>
                <c:pt idx="162">
                  <c:v>482.91979920717802</c:v>
                </c:pt>
                <c:pt idx="163">
                  <c:v>491.507158110283</c:v>
                </c:pt>
                <c:pt idx="164">
                  <c:v>493.41338359040702</c:v>
                </c:pt>
                <c:pt idx="165">
                  <c:v>496.43157393393602</c:v>
                </c:pt>
                <c:pt idx="166">
                  <c:v>500.43090974517497</c:v>
                </c:pt>
                <c:pt idx="167">
                  <c:v>510.859084430557</c:v>
                </c:pt>
                <c:pt idx="168">
                  <c:v>532.537727145688</c:v>
                </c:pt>
                <c:pt idx="169">
                  <c:v>545.53556853221596</c:v>
                </c:pt>
                <c:pt idx="170">
                  <c:v>570.58748280776103</c:v>
                </c:pt>
                <c:pt idx="171">
                  <c:v>593.55563099474</c:v>
                </c:pt>
                <c:pt idx="172">
                  <c:v>608.80543483572797</c:v>
                </c:pt>
                <c:pt idx="173">
                  <c:v>619.92508346978195</c:v>
                </c:pt>
                <c:pt idx="174">
                  <c:v>643.50060742248604</c:v>
                </c:pt>
                <c:pt idx="175">
                  <c:v>673.80398601092099</c:v>
                </c:pt>
                <c:pt idx="176">
                  <c:v>700.56589667304695</c:v>
                </c:pt>
                <c:pt idx="177">
                  <c:v>727.56141339891406</c:v>
                </c:pt>
                <c:pt idx="178">
                  <c:v>760.38773747574805</c:v>
                </c:pt>
                <c:pt idx="179">
                  <c:v>770.54492912719002</c:v>
                </c:pt>
                <c:pt idx="180">
                  <c:v>775.44131222319402</c:v>
                </c:pt>
                <c:pt idx="181">
                  <c:v>784.01932688374995</c:v>
                </c:pt>
                <c:pt idx="182">
                  <c:v>792.88701306334406</c:v>
                </c:pt>
                <c:pt idx="183">
                  <c:v>806.36141081990399</c:v>
                </c:pt>
                <c:pt idx="184">
                  <c:v>806.95944234308001</c:v>
                </c:pt>
                <c:pt idx="185">
                  <c:v>791.72832698719105</c:v>
                </c:pt>
                <c:pt idx="186">
                  <c:v>803.57682654011501</c:v>
                </c:pt>
                <c:pt idx="187">
                  <c:v>797.92355979759202</c:v>
                </c:pt>
                <c:pt idx="188">
                  <c:v>782.29998625461894</c:v>
                </c:pt>
                <c:pt idx="189">
                  <c:v>768.92837516610496</c:v>
                </c:pt>
                <c:pt idx="190">
                  <c:v>762.45281507921504</c:v>
                </c:pt>
                <c:pt idx="191">
                  <c:v>730.645013440291</c:v>
                </c:pt>
                <c:pt idx="192">
                  <c:v>747.53940397001304</c:v>
                </c:pt>
                <c:pt idx="193">
                  <c:v>727.99124855619698</c:v>
                </c:pt>
                <c:pt idx="194">
                  <c:v>721.93617938403997</c:v>
                </c:pt>
                <c:pt idx="195">
                  <c:v>721.590442409704</c:v>
                </c:pt>
                <c:pt idx="196">
                  <c:v>709.22800951654995</c:v>
                </c:pt>
                <c:pt idx="197">
                  <c:v>685.78330495954003</c:v>
                </c:pt>
                <c:pt idx="198">
                  <c:v>680.43839822115501</c:v>
                </c:pt>
                <c:pt idx="199">
                  <c:v>631.40915756327104</c:v>
                </c:pt>
                <c:pt idx="200">
                  <c:v>616.98164706665</c:v>
                </c:pt>
                <c:pt idx="201">
                  <c:v>608.095272401957</c:v>
                </c:pt>
                <c:pt idx="202">
                  <c:v>585.77187695090197</c:v>
                </c:pt>
                <c:pt idx="203">
                  <c:v>557.09439656610198</c:v>
                </c:pt>
                <c:pt idx="204">
                  <c:v>527.267574347699</c:v>
                </c:pt>
                <c:pt idx="205">
                  <c:v>501.589595821329</c:v>
                </c:pt>
                <c:pt idx="206">
                  <c:v>482.80766829658199</c:v>
                </c:pt>
                <c:pt idx="207">
                  <c:v>468.632452348801</c:v>
                </c:pt>
                <c:pt idx="208">
                  <c:v>462.596071661743</c:v>
                </c:pt>
                <c:pt idx="209">
                  <c:v>450.39249089193299</c:v>
                </c:pt>
                <c:pt idx="210">
                  <c:v>428.50827484071101</c:v>
                </c:pt>
                <c:pt idx="211">
                  <c:v>413.65092918680699</c:v>
                </c:pt>
                <c:pt idx="212">
                  <c:v>397.87784776303897</c:v>
                </c:pt>
                <c:pt idx="213">
                  <c:v>361.59415394284503</c:v>
                </c:pt>
                <c:pt idx="214">
                  <c:v>344.58763250252701</c:v>
                </c:pt>
                <c:pt idx="215">
                  <c:v>346.30697313165803</c:v>
                </c:pt>
                <c:pt idx="216">
                  <c:v>294.73609850027702</c:v>
                </c:pt>
                <c:pt idx="217">
                  <c:v>266.25484720901898</c:v>
                </c:pt>
                <c:pt idx="218">
                  <c:v>264.26452354594898</c:v>
                </c:pt>
                <c:pt idx="219">
                  <c:v>255.29405069830901</c:v>
                </c:pt>
                <c:pt idx="220">
                  <c:v>264.51681809478902</c:v>
                </c:pt>
                <c:pt idx="221">
                  <c:v>265.058784162667</c:v>
                </c:pt>
                <c:pt idx="222">
                  <c:v>256.23781919582098</c:v>
                </c:pt>
                <c:pt idx="223">
                  <c:v>279.06580374455501</c:v>
                </c:pt>
                <c:pt idx="224">
                  <c:v>274.24417458894902</c:v>
                </c:pt>
                <c:pt idx="225">
                  <c:v>243.04374871575001</c:v>
                </c:pt>
                <c:pt idx="226">
                  <c:v>224.18706725060699</c:v>
                </c:pt>
                <c:pt idx="227">
                  <c:v>209.15218098826</c:v>
                </c:pt>
                <c:pt idx="228">
                  <c:v>202.835473024713</c:v>
                </c:pt>
                <c:pt idx="229">
                  <c:v>201.44318088481899</c:v>
                </c:pt>
                <c:pt idx="230">
                  <c:v>196.53745354626599</c:v>
                </c:pt>
                <c:pt idx="231">
                  <c:v>184.726330963539</c:v>
                </c:pt>
                <c:pt idx="232">
                  <c:v>177.58732965562601</c:v>
                </c:pt>
                <c:pt idx="233">
                  <c:v>171.56963745366701</c:v>
                </c:pt>
                <c:pt idx="234">
                  <c:v>165.822928285648</c:v>
                </c:pt>
                <c:pt idx="235">
                  <c:v>163.67375249923401</c:v>
                </c:pt>
                <c:pt idx="236">
                  <c:v>163.598998558837</c:v>
                </c:pt>
                <c:pt idx="237">
                  <c:v>156.58147240406799</c:v>
                </c:pt>
                <c:pt idx="238">
                  <c:v>151.283286878431</c:v>
                </c:pt>
                <c:pt idx="239">
                  <c:v>146.94755833540501</c:v>
                </c:pt>
                <c:pt idx="240">
                  <c:v>143.21920555810399</c:v>
                </c:pt>
                <c:pt idx="241">
                  <c:v>139.18249277666601</c:v>
                </c:pt>
                <c:pt idx="242">
                  <c:v>137.88364306226899</c:v>
                </c:pt>
                <c:pt idx="243">
                  <c:v>134.902829688938</c:v>
                </c:pt>
                <c:pt idx="244">
                  <c:v>131.42677146047799</c:v>
                </c:pt>
                <c:pt idx="245">
                  <c:v>123.671050144289</c:v>
                </c:pt>
                <c:pt idx="246">
                  <c:v>117.93368521881899</c:v>
                </c:pt>
                <c:pt idx="247">
                  <c:v>111.81320634881401</c:v>
                </c:pt>
                <c:pt idx="248">
                  <c:v>106.80469234221501</c:v>
                </c:pt>
                <c:pt idx="249">
                  <c:v>102.665192892731</c:v>
                </c:pt>
                <c:pt idx="250">
                  <c:v>101.487818331478</c:v>
                </c:pt>
                <c:pt idx="251">
                  <c:v>95.171110367932002</c:v>
                </c:pt>
                <c:pt idx="252">
                  <c:v>88.424567247102004</c:v>
                </c:pt>
                <c:pt idx="253">
                  <c:v>82.724579291831006</c:v>
                </c:pt>
                <c:pt idx="254">
                  <c:v>79.472782884561994</c:v>
                </c:pt>
                <c:pt idx="255">
                  <c:v>73.987712507932002</c:v>
                </c:pt>
                <c:pt idx="256">
                  <c:v>72.744928248831002</c:v>
                </c:pt>
                <c:pt idx="257">
                  <c:v>71.548865202479007</c:v>
                </c:pt>
                <c:pt idx="258">
                  <c:v>67.717725757132996</c:v>
                </c:pt>
                <c:pt idx="259">
                  <c:v>63.111014180167999</c:v>
                </c:pt>
                <c:pt idx="260">
                  <c:v>58.541679573400998</c:v>
                </c:pt>
                <c:pt idx="261">
                  <c:v>53.439723141305997</c:v>
                </c:pt>
                <c:pt idx="262">
                  <c:v>49.888910972448002</c:v>
                </c:pt>
                <c:pt idx="263">
                  <c:v>47.450063666996002</c:v>
                </c:pt>
                <c:pt idx="264">
                  <c:v>46.898753356568001</c:v>
                </c:pt>
                <c:pt idx="265">
                  <c:v>42.815319362381999</c:v>
                </c:pt>
                <c:pt idx="266">
                  <c:v>37.769428385584</c:v>
                </c:pt>
                <c:pt idx="267">
                  <c:v>35.536154416224001</c:v>
                </c:pt>
                <c:pt idx="268">
                  <c:v>33.900911970039999</c:v>
                </c:pt>
                <c:pt idx="269">
                  <c:v>31.863867094221</c:v>
                </c:pt>
                <c:pt idx="270">
                  <c:v>30.798623443564001</c:v>
                </c:pt>
                <c:pt idx="271">
                  <c:v>30.004362826845998</c:v>
                </c:pt>
                <c:pt idx="272">
                  <c:v>28.275677955165001</c:v>
                </c:pt>
                <c:pt idx="273">
                  <c:v>26.556337326034001</c:v>
                </c:pt>
                <c:pt idx="274">
                  <c:v>24.808963969253998</c:v>
                </c:pt>
                <c:pt idx="275">
                  <c:v>24.052080322735002</c:v>
                </c:pt>
                <c:pt idx="276">
                  <c:v>22.818640306184001</c:v>
                </c:pt>
                <c:pt idx="277">
                  <c:v>22.17388757026</c:v>
                </c:pt>
                <c:pt idx="278">
                  <c:v>22.043068174565001</c:v>
                </c:pt>
                <c:pt idx="279">
                  <c:v>19.996679056196999</c:v>
                </c:pt>
                <c:pt idx="280">
                  <c:v>19.108976013983</c:v>
                </c:pt>
                <c:pt idx="281">
                  <c:v>18.174551759020002</c:v>
                </c:pt>
                <c:pt idx="282">
                  <c:v>15.950622032209999</c:v>
                </c:pt>
                <c:pt idx="283">
                  <c:v>14.595706862514</c:v>
                </c:pt>
                <c:pt idx="284">
                  <c:v>13.885544428743</c:v>
                </c:pt>
                <c:pt idx="285">
                  <c:v>13.352922603413999</c:v>
                </c:pt>
                <c:pt idx="286">
                  <c:v>12.222269254909</c:v>
                </c:pt>
                <c:pt idx="287">
                  <c:v>10.577682566175</c:v>
                </c:pt>
                <c:pt idx="288">
                  <c:v>9.4096522474719997</c:v>
                </c:pt>
                <c:pt idx="289">
                  <c:v>9.1106364858839992</c:v>
                </c:pt>
                <c:pt idx="290">
                  <c:v>8.7835879966470003</c:v>
                </c:pt>
                <c:pt idx="291">
                  <c:v>8.6527686009519993</c:v>
                </c:pt>
                <c:pt idx="292">
                  <c:v>8.8022764817460004</c:v>
                </c:pt>
                <c:pt idx="293">
                  <c:v>8.269654656418</c:v>
                </c:pt>
                <c:pt idx="294">
                  <c:v>7.3632631291040003</c:v>
                </c:pt>
                <c:pt idx="295">
                  <c:v>7.1670340355619997</c:v>
                </c:pt>
                <c:pt idx="296">
                  <c:v>6.5970352400349999</c:v>
                </c:pt>
                <c:pt idx="297">
                  <c:v>6.4755600868899998</c:v>
                </c:pt>
                <c:pt idx="298">
                  <c:v>6.5222812996380002</c:v>
                </c:pt>
                <c:pt idx="299">
                  <c:v>6.5222812996380002</c:v>
                </c:pt>
                <c:pt idx="300">
                  <c:v>6.8212970612259998</c:v>
                </c:pt>
                <c:pt idx="301">
                  <c:v>7.2417879759590003</c:v>
                </c:pt>
                <c:pt idx="302">
                  <c:v>7.5127710098979996</c:v>
                </c:pt>
                <c:pt idx="303">
                  <c:v>8.1575237458219991</c:v>
                </c:pt>
                <c:pt idx="304">
                  <c:v>8.4845722350589998</c:v>
                </c:pt>
                <c:pt idx="305">
                  <c:v>9.0265383029370003</c:v>
                </c:pt>
                <c:pt idx="306">
                  <c:v>9.5030946729680004</c:v>
                </c:pt>
                <c:pt idx="307">
                  <c:v>9.2975213368770007</c:v>
                </c:pt>
                <c:pt idx="308">
                  <c:v>8.8489976944950008</c:v>
                </c:pt>
                <c:pt idx="309">
                  <c:v>10.185224379091</c:v>
                </c:pt>
                <c:pt idx="310">
                  <c:v>10.970140753259001</c:v>
                </c:pt>
                <c:pt idx="311">
                  <c:v>12.072761374115</c:v>
                </c:pt>
                <c:pt idx="312">
                  <c:v>12.362432893154001</c:v>
                </c:pt>
                <c:pt idx="313">
                  <c:v>12.726858352589</c:v>
                </c:pt>
                <c:pt idx="314">
                  <c:v>13.792102003246001</c:v>
                </c:pt>
                <c:pt idx="315">
                  <c:v>15.773081423767</c:v>
                </c:pt>
                <c:pt idx="316">
                  <c:v>15.595540815324</c:v>
                </c:pt>
                <c:pt idx="317">
                  <c:v>15.371278994133</c:v>
                </c:pt>
                <c:pt idx="318">
                  <c:v>14.978820807049001</c:v>
                </c:pt>
                <c:pt idx="319">
                  <c:v>15.352590509034</c:v>
                </c:pt>
                <c:pt idx="320">
                  <c:v>15.053574747446</c:v>
                </c:pt>
                <c:pt idx="321">
                  <c:v>14.829312926255</c:v>
                </c:pt>
                <c:pt idx="322">
                  <c:v>14.623739590163</c:v>
                </c:pt>
                <c:pt idx="323">
                  <c:v>14.352756556224</c:v>
                </c:pt>
                <c:pt idx="324">
                  <c:v>14.137838977582</c:v>
                </c:pt>
                <c:pt idx="325">
                  <c:v>13.633249879903</c:v>
                </c:pt>
                <c:pt idx="326">
                  <c:v>12.969808658879</c:v>
                </c:pt>
                <c:pt idx="327">
                  <c:v>12.642760169641999</c:v>
                </c:pt>
                <c:pt idx="328">
                  <c:v>12.437186833550999</c:v>
                </c:pt>
                <c:pt idx="329">
                  <c:v>12.026040161367</c:v>
                </c:pt>
                <c:pt idx="330">
                  <c:v>11.698991672129999</c:v>
                </c:pt>
                <c:pt idx="331">
                  <c:v>11.727024399778999</c:v>
                </c:pt>
                <c:pt idx="332">
                  <c:v>11.259812272297999</c:v>
                </c:pt>
                <c:pt idx="333">
                  <c:v>11.166369846802001</c:v>
                </c:pt>
                <c:pt idx="334">
                  <c:v>11.128992876603</c:v>
                </c:pt>
                <c:pt idx="335">
                  <c:v>10.708501961870001</c:v>
                </c:pt>
                <c:pt idx="336">
                  <c:v>10.540305595976999</c:v>
                </c:pt>
                <c:pt idx="337">
                  <c:v>10.643092264023</c:v>
                </c:pt>
                <c:pt idx="338">
                  <c:v>10.241289834389001</c:v>
                </c:pt>
                <c:pt idx="339">
                  <c:v>10.596371051274</c:v>
                </c:pt>
                <c:pt idx="340">
                  <c:v>10.951452268160001</c:v>
                </c:pt>
                <c:pt idx="341">
                  <c:v>11.231779544648999</c:v>
                </c:pt>
                <c:pt idx="342">
                  <c:v>11.409320153092001</c:v>
                </c:pt>
                <c:pt idx="343">
                  <c:v>11.614893489184</c:v>
                </c:pt>
                <c:pt idx="344">
                  <c:v>11.708335914679999</c:v>
                </c:pt>
                <c:pt idx="345">
                  <c:v>11.951286220969999</c:v>
                </c:pt>
                <c:pt idx="346">
                  <c:v>12.371777135703001</c:v>
                </c:pt>
                <c:pt idx="347">
                  <c:v>12.259646225108</c:v>
                </c:pt>
                <c:pt idx="348">
                  <c:v>11.979318948618999</c:v>
                </c:pt>
                <c:pt idx="349">
                  <c:v>12.390465620802001</c:v>
                </c:pt>
                <c:pt idx="350">
                  <c:v>12.764235322787</c:v>
                </c:pt>
                <c:pt idx="351">
                  <c:v>12.661448654741999</c:v>
                </c:pt>
                <c:pt idx="352">
                  <c:v>12.437186833550999</c:v>
                </c:pt>
                <c:pt idx="353">
                  <c:v>11.960630463519999</c:v>
                </c:pt>
                <c:pt idx="354">
                  <c:v>11.895220765672001</c:v>
                </c:pt>
                <c:pt idx="355">
                  <c:v>12.175548042160999</c:v>
                </c:pt>
                <c:pt idx="356">
                  <c:v>12.147515314512001</c:v>
                </c:pt>
                <c:pt idx="357">
                  <c:v>11.680303187031001</c:v>
                </c:pt>
                <c:pt idx="358">
                  <c:v>12.044728646466</c:v>
                </c:pt>
                <c:pt idx="359">
                  <c:v>12.483908046299</c:v>
                </c:pt>
                <c:pt idx="360">
                  <c:v>12.596038956894001</c:v>
                </c:pt>
                <c:pt idx="361">
                  <c:v>12.577350471795</c:v>
                </c:pt>
                <c:pt idx="362">
                  <c:v>12.334400165505</c:v>
                </c:pt>
                <c:pt idx="363">
                  <c:v>12.596038956894001</c:v>
                </c:pt>
                <c:pt idx="364">
                  <c:v>12.979152901429</c:v>
                </c:pt>
                <c:pt idx="365">
                  <c:v>13.119316539672999</c:v>
                </c:pt>
                <c:pt idx="366">
                  <c:v>13.988331096788</c:v>
                </c:pt>
                <c:pt idx="367">
                  <c:v>15.165705658041</c:v>
                </c:pt>
                <c:pt idx="368">
                  <c:v>15.857179606713</c:v>
                </c:pt>
                <c:pt idx="369">
                  <c:v>16.417834159691001</c:v>
                </c:pt>
                <c:pt idx="370">
                  <c:v>17.838159027233999</c:v>
                </c:pt>
                <c:pt idx="371">
                  <c:v>20.566677851723998</c:v>
                </c:pt>
                <c:pt idx="372">
                  <c:v>21.68798695768</c:v>
                </c:pt>
                <c:pt idx="373">
                  <c:v>22.753230608336999</c:v>
                </c:pt>
                <c:pt idx="374">
                  <c:v>24.014703352535999</c:v>
                </c:pt>
                <c:pt idx="375">
                  <c:v>24.416505782169999</c:v>
                </c:pt>
                <c:pt idx="376">
                  <c:v>24.369784569421999</c:v>
                </c:pt>
                <c:pt idx="377">
                  <c:v>25.313553066933999</c:v>
                </c:pt>
                <c:pt idx="378">
                  <c:v>25.070602760644</c:v>
                </c:pt>
                <c:pt idx="379">
                  <c:v>26.388140960141001</c:v>
                </c:pt>
                <c:pt idx="380">
                  <c:v>27.715023402187999</c:v>
                </c:pt>
                <c:pt idx="381">
                  <c:v>27.715023402187999</c:v>
                </c:pt>
                <c:pt idx="382">
                  <c:v>28.200924014767999</c:v>
                </c:pt>
                <c:pt idx="383">
                  <c:v>28.686824627349001</c:v>
                </c:pt>
                <c:pt idx="384">
                  <c:v>28.565349474204002</c:v>
                </c:pt>
                <c:pt idx="385">
                  <c:v>28.929774933638999</c:v>
                </c:pt>
                <c:pt idx="386">
                  <c:v>28.929774933638999</c:v>
                </c:pt>
                <c:pt idx="387">
                  <c:v>28.200924014767999</c:v>
                </c:pt>
                <c:pt idx="388">
                  <c:v>28.920430691088999</c:v>
                </c:pt>
                <c:pt idx="389">
                  <c:v>29.985674341747</c:v>
                </c:pt>
                <c:pt idx="390">
                  <c:v>30.565017379823001</c:v>
                </c:pt>
                <c:pt idx="391">
                  <c:v>32.387144677000002</c:v>
                </c:pt>
                <c:pt idx="392">
                  <c:v>31.247147085946001</c:v>
                </c:pt>
                <c:pt idx="393">
                  <c:v>33.209438021366999</c:v>
                </c:pt>
                <c:pt idx="394">
                  <c:v>37.302216258103002</c:v>
                </c:pt>
                <c:pt idx="395">
                  <c:v>40.170898720837997</c:v>
                </c:pt>
                <c:pt idx="396">
                  <c:v>41.441715707587001</c:v>
                </c:pt>
                <c:pt idx="397">
                  <c:v>42.077124200961997</c:v>
                </c:pt>
                <c:pt idx="398">
                  <c:v>43.347941187711001</c:v>
                </c:pt>
                <c:pt idx="399">
                  <c:v>49.365633389669</c:v>
                </c:pt>
                <c:pt idx="400">
                  <c:v>52.309069792800997</c:v>
                </c:pt>
                <c:pt idx="401">
                  <c:v>52.963166771274999</c:v>
                </c:pt>
                <c:pt idx="402">
                  <c:v>54.738572855704</c:v>
                </c:pt>
                <c:pt idx="403">
                  <c:v>55.813160748911002</c:v>
                </c:pt>
                <c:pt idx="404">
                  <c:v>55.981357114803998</c:v>
                </c:pt>
                <c:pt idx="405">
                  <c:v>60.952494151204</c:v>
                </c:pt>
                <c:pt idx="406">
                  <c:v>64.587404503008997</c:v>
                </c:pt>
                <c:pt idx="407">
                  <c:v>68.811002135438997</c:v>
                </c:pt>
                <c:pt idx="408">
                  <c:v>73.931647052634005</c:v>
                </c:pt>
                <c:pt idx="409">
                  <c:v>81.061304117998006</c:v>
                </c:pt>
                <c:pt idx="410">
                  <c:v>85.649327209863998</c:v>
                </c:pt>
                <c:pt idx="411">
                  <c:v>89.947678782691</c:v>
                </c:pt>
                <c:pt idx="412">
                  <c:v>101.10470438694399</c:v>
                </c:pt>
                <c:pt idx="413">
                  <c:v>117.382374908391</c:v>
                </c:pt>
                <c:pt idx="414">
                  <c:v>133.99643816162401</c:v>
                </c:pt>
                <c:pt idx="415">
                  <c:v>153.65672448603601</c:v>
                </c:pt>
                <c:pt idx="416">
                  <c:v>176.61552843046499</c:v>
                </c:pt>
                <c:pt idx="417">
                  <c:v>191.547628024766</c:v>
                </c:pt>
                <c:pt idx="418">
                  <c:v>201.29367300402501</c:v>
                </c:pt>
                <c:pt idx="419">
                  <c:v>217.636753223319</c:v>
                </c:pt>
                <c:pt idx="420">
                  <c:v>246.06193905927901</c:v>
                </c:pt>
                <c:pt idx="421">
                  <c:v>270.23549453515898</c:v>
                </c:pt>
                <c:pt idx="422">
                  <c:v>276.89793947304202</c:v>
                </c:pt>
                <c:pt idx="423">
                  <c:v>291.09184390592299</c:v>
                </c:pt>
                <c:pt idx="424">
                  <c:v>312.60229025516003</c:v>
                </c:pt>
                <c:pt idx="425">
                  <c:v>321.50735340495299</c:v>
                </c:pt>
                <c:pt idx="426">
                  <c:v>352.604992610105</c:v>
                </c:pt>
                <c:pt idx="427">
                  <c:v>386.70213367368802</c:v>
                </c:pt>
                <c:pt idx="428">
                  <c:v>420.50960321823101</c:v>
                </c:pt>
                <c:pt idx="429">
                  <c:v>459.14804616093102</c:v>
                </c:pt>
                <c:pt idx="430">
                  <c:v>491.83420659951997</c:v>
                </c:pt>
                <c:pt idx="431">
                  <c:v>498.24435698856303</c:v>
                </c:pt>
                <c:pt idx="432">
                  <c:v>500.29074610693101</c:v>
                </c:pt>
                <c:pt idx="433">
                  <c:v>515.92366389245399</c:v>
                </c:pt>
                <c:pt idx="434">
                  <c:v>559.30898205036397</c:v>
                </c:pt>
                <c:pt idx="435">
                  <c:v>597.47086862303297</c:v>
                </c:pt>
                <c:pt idx="436">
                  <c:v>615.77623977774897</c:v>
                </c:pt>
                <c:pt idx="437">
                  <c:v>662.53482949607303</c:v>
                </c:pt>
                <c:pt idx="438">
                  <c:v>694.64164689658503</c:v>
                </c:pt>
                <c:pt idx="439">
                  <c:v>719.73093814232902</c:v>
                </c:pt>
                <c:pt idx="440">
                  <c:v>740.97974570017595</c:v>
                </c:pt>
                <c:pt idx="441">
                  <c:v>815.28516245479602</c:v>
                </c:pt>
                <c:pt idx="442">
                  <c:v>821.05990435046397</c:v>
                </c:pt>
                <c:pt idx="443">
                  <c:v>849.66263079486703</c:v>
                </c:pt>
                <c:pt idx="444">
                  <c:v>931.06032764465101</c:v>
                </c:pt>
                <c:pt idx="445">
                  <c:v>979.96809314939003</c:v>
                </c:pt>
                <c:pt idx="446">
                  <c:v>1004.0855831699701</c:v>
                </c:pt>
                <c:pt idx="447">
                  <c:v>1031.66978717646</c:v>
                </c:pt>
                <c:pt idx="448">
                  <c:v>1063.215950024</c:v>
                </c:pt>
                <c:pt idx="449">
                  <c:v>1099.275382023</c:v>
                </c:pt>
                <c:pt idx="450">
                  <c:v>1234.0660808013399</c:v>
                </c:pt>
                <c:pt idx="451">
                  <c:v>1209.8458041127101</c:v>
                </c:pt>
                <c:pt idx="452">
                  <c:v>1192.22256266412</c:v>
                </c:pt>
                <c:pt idx="453">
                  <c:v>1201.82844400514</c:v>
                </c:pt>
                <c:pt idx="454">
                  <c:v>1230.78625166642</c:v>
                </c:pt>
                <c:pt idx="455">
                  <c:v>1194.4278039058299</c:v>
                </c:pt>
                <c:pt idx="456">
                  <c:v>1223.46970975007</c:v>
                </c:pt>
                <c:pt idx="457">
                  <c:v>1136.3907134301101</c:v>
                </c:pt>
                <c:pt idx="458">
                  <c:v>1111.2079797588699</c:v>
                </c:pt>
                <c:pt idx="459">
                  <c:v>1096.7617807771501</c:v>
                </c:pt>
                <c:pt idx="460">
                  <c:v>1068.9906919196601</c:v>
                </c:pt>
                <c:pt idx="461">
                  <c:v>1049.9004043907801</c:v>
                </c:pt>
                <c:pt idx="462">
                  <c:v>1026.6145519571101</c:v>
                </c:pt>
                <c:pt idx="463">
                  <c:v>980.36055133647403</c:v>
                </c:pt>
                <c:pt idx="464">
                  <c:v>939.67571927540598</c:v>
                </c:pt>
                <c:pt idx="465">
                  <c:v>890.30074164318603</c:v>
                </c:pt>
                <c:pt idx="466">
                  <c:v>872.56536928399805</c:v>
                </c:pt>
                <c:pt idx="467">
                  <c:v>851.93328173442501</c:v>
                </c:pt>
                <c:pt idx="468">
                  <c:v>817.66794430494997</c:v>
                </c:pt>
                <c:pt idx="469">
                  <c:v>791.27980334480799</c:v>
                </c:pt>
                <c:pt idx="470">
                  <c:v>748.43645125477701</c:v>
                </c:pt>
                <c:pt idx="471">
                  <c:v>703.89244702071403</c:v>
                </c:pt>
                <c:pt idx="472">
                  <c:v>671.77628537765202</c:v>
                </c:pt>
                <c:pt idx="473">
                  <c:v>642.80913347381397</c:v>
                </c:pt>
                <c:pt idx="474">
                  <c:v>639.22094433475797</c:v>
                </c:pt>
                <c:pt idx="475">
                  <c:v>608.34756695079705</c:v>
                </c:pt>
                <c:pt idx="476">
                  <c:v>562.89717118941996</c:v>
                </c:pt>
                <c:pt idx="477">
                  <c:v>526.22101918214105</c:v>
                </c:pt>
                <c:pt idx="478">
                  <c:v>506.24302861104201</c:v>
                </c:pt>
                <c:pt idx="479">
                  <c:v>441.60890289528498</c:v>
                </c:pt>
                <c:pt idx="480">
                  <c:v>395.86883561487002</c:v>
                </c:pt>
                <c:pt idx="481">
                  <c:v>379.73132873166702</c:v>
                </c:pt>
                <c:pt idx="482">
                  <c:v>363.46300245277001</c:v>
                </c:pt>
                <c:pt idx="483">
                  <c:v>337.65420453070499</c:v>
                </c:pt>
                <c:pt idx="484">
                  <c:v>323.28275948938102</c:v>
                </c:pt>
                <c:pt idx="485">
                  <c:v>308.28525019723298</c:v>
                </c:pt>
                <c:pt idx="486">
                  <c:v>335.85076571862697</c:v>
                </c:pt>
                <c:pt idx="487">
                  <c:v>335.84142147607798</c:v>
                </c:pt>
                <c:pt idx="488">
                  <c:v>335.00978388916099</c:v>
                </c:pt>
                <c:pt idx="489">
                  <c:v>358.20219389733097</c:v>
                </c:pt>
                <c:pt idx="490">
                  <c:v>368.44348373171999</c:v>
                </c:pt>
                <c:pt idx="491">
                  <c:v>379.90886934011002</c:v>
                </c:pt>
                <c:pt idx="492">
                  <c:v>388.15049126887902</c:v>
                </c:pt>
                <c:pt idx="493">
                  <c:v>403.76472056930299</c:v>
                </c:pt>
                <c:pt idx="494">
                  <c:v>430.592040929277</c:v>
                </c:pt>
                <c:pt idx="495">
                  <c:v>438.41317194331299</c:v>
                </c:pt>
                <c:pt idx="496">
                  <c:v>419.74337532916201</c:v>
                </c:pt>
                <c:pt idx="497">
                  <c:v>440.27267621068899</c:v>
                </c:pt>
                <c:pt idx="498">
                  <c:v>478.30374338766302</c:v>
                </c:pt>
                <c:pt idx="499">
                  <c:v>525.46413553562104</c:v>
                </c:pt>
                <c:pt idx="500">
                  <c:v>586.66892423566605</c:v>
                </c:pt>
                <c:pt idx="501">
                  <c:v>636.46439278261903</c:v>
                </c:pt>
                <c:pt idx="502">
                  <c:v>678.26118970709194</c:v>
                </c:pt>
                <c:pt idx="503">
                  <c:v>609.65576090774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HOSP_do_7_dne_7dni_shift7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-0.307618</c:v>
                </c:pt>
                <c:pt idx="1">
                  <c:v>0.14554400000000001</c:v>
                </c:pt>
                <c:pt idx="2">
                  <c:v>-0.32519700000000001</c:v>
                </c:pt>
                <c:pt idx="3">
                  <c:v>0.14303099999999999</c:v>
                </c:pt>
                <c:pt idx="4">
                  <c:v>-0.29999399999999998</c:v>
                </c:pt>
                <c:pt idx="5">
                  <c:v>0.56758600000000003</c:v>
                </c:pt>
                <c:pt idx="6">
                  <c:v>-0.28944700000000001</c:v>
                </c:pt>
                <c:pt idx="7">
                  <c:v>0.72197</c:v>
                </c:pt>
                <c:pt idx="8">
                  <c:v>-0.338806</c:v>
                </c:pt>
                <c:pt idx="9">
                  <c:v>0.42824499999999999</c:v>
                </c:pt>
                <c:pt idx="10">
                  <c:v>-0.35354999999999998</c:v>
                </c:pt>
                <c:pt idx="11">
                  <c:v>1.3429409999999999</c:v>
                </c:pt>
                <c:pt idx="12">
                  <c:v>-0.33683600000000002</c:v>
                </c:pt>
                <c:pt idx="13">
                  <c:v>2.1729999999999999E-2</c:v>
                </c:pt>
                <c:pt idx="14">
                  <c:v>-0.362371</c:v>
                </c:pt>
                <c:pt idx="15">
                  <c:v>-0.17383899999999999</c:v>
                </c:pt>
                <c:pt idx="16">
                  <c:v>-0.36063800000000001</c:v>
                </c:pt>
                <c:pt idx="17">
                  <c:v>-9.2449000000000003E-2</c:v>
                </c:pt>
                <c:pt idx="18">
                  <c:v>-0.35504799999999997</c:v>
                </c:pt>
                <c:pt idx="19">
                  <c:v>5.5370000000000003E-2</c:v>
                </c:pt>
                <c:pt idx="20">
                  <c:v>-0.34911199999999998</c:v>
                </c:pt>
                <c:pt idx="21">
                  <c:v>8.2380999999999996E-2</c:v>
                </c:pt>
                <c:pt idx="22">
                  <c:v>-0.35985</c:v>
                </c:pt>
                <c:pt idx="23">
                  <c:v>0.136293</c:v>
                </c:pt>
                <c:pt idx="24">
                  <c:v>-0.37289</c:v>
                </c:pt>
                <c:pt idx="25">
                  <c:v>-1.8539E-2</c:v>
                </c:pt>
                <c:pt idx="26">
                  <c:v>-0.37103399999999997</c:v>
                </c:pt>
                <c:pt idx="27">
                  <c:v>3.7373000000000003E-2</c:v>
                </c:pt>
                <c:pt idx="28">
                  <c:v>-0.31834600000000002</c:v>
                </c:pt>
                <c:pt idx="29">
                  <c:v>5.3395999999999999E-2</c:v>
                </c:pt>
                <c:pt idx="30">
                  <c:v>-0.25345899999999999</c:v>
                </c:pt>
                <c:pt idx="31">
                  <c:v>-0.126115</c:v>
                </c:pt>
                <c:pt idx="32">
                  <c:v>-0.17930699999999999</c:v>
                </c:pt>
                <c:pt idx="33">
                  <c:v>2.8124E-2</c:v>
                </c:pt>
                <c:pt idx="34">
                  <c:v>-8.0556000000000003E-2</c:v>
                </c:pt>
                <c:pt idx="35">
                  <c:v>9.4044000000000003E-2</c:v>
                </c:pt>
                <c:pt idx="36">
                  <c:v>-4.4694999999999999E-2</c:v>
                </c:pt>
                <c:pt idx="37">
                  <c:v>-1.2352999999999999E-2</c:v>
                </c:pt>
                <c:pt idx="38">
                  <c:v>0.14965100000000001</c:v>
                </c:pt>
                <c:pt idx="39">
                  <c:v>6.1110000000000001E-3</c:v>
                </c:pt>
                <c:pt idx="40">
                  <c:v>0.15417</c:v>
                </c:pt>
                <c:pt idx="41">
                  <c:v>9.2003000000000001E-2</c:v>
                </c:pt>
                <c:pt idx="42">
                  <c:v>0.122154</c:v>
                </c:pt>
                <c:pt idx="43">
                  <c:v>8.4694000000000005E-2</c:v>
                </c:pt>
                <c:pt idx="44">
                  <c:v>0.182446</c:v>
                </c:pt>
                <c:pt idx="45">
                  <c:v>0.13502600000000001</c:v>
                </c:pt>
                <c:pt idx="46">
                  <c:v>0.17710899999999999</c:v>
                </c:pt>
                <c:pt idx="47">
                  <c:v>0.286802</c:v>
                </c:pt>
                <c:pt idx="48">
                  <c:v>7.6777999999999999E-2</c:v>
                </c:pt>
                <c:pt idx="49">
                  <c:v>0.19211900000000001</c:v>
                </c:pt>
                <c:pt idx="50">
                  <c:v>0.179316</c:v>
                </c:pt>
                <c:pt idx="51">
                  <c:v>0.241006</c:v>
                </c:pt>
                <c:pt idx="52">
                  <c:v>0.28659099999999998</c:v>
                </c:pt>
                <c:pt idx="53">
                  <c:v>0.25729000000000002</c:v>
                </c:pt>
                <c:pt idx="54">
                  <c:v>0.27177400000000002</c:v>
                </c:pt>
                <c:pt idx="55">
                  <c:v>0.44957399999999997</c:v>
                </c:pt>
                <c:pt idx="56">
                  <c:v>0.46577400000000002</c:v>
                </c:pt>
                <c:pt idx="57">
                  <c:v>0.51743799999999995</c:v>
                </c:pt>
                <c:pt idx="58">
                  <c:v>-0.35924</c:v>
                </c:pt>
                <c:pt idx="59">
                  <c:v>0.51306200000000002</c:v>
                </c:pt>
                <c:pt idx="60">
                  <c:v>-0.34683900000000001</c:v>
                </c:pt>
                <c:pt idx="61">
                  <c:v>0.62428600000000001</c:v>
                </c:pt>
                <c:pt idx="62">
                  <c:v>-7.6918E-2</c:v>
                </c:pt>
                <c:pt idx="63">
                  <c:v>0.42994300000000002</c:v>
                </c:pt>
                <c:pt idx="64">
                  <c:v>-0.101243</c:v>
                </c:pt>
                <c:pt idx="65">
                  <c:v>0.34698200000000001</c:v>
                </c:pt>
                <c:pt idx="66">
                  <c:v>-0.17197299999999999</c:v>
                </c:pt>
                <c:pt idx="67">
                  <c:v>0.18323</c:v>
                </c:pt>
                <c:pt idx="68">
                  <c:v>-0.16447700000000001</c:v>
                </c:pt>
                <c:pt idx="69">
                  <c:v>0.269737</c:v>
                </c:pt>
                <c:pt idx="70">
                  <c:v>-0.18687500000000001</c:v>
                </c:pt>
                <c:pt idx="71">
                  <c:v>0.31733099999999997</c:v>
                </c:pt>
                <c:pt idx="72">
                  <c:v>-0.108894</c:v>
                </c:pt>
                <c:pt idx="73">
                  <c:v>0.31162099999999998</c:v>
                </c:pt>
                <c:pt idx="74">
                  <c:v>-9.2668E-2</c:v>
                </c:pt>
                <c:pt idx="75">
                  <c:v>0.21871199999999999</c:v>
                </c:pt>
                <c:pt idx="76">
                  <c:v>-0.105194</c:v>
                </c:pt>
                <c:pt idx="77">
                  <c:v>0.49111900000000003</c:v>
                </c:pt>
                <c:pt idx="78">
                  <c:v>-0.11153</c:v>
                </c:pt>
                <c:pt idx="79">
                  <c:v>0.41162100000000001</c:v>
                </c:pt>
                <c:pt idx="80">
                  <c:v>-0.116842</c:v>
                </c:pt>
                <c:pt idx="81">
                  <c:v>0.39399699999999999</c:v>
                </c:pt>
                <c:pt idx="82">
                  <c:v>-7.8112000000000001E-2</c:v>
                </c:pt>
                <c:pt idx="83">
                  <c:v>0.45079799999999998</c:v>
                </c:pt>
                <c:pt idx="84">
                  <c:v>-0.12642300000000001</c:v>
                </c:pt>
                <c:pt idx="85">
                  <c:v>0.31170500000000001</c:v>
                </c:pt>
                <c:pt idx="86">
                  <c:v>-0.122945</c:v>
                </c:pt>
                <c:pt idx="87">
                  <c:v>0.202127</c:v>
                </c:pt>
                <c:pt idx="88">
                  <c:v>-0.17149700000000001</c:v>
                </c:pt>
                <c:pt idx="89">
                  <c:v>0.428846</c:v>
                </c:pt>
                <c:pt idx="90">
                  <c:v>-0.12709799999999999</c:v>
                </c:pt>
                <c:pt idx="91">
                  <c:v>0.244422</c:v>
                </c:pt>
                <c:pt idx="92">
                  <c:v>-0.10125000000000001</c:v>
                </c:pt>
                <c:pt idx="93">
                  <c:v>8.8855000000000003E-2</c:v>
                </c:pt>
                <c:pt idx="94">
                  <c:v>-9.3725000000000003E-2</c:v>
                </c:pt>
                <c:pt idx="95">
                  <c:v>0.15214</c:v>
                </c:pt>
                <c:pt idx="96">
                  <c:v>-2.2674E-2</c:v>
                </c:pt>
                <c:pt idx="97">
                  <c:v>0.243393</c:v>
                </c:pt>
                <c:pt idx="98">
                  <c:v>-0.16084200000000001</c:v>
                </c:pt>
                <c:pt idx="99">
                  <c:v>0.24330599999999999</c:v>
                </c:pt>
                <c:pt idx="100">
                  <c:v>-0.17586499999999999</c:v>
                </c:pt>
                <c:pt idx="101">
                  <c:v>0.27487299999999998</c:v>
                </c:pt>
                <c:pt idx="102">
                  <c:v>-0.182311</c:v>
                </c:pt>
                <c:pt idx="103">
                  <c:v>0.374975</c:v>
                </c:pt>
                <c:pt idx="104">
                  <c:v>-0.16675599999999999</c:v>
                </c:pt>
                <c:pt idx="105">
                  <c:v>0.21582100000000001</c:v>
                </c:pt>
                <c:pt idx="106">
                  <c:v>-0.10170899999999999</c:v>
                </c:pt>
                <c:pt idx="107">
                  <c:v>0.272924</c:v>
                </c:pt>
                <c:pt idx="108">
                  <c:v>-0.110157</c:v>
                </c:pt>
                <c:pt idx="109">
                  <c:v>0.28378300000000001</c:v>
                </c:pt>
                <c:pt idx="110">
                  <c:v>-6.6854999999999998E-2</c:v>
                </c:pt>
                <c:pt idx="111">
                  <c:v>0.358066</c:v>
                </c:pt>
                <c:pt idx="112">
                  <c:v>-0.134245</c:v>
                </c:pt>
                <c:pt idx="113">
                  <c:v>0.31544499999999998</c:v>
                </c:pt>
                <c:pt idx="114">
                  <c:v>-0.121368</c:v>
                </c:pt>
                <c:pt idx="115">
                  <c:v>0.18332899999999999</c:v>
                </c:pt>
                <c:pt idx="116">
                  <c:v>-0.130027</c:v>
                </c:pt>
                <c:pt idx="117">
                  <c:v>-0.17427400000000001</c:v>
                </c:pt>
                <c:pt idx="118">
                  <c:v>-0.124213</c:v>
                </c:pt>
                <c:pt idx="119">
                  <c:v>0.31188900000000003</c:v>
                </c:pt>
                <c:pt idx="120">
                  <c:v>-0.102285</c:v>
                </c:pt>
                <c:pt idx="121">
                  <c:v>0.19234999999999999</c:v>
                </c:pt>
                <c:pt idx="122">
                  <c:v>-5.6904999999999997E-2</c:v>
                </c:pt>
                <c:pt idx="123">
                  <c:v>-3.2441999999999999E-2</c:v>
                </c:pt>
                <c:pt idx="124">
                  <c:v>-3.7839999999999999E-2</c:v>
                </c:pt>
                <c:pt idx="125">
                  <c:v>8.0366000000000007E-2</c:v>
                </c:pt>
                <c:pt idx="126">
                  <c:v>-8.8658000000000001E-2</c:v>
                </c:pt>
                <c:pt idx="127">
                  <c:v>0.15245500000000001</c:v>
                </c:pt>
                <c:pt idx="128">
                  <c:v>4.3200000000000001E-3</c:v>
                </c:pt>
                <c:pt idx="129">
                  <c:v>0.200295</c:v>
                </c:pt>
                <c:pt idx="130">
                  <c:v>9.0253E-2</c:v>
                </c:pt>
                <c:pt idx="131">
                  <c:v>0.30588599999999999</c:v>
                </c:pt>
                <c:pt idx="132">
                  <c:v>0.13983000000000001</c:v>
                </c:pt>
                <c:pt idx="133">
                  <c:v>0.27209499999999998</c:v>
                </c:pt>
                <c:pt idx="134">
                  <c:v>0.21385999999999999</c:v>
                </c:pt>
                <c:pt idx="135">
                  <c:v>0.116132</c:v>
                </c:pt>
                <c:pt idx="136">
                  <c:v>0.12396500000000001</c:v>
                </c:pt>
                <c:pt idx="137">
                  <c:v>-5.5024999999999998E-2</c:v>
                </c:pt>
                <c:pt idx="138">
                  <c:v>7.8594999999999998E-2</c:v>
                </c:pt>
                <c:pt idx="139">
                  <c:v>1.6683E-2</c:v>
                </c:pt>
                <c:pt idx="140">
                  <c:v>4.4609999999999997E-3</c:v>
                </c:pt>
                <c:pt idx="141">
                  <c:v>-0.14019400000000001</c:v>
                </c:pt>
                <c:pt idx="142">
                  <c:v>-9.8400000000000001E-2</c:v>
                </c:pt>
                <c:pt idx="143">
                  <c:v>-9.4103000000000006E-2</c:v>
                </c:pt>
                <c:pt idx="144">
                  <c:v>-0.112524</c:v>
                </c:pt>
                <c:pt idx="145">
                  <c:v>0.18626599999999999</c:v>
                </c:pt>
                <c:pt idx="146">
                  <c:v>-0.14948800000000001</c:v>
                </c:pt>
                <c:pt idx="147">
                  <c:v>-3.0200000000000001E-2</c:v>
                </c:pt>
                <c:pt idx="148">
                  <c:v>-0.139735</c:v>
                </c:pt>
                <c:pt idx="149">
                  <c:v>9.4769999999999993E-2</c:v>
                </c:pt>
                <c:pt idx="150">
                  <c:v>-0.123308</c:v>
                </c:pt>
                <c:pt idx="151">
                  <c:v>9.0622999999999995E-2</c:v>
                </c:pt>
                <c:pt idx="152">
                  <c:v>-0.13202700000000001</c:v>
                </c:pt>
                <c:pt idx="153">
                  <c:v>4.3549999999999998E-2</c:v>
                </c:pt>
                <c:pt idx="154">
                  <c:v>-3.0668000000000001E-2</c:v>
                </c:pt>
                <c:pt idx="155">
                  <c:v>-1.3003000000000001E-2</c:v>
                </c:pt>
                <c:pt idx="156">
                  <c:v>2.9557E-2</c:v>
                </c:pt>
                <c:pt idx="157">
                  <c:v>-0.11954099999999999</c:v>
                </c:pt>
                <c:pt idx="158">
                  <c:v>0.182894</c:v>
                </c:pt>
                <c:pt idx="159">
                  <c:v>-8.5109999999999995E-3</c:v>
                </c:pt>
                <c:pt idx="160">
                  <c:v>-0.19456899999999999</c:v>
                </c:pt>
                <c:pt idx="161">
                  <c:v>-9.9872000000000002E-2</c:v>
                </c:pt>
                <c:pt idx="162">
                  <c:v>-0.269957</c:v>
                </c:pt>
                <c:pt idx="163">
                  <c:v>-4.7749E-2</c:v>
                </c:pt>
                <c:pt idx="164">
                  <c:v>-0.24335000000000001</c:v>
                </c:pt>
                <c:pt idx="165">
                  <c:v>-8.4890999999999994E-2</c:v>
                </c:pt>
                <c:pt idx="166">
                  <c:v>-0.27289200000000002</c:v>
                </c:pt>
                <c:pt idx="167">
                  <c:v>-0.127806</c:v>
                </c:pt>
                <c:pt idx="168">
                  <c:v>-0.29303899999999999</c:v>
                </c:pt>
                <c:pt idx="169">
                  <c:v>-0.167994</c:v>
                </c:pt>
                <c:pt idx="170">
                  <c:v>-0.28736400000000001</c:v>
                </c:pt>
                <c:pt idx="171">
                  <c:v>-0.19747999999999999</c:v>
                </c:pt>
                <c:pt idx="172">
                  <c:v>-0.31406800000000001</c:v>
                </c:pt>
                <c:pt idx="173">
                  <c:v>-5.6336999999999998E-2</c:v>
                </c:pt>
                <c:pt idx="174">
                  <c:v>-0.34469699999999998</c:v>
                </c:pt>
                <c:pt idx="175">
                  <c:v>-9.6949999999999995E-2</c:v>
                </c:pt>
                <c:pt idx="176">
                  <c:v>-0.38578499999999999</c:v>
                </c:pt>
                <c:pt idx="177">
                  <c:v>-6.2246000000000003E-2</c:v>
                </c:pt>
                <c:pt idx="178">
                  <c:v>-0.38933200000000001</c:v>
                </c:pt>
                <c:pt idx="179">
                  <c:v>-4.8152E-2</c:v>
                </c:pt>
                <c:pt idx="180">
                  <c:v>-0.403283</c:v>
                </c:pt>
                <c:pt idx="181">
                  <c:v>-5.9376999999999999E-2</c:v>
                </c:pt>
                <c:pt idx="182">
                  <c:v>-0.38003300000000001</c:v>
                </c:pt>
                <c:pt idx="183">
                  <c:v>-6.4773999999999998E-2</c:v>
                </c:pt>
                <c:pt idx="184">
                  <c:v>-0.36286200000000002</c:v>
                </c:pt>
                <c:pt idx="185">
                  <c:v>-0.14918600000000001</c:v>
                </c:pt>
                <c:pt idx="186">
                  <c:v>-0.35761399999999999</c:v>
                </c:pt>
                <c:pt idx="187">
                  <c:v>-0.112762</c:v>
                </c:pt>
                <c:pt idx="188">
                  <c:v>-0.38135400000000003</c:v>
                </c:pt>
                <c:pt idx="189">
                  <c:v>-0.18961700000000001</c:v>
                </c:pt>
                <c:pt idx="190">
                  <c:v>-0.358101</c:v>
                </c:pt>
                <c:pt idx="191">
                  <c:v>-0.236514</c:v>
                </c:pt>
                <c:pt idx="192">
                  <c:v>-0.31858700000000001</c:v>
                </c:pt>
                <c:pt idx="193">
                  <c:v>-0.19264700000000001</c:v>
                </c:pt>
                <c:pt idx="194">
                  <c:v>-0.33422499999999999</c:v>
                </c:pt>
                <c:pt idx="195">
                  <c:v>-0.163908</c:v>
                </c:pt>
                <c:pt idx="196">
                  <c:v>-0.282169</c:v>
                </c:pt>
                <c:pt idx="197">
                  <c:v>-0.16481000000000001</c:v>
                </c:pt>
                <c:pt idx="198">
                  <c:v>-0.28720099999999998</c:v>
                </c:pt>
                <c:pt idx="199">
                  <c:v>-0.16527500000000001</c:v>
                </c:pt>
                <c:pt idx="200">
                  <c:v>-0.27599600000000002</c:v>
                </c:pt>
                <c:pt idx="201">
                  <c:v>-0.112438</c:v>
                </c:pt>
                <c:pt idx="202">
                  <c:v>-0.22531100000000001</c:v>
                </c:pt>
                <c:pt idx="203">
                  <c:v>-0.18570400000000001</c:v>
                </c:pt>
                <c:pt idx="204">
                  <c:v>-0.127773</c:v>
                </c:pt>
                <c:pt idx="205">
                  <c:v>-0.157828</c:v>
                </c:pt>
                <c:pt idx="206">
                  <c:v>-5.1771999999999999E-2</c:v>
                </c:pt>
                <c:pt idx="207">
                  <c:v>-0.17810200000000001</c:v>
                </c:pt>
                <c:pt idx="208">
                  <c:v>-6.5848000000000004E-2</c:v>
                </c:pt>
                <c:pt idx="209">
                  <c:v>-5.3448000000000002E-2</c:v>
                </c:pt>
                <c:pt idx="210">
                  <c:v>-0.257075</c:v>
                </c:pt>
                <c:pt idx="211">
                  <c:v>4.0917000000000002E-2</c:v>
                </c:pt>
                <c:pt idx="212">
                  <c:v>-0.192332</c:v>
                </c:pt>
                <c:pt idx="213">
                  <c:v>3.7704000000000001E-2</c:v>
                </c:pt>
                <c:pt idx="214">
                  <c:v>-0.207787</c:v>
                </c:pt>
                <c:pt idx="215">
                  <c:v>0.27755999999999997</c:v>
                </c:pt>
                <c:pt idx="216">
                  <c:v>-0.32624399999999998</c:v>
                </c:pt>
                <c:pt idx="217">
                  <c:v>0.25628499999999999</c:v>
                </c:pt>
                <c:pt idx="218">
                  <c:v>-0.341474</c:v>
                </c:pt>
                <c:pt idx="219">
                  <c:v>0.22875899999999999</c:v>
                </c:pt>
                <c:pt idx="220">
                  <c:v>-0.36534699999999998</c:v>
                </c:pt>
                <c:pt idx="221">
                  <c:v>0.37421300000000002</c:v>
                </c:pt>
                <c:pt idx="222">
                  <c:v>-0.31384499999999999</c:v>
                </c:pt>
                <c:pt idx="223">
                  <c:v>0.26438800000000001</c:v>
                </c:pt>
                <c:pt idx="224">
                  <c:v>-0.34017900000000001</c:v>
                </c:pt>
                <c:pt idx="225">
                  <c:v>0.115912</c:v>
                </c:pt>
                <c:pt idx="226">
                  <c:v>-0.31242900000000001</c:v>
                </c:pt>
                <c:pt idx="227">
                  <c:v>7.6756000000000005E-2</c:v>
                </c:pt>
                <c:pt idx="228">
                  <c:v>-0.287748</c:v>
                </c:pt>
                <c:pt idx="229">
                  <c:v>0.13120799999999999</c:v>
                </c:pt>
                <c:pt idx="230">
                  <c:v>-0.26681500000000002</c:v>
                </c:pt>
                <c:pt idx="231">
                  <c:v>-8.2658999999999996E-2</c:v>
                </c:pt>
                <c:pt idx="232">
                  <c:v>-0.13341900000000001</c:v>
                </c:pt>
                <c:pt idx="233">
                  <c:v>-8.115E-2</c:v>
                </c:pt>
                <c:pt idx="234">
                  <c:v>-0.14047599999999999</c:v>
                </c:pt>
                <c:pt idx="235">
                  <c:v>2.3609999999999998E-3</c:v>
                </c:pt>
                <c:pt idx="236">
                  <c:v>-0.23736199999999999</c:v>
                </c:pt>
                <c:pt idx="237">
                  <c:v>-1.9064999999999999E-2</c:v>
                </c:pt>
                <c:pt idx="238">
                  <c:v>-9.3998999999999999E-2</c:v>
                </c:pt>
                <c:pt idx="239">
                  <c:v>5.6755E-2</c:v>
                </c:pt>
                <c:pt idx="240">
                  <c:v>-0.162187</c:v>
                </c:pt>
                <c:pt idx="241">
                  <c:v>6.8581000000000003E-2</c:v>
                </c:pt>
                <c:pt idx="242">
                  <c:v>-0.203901</c:v>
                </c:pt>
                <c:pt idx="243">
                  <c:v>0.19520599999999999</c:v>
                </c:pt>
                <c:pt idx="244">
                  <c:v>-0.27212599999999998</c:v>
                </c:pt>
                <c:pt idx="245">
                  <c:v>0.21506700000000001</c:v>
                </c:pt>
                <c:pt idx="246">
                  <c:v>-0.36904500000000001</c:v>
                </c:pt>
                <c:pt idx="247">
                  <c:v>0.14185400000000001</c:v>
                </c:pt>
                <c:pt idx="248">
                  <c:v>-0.39322299999999999</c:v>
                </c:pt>
                <c:pt idx="249">
                  <c:v>0.30892799999999998</c:v>
                </c:pt>
                <c:pt idx="250">
                  <c:v>-0.34752300000000003</c:v>
                </c:pt>
                <c:pt idx="251">
                  <c:v>-1.7423000000000001E-2</c:v>
                </c:pt>
                <c:pt idx="252">
                  <c:v>-0.33189999999999997</c:v>
                </c:pt>
                <c:pt idx="253">
                  <c:v>-7.5431999999999999E-2</c:v>
                </c:pt>
                <c:pt idx="254">
                  <c:v>-0.22220100000000001</c:v>
                </c:pt>
                <c:pt idx="255">
                  <c:v>-0.19145499999999999</c:v>
                </c:pt>
                <c:pt idx="256">
                  <c:v>-0.21981300000000001</c:v>
                </c:pt>
                <c:pt idx="257">
                  <c:v>0.90378000000000003</c:v>
                </c:pt>
                <c:pt idx="258">
                  <c:v>-0.247224</c:v>
                </c:pt>
                <c:pt idx="259">
                  <c:v>-0.149142</c:v>
                </c:pt>
                <c:pt idx="260">
                  <c:v>-5.0634999999999999E-2</c:v>
                </c:pt>
                <c:pt idx="261">
                  <c:v>-0.19253600000000001</c:v>
                </c:pt>
                <c:pt idx="262">
                  <c:v>-0.25717200000000001</c:v>
                </c:pt>
                <c:pt idx="263">
                  <c:v>0.34526000000000001</c:v>
                </c:pt>
                <c:pt idx="264">
                  <c:v>-0.31628200000000001</c:v>
                </c:pt>
                <c:pt idx="265">
                  <c:v>0.26334999999999997</c:v>
                </c:pt>
                <c:pt idx="266">
                  <c:v>-0.25453399999999998</c:v>
                </c:pt>
                <c:pt idx="267">
                  <c:v>0.61938599999999999</c:v>
                </c:pt>
                <c:pt idx="268">
                  <c:v>-0.173931</c:v>
                </c:pt>
                <c:pt idx="269">
                  <c:v>1.0392999999999999E-2</c:v>
                </c:pt>
                <c:pt idx="270">
                  <c:v>-7.1162000000000003E-2</c:v>
                </c:pt>
                <c:pt idx="271">
                  <c:v>2.8708999999999998E-2</c:v>
                </c:pt>
                <c:pt idx="272">
                  <c:v>2.7692000000000001E-2</c:v>
                </c:pt>
                <c:pt idx="273">
                  <c:v>-0.437334</c:v>
                </c:pt>
                <c:pt idx="274">
                  <c:v>0.125052</c:v>
                </c:pt>
                <c:pt idx="275">
                  <c:v>0.17396200000000001</c:v>
                </c:pt>
                <c:pt idx="276">
                  <c:v>-2.4954E-2</c:v>
                </c:pt>
                <c:pt idx="277">
                  <c:v>-0.37094899999999997</c:v>
                </c:pt>
                <c:pt idx="278">
                  <c:v>-0.18323500000000001</c:v>
                </c:pt>
                <c:pt idx="279">
                  <c:v>-0.30347800000000003</c:v>
                </c:pt>
                <c:pt idx="280">
                  <c:v>-0.142265</c:v>
                </c:pt>
                <c:pt idx="281">
                  <c:v>-1.7880000000000001E-3</c:v>
                </c:pt>
                <c:pt idx="282">
                  <c:v>-0.328986</c:v>
                </c:pt>
                <c:pt idx="283">
                  <c:v>-0.24543400000000001</c:v>
                </c:pt>
                <c:pt idx="284">
                  <c:v>-2.9655999999999998E-2</c:v>
                </c:pt>
                <c:pt idx="285">
                  <c:v>4.3165000000000002E-2</c:v>
                </c:pt>
                <c:pt idx="286">
                  <c:v>-0.39943600000000001</c:v>
                </c:pt>
                <c:pt idx="287">
                  <c:v>-0.54932800000000004</c:v>
                </c:pt>
                <c:pt idx="288">
                  <c:v>-0.51948899999999998</c:v>
                </c:pt>
                <c:pt idx="289">
                  <c:v>0.20920900000000001</c:v>
                </c:pt>
                <c:pt idx="290">
                  <c:v>-0.50670700000000002</c:v>
                </c:pt>
                <c:pt idx="291">
                  <c:v>-5.9504000000000001E-2</c:v>
                </c:pt>
                <c:pt idx="292">
                  <c:v>-0.45114599999999999</c:v>
                </c:pt>
                <c:pt idx="293">
                  <c:v>0.90722999999999998</c:v>
                </c:pt>
                <c:pt idx="294">
                  <c:v>-0.11099299999999999</c:v>
                </c:pt>
                <c:pt idx="295">
                  <c:v>3.3649999999999999E-2</c:v>
                </c:pt>
                <c:pt idx="296">
                  <c:v>-0.37661099999999997</c:v>
                </c:pt>
                <c:pt idx="297">
                  <c:v>1.9802729999999999</c:v>
                </c:pt>
                <c:pt idx="298">
                  <c:v>-0.21398800000000001</c:v>
                </c:pt>
                <c:pt idx="299">
                  <c:v>0.61705299999999996</c:v>
                </c:pt>
                <c:pt idx="300">
                  <c:v>4.2479000000000003E-2</c:v>
                </c:pt>
                <c:pt idx="301">
                  <c:v>1.3949240000000001</c:v>
                </c:pt>
                <c:pt idx="302">
                  <c:v>-0.471474</c:v>
                </c:pt>
                <c:pt idx="303">
                  <c:v>-4.0730000000000002E-2</c:v>
                </c:pt>
                <c:pt idx="304">
                  <c:v>-0.61527500000000002</c:v>
                </c:pt>
                <c:pt idx="305">
                  <c:v>0.82884999999999998</c:v>
                </c:pt>
                <c:pt idx="306">
                  <c:v>0</c:v>
                </c:pt>
                <c:pt idx="307">
                  <c:v>0.95948299999999997</c:v>
                </c:pt>
                <c:pt idx="308">
                  <c:v>-0.55415400000000004</c:v>
                </c:pt>
                <c:pt idx="309">
                  <c:v>0.63290199999999996</c:v>
                </c:pt>
                <c:pt idx="310">
                  <c:v>-0.275501</c:v>
                </c:pt>
                <c:pt idx="311">
                  <c:v>2.135173</c:v>
                </c:pt>
                <c:pt idx="312">
                  <c:v>-0.359097</c:v>
                </c:pt>
                <c:pt idx="313">
                  <c:v>-0.41371599999999997</c:v>
                </c:pt>
                <c:pt idx="314">
                  <c:v>-0.49842399999999998</c:v>
                </c:pt>
                <c:pt idx="315">
                  <c:v>0</c:v>
                </c:pt>
                <c:pt idx="316">
                  <c:v>-0.41482799999999997</c:v>
                </c:pt>
                <c:pt idx="317">
                  <c:v>2.135173</c:v>
                </c:pt>
                <c:pt idx="318">
                  <c:v>-0.442693</c:v>
                </c:pt>
                <c:pt idx="319">
                  <c:v>-0.259992</c:v>
                </c:pt>
                <c:pt idx="320">
                  <c:v>0</c:v>
                </c:pt>
                <c:pt idx="321">
                  <c:v>-0.13782700000000001</c:v>
                </c:pt>
                <c:pt idx="322">
                  <c:v>-0.52938499999999999</c:v>
                </c:pt>
                <c:pt idx="323">
                  <c:v>-3.3321000000000003E-2</c:v>
                </c:pt>
                <c:pt idx="324">
                  <c:v>-0.394924</c:v>
                </c:pt>
                <c:pt idx="325">
                  <c:v>-0.384162</c:v>
                </c:pt>
                <c:pt idx="326">
                  <c:v>-0.38696199999999997</c:v>
                </c:pt>
                <c:pt idx="327">
                  <c:v>-0.30951499999999998</c:v>
                </c:pt>
                <c:pt idx="328">
                  <c:v>1.0063029999999999</c:v>
                </c:pt>
                <c:pt idx="329">
                  <c:v>4.5058000000000001E-2</c:v>
                </c:pt>
                <c:pt idx="330">
                  <c:v>1.007266</c:v>
                </c:pt>
                <c:pt idx="331">
                  <c:v>-0.107346</c:v>
                </c:pt>
                <c:pt idx="332">
                  <c:v>3.2355320000000001</c:v>
                </c:pt>
                <c:pt idx="333">
                  <c:v>0.241006</c:v>
                </c:pt>
                <c:pt idx="334">
                  <c:v>-0.68243699999999996</c:v>
                </c:pt>
                <c:pt idx="335">
                  <c:v>-0.20200299999999999</c:v>
                </c:pt>
                <c:pt idx="336">
                  <c:v>1.786532</c:v>
                </c:pt>
                <c:pt idx="337">
                  <c:v>0.56758600000000003</c:v>
                </c:pt>
                <c:pt idx="338">
                  <c:v>0.82053399999999999</c:v>
                </c:pt>
                <c:pt idx="339">
                  <c:v>0.53492799999999996</c:v>
                </c:pt>
                <c:pt idx="340">
                  <c:v>0.74622699999999997</c:v>
                </c:pt>
                <c:pt idx="341">
                  <c:v>-0.120575</c:v>
                </c:pt>
                <c:pt idx="342">
                  <c:v>0.33753499999999997</c:v>
                </c:pt>
                <c:pt idx="343">
                  <c:v>1.8085929999999999</c:v>
                </c:pt>
                <c:pt idx="344">
                  <c:v>0.52330399999999999</c:v>
                </c:pt>
                <c:pt idx="345">
                  <c:v>0.65384100000000001</c:v>
                </c:pt>
                <c:pt idx="346">
                  <c:v>1.173495</c:v>
                </c:pt>
                <c:pt idx="347">
                  <c:v>0</c:v>
                </c:pt>
                <c:pt idx="348">
                  <c:v>1.2292259999999999</c:v>
                </c:pt>
                <c:pt idx="349">
                  <c:v>0</c:v>
                </c:pt>
                <c:pt idx="350">
                  <c:v>0.89484200000000003</c:v>
                </c:pt>
                <c:pt idx="351">
                  <c:v>0</c:v>
                </c:pt>
                <c:pt idx="352">
                  <c:v>-0.33726</c:v>
                </c:pt>
                <c:pt idx="353">
                  <c:v>-0.25833499999999998</c:v>
                </c:pt>
                <c:pt idx="354">
                  <c:v>-0.59455100000000005</c:v>
                </c:pt>
                <c:pt idx="355">
                  <c:v>-7.7929999999999999E-2</c:v>
                </c:pt>
                <c:pt idx="356">
                  <c:v>4.3478000000000003E-2</c:v>
                </c:pt>
                <c:pt idx="357">
                  <c:v>-0.37459599999999998</c:v>
                </c:pt>
                <c:pt idx="358">
                  <c:v>-0.52017800000000003</c:v>
                </c:pt>
                <c:pt idx="359">
                  <c:v>-0.36256899999999997</c:v>
                </c:pt>
                <c:pt idx="360">
                  <c:v>-0.46979700000000002</c:v>
                </c:pt>
                <c:pt idx="361">
                  <c:v>-0.38662299999999999</c:v>
                </c:pt>
                <c:pt idx="362">
                  <c:v>-5.5437E-2</c:v>
                </c:pt>
                <c:pt idx="363">
                  <c:v>-0.41067700000000001</c:v>
                </c:pt>
                <c:pt idx="364">
                  <c:v>-6.4348000000000002E-2</c:v>
                </c:pt>
                <c:pt idx="365">
                  <c:v>0.20269899999999999</c:v>
                </c:pt>
                <c:pt idx="366">
                  <c:v>-8.5140999999999994E-2</c:v>
                </c:pt>
                <c:pt idx="367">
                  <c:v>1.525668</c:v>
                </c:pt>
                <c:pt idx="368">
                  <c:v>-0.14751700000000001</c:v>
                </c:pt>
                <c:pt idx="369">
                  <c:v>0.695187</c:v>
                </c:pt>
                <c:pt idx="370">
                  <c:v>2.9946E-2</c:v>
                </c:pt>
                <c:pt idx="371">
                  <c:v>-9.0386999999999995E-2</c:v>
                </c:pt>
                <c:pt idx="372">
                  <c:v>0.300985</c:v>
                </c:pt>
                <c:pt idx="373">
                  <c:v>0.28172599999999998</c:v>
                </c:pt>
                <c:pt idx="374">
                  <c:v>-0.61452200000000001</c:v>
                </c:pt>
                <c:pt idx="375">
                  <c:v>-0.328127</c:v>
                </c:pt>
                <c:pt idx="376">
                  <c:v>-0.60970400000000002</c:v>
                </c:pt>
                <c:pt idx="377">
                  <c:v>0.603599</c:v>
                </c:pt>
                <c:pt idx="378">
                  <c:v>-0.55648200000000003</c:v>
                </c:pt>
                <c:pt idx="379">
                  <c:v>0.45827299999999999</c:v>
                </c:pt>
                <c:pt idx="380">
                  <c:v>-0.49241800000000002</c:v>
                </c:pt>
                <c:pt idx="381">
                  <c:v>1.856411</c:v>
                </c:pt>
                <c:pt idx="382">
                  <c:v>0.28743299999999999</c:v>
                </c:pt>
                <c:pt idx="383">
                  <c:v>5.7351169999999998</c:v>
                </c:pt>
                <c:pt idx="384">
                  <c:v>1.2586550000000001</c:v>
                </c:pt>
                <c:pt idx="385">
                  <c:v>2.938841</c:v>
                </c:pt>
                <c:pt idx="386">
                  <c:v>6.0470050000000004</c:v>
                </c:pt>
                <c:pt idx="387">
                  <c:v>1.806298</c:v>
                </c:pt>
                <c:pt idx="388">
                  <c:v>1.457417</c:v>
                </c:pt>
                <c:pt idx="389">
                  <c:v>0.98445400000000005</c:v>
                </c:pt>
                <c:pt idx="390">
                  <c:v>1.046341</c:v>
                </c:pt>
                <c:pt idx="391">
                  <c:v>0.42319400000000001</c:v>
                </c:pt>
                <c:pt idx="392">
                  <c:v>0.147396</c:v>
                </c:pt>
                <c:pt idx="393">
                  <c:v>4.8065999999999998E-2</c:v>
                </c:pt>
                <c:pt idx="394">
                  <c:v>-0.105572</c:v>
                </c:pt>
                <c:pt idx="395">
                  <c:v>-1.2068000000000001E-2</c:v>
                </c:pt>
                <c:pt idx="396">
                  <c:v>-0.25313799999999997</c:v>
                </c:pt>
                <c:pt idx="397">
                  <c:v>-0.29688300000000001</c:v>
                </c:pt>
                <c:pt idx="398">
                  <c:v>-0.15676799999999999</c:v>
                </c:pt>
                <c:pt idx="399">
                  <c:v>-0.55328299999999997</c:v>
                </c:pt>
                <c:pt idx="400">
                  <c:v>0.42488799999999999</c:v>
                </c:pt>
                <c:pt idx="401">
                  <c:v>-0.50208200000000003</c:v>
                </c:pt>
                <c:pt idx="402">
                  <c:v>0.22870799999999999</c:v>
                </c:pt>
                <c:pt idx="403">
                  <c:v>-0.52585800000000005</c:v>
                </c:pt>
                <c:pt idx="404">
                  <c:v>0.45005600000000001</c:v>
                </c:pt>
                <c:pt idx="405">
                  <c:v>-0.43874000000000002</c:v>
                </c:pt>
                <c:pt idx="406">
                  <c:v>0.59611599999999998</c:v>
                </c:pt>
                <c:pt idx="407">
                  <c:v>-0.36164400000000002</c:v>
                </c:pt>
                <c:pt idx="408">
                  <c:v>-0.23025000000000001</c:v>
                </c:pt>
                <c:pt idx="409">
                  <c:v>-0.35294700000000001</c:v>
                </c:pt>
                <c:pt idx="410">
                  <c:v>-0.18387200000000001</c:v>
                </c:pt>
                <c:pt idx="411">
                  <c:v>-0.35015400000000002</c:v>
                </c:pt>
                <c:pt idx="412">
                  <c:v>-0.21190300000000001</c:v>
                </c:pt>
                <c:pt idx="413">
                  <c:v>-0.40481800000000001</c:v>
                </c:pt>
                <c:pt idx="414">
                  <c:v>-0.32502599999999998</c:v>
                </c:pt>
                <c:pt idx="415">
                  <c:v>-0.38290000000000002</c:v>
                </c:pt>
                <c:pt idx="416">
                  <c:v>-0.10140200000000001</c:v>
                </c:pt>
                <c:pt idx="417">
                  <c:v>-0.386349</c:v>
                </c:pt>
                <c:pt idx="418">
                  <c:v>-0.152251</c:v>
                </c:pt>
                <c:pt idx="419">
                  <c:v>-0.45436300000000002</c:v>
                </c:pt>
                <c:pt idx="420">
                  <c:v>-0.233018</c:v>
                </c:pt>
                <c:pt idx="421">
                  <c:v>-0.41388399999999997</c:v>
                </c:pt>
                <c:pt idx="422">
                  <c:v>-0.270818</c:v>
                </c:pt>
                <c:pt idx="423">
                  <c:v>-0.34326200000000001</c:v>
                </c:pt>
                <c:pt idx="424">
                  <c:v>-0.37913999999999998</c:v>
                </c:pt>
                <c:pt idx="425">
                  <c:v>-0.27208700000000002</c:v>
                </c:pt>
                <c:pt idx="426">
                  <c:v>-0.23975299999999999</c:v>
                </c:pt>
                <c:pt idx="427">
                  <c:v>-0.109567</c:v>
                </c:pt>
                <c:pt idx="428">
                  <c:v>-0.19900100000000001</c:v>
                </c:pt>
                <c:pt idx="429">
                  <c:v>-0.11013000000000001</c:v>
                </c:pt>
                <c:pt idx="430">
                  <c:v>-0.12590000000000001</c:v>
                </c:pt>
                <c:pt idx="431">
                  <c:v>-0.16534799999999999</c:v>
                </c:pt>
                <c:pt idx="432">
                  <c:v>-9.8672999999999997E-2</c:v>
                </c:pt>
                <c:pt idx="433">
                  <c:v>-0.17114599999999999</c:v>
                </c:pt>
                <c:pt idx="434">
                  <c:v>-0.28411900000000001</c:v>
                </c:pt>
                <c:pt idx="435">
                  <c:v>-0.18356600000000001</c:v>
                </c:pt>
                <c:pt idx="436">
                  <c:v>-0.32821099999999997</c:v>
                </c:pt>
                <c:pt idx="437">
                  <c:v>-0.191745</c:v>
                </c:pt>
                <c:pt idx="438">
                  <c:v>-0.43165399999999998</c:v>
                </c:pt>
                <c:pt idx="439">
                  <c:v>-0.17563699999999999</c:v>
                </c:pt>
                <c:pt idx="440">
                  <c:v>-0.344642</c:v>
                </c:pt>
                <c:pt idx="441">
                  <c:v>-0.16009599999999999</c:v>
                </c:pt>
                <c:pt idx="442">
                  <c:v>-0.34487899999999999</c:v>
                </c:pt>
                <c:pt idx="443">
                  <c:v>-0.17247899999999999</c:v>
                </c:pt>
                <c:pt idx="444">
                  <c:v>-0.28953200000000001</c:v>
                </c:pt>
                <c:pt idx="445">
                  <c:v>0.208375</c:v>
                </c:pt>
                <c:pt idx="446">
                  <c:v>-0.16211600000000001</c:v>
                </c:pt>
                <c:pt idx="447">
                  <c:v>0.198994</c:v>
                </c:pt>
                <c:pt idx="448">
                  <c:v>-0.31523099999999998</c:v>
                </c:pt>
                <c:pt idx="449">
                  <c:v>0.13900999999999999</c:v>
                </c:pt>
                <c:pt idx="450">
                  <c:v>-0.243895</c:v>
                </c:pt>
                <c:pt idx="451">
                  <c:v>0.12409199999999999</c:v>
                </c:pt>
                <c:pt idx="452">
                  <c:v>-0.31024099999999999</c:v>
                </c:pt>
                <c:pt idx="453">
                  <c:v>0.11969399999999999</c:v>
                </c:pt>
                <c:pt idx="454">
                  <c:v>-0.23908399999999999</c:v>
                </c:pt>
                <c:pt idx="455">
                  <c:v>-3.4372E-2</c:v>
                </c:pt>
                <c:pt idx="456">
                  <c:v>0.825075</c:v>
                </c:pt>
                <c:pt idx="457">
                  <c:v>1.9765999999999999E-2</c:v>
                </c:pt>
                <c:pt idx="458">
                  <c:v>0.461507</c:v>
                </c:pt>
                <c:pt idx="459">
                  <c:v>2.1699E-2</c:v>
                </c:pt>
                <c:pt idx="460">
                  <c:v>0.70407799999999998</c:v>
                </c:pt>
                <c:pt idx="461">
                  <c:v>3.6385000000000001E-2</c:v>
                </c:pt>
                <c:pt idx="462">
                  <c:v>0.43818099999999999</c:v>
                </c:pt>
                <c:pt idx="463">
                  <c:v>0.100357</c:v>
                </c:pt>
                <c:pt idx="464">
                  <c:v>0.33763799999999999</c:v>
                </c:pt>
                <c:pt idx="465">
                  <c:v>3.9986000000000001E-2</c:v>
                </c:pt>
                <c:pt idx="466">
                  <c:v>0.257801</c:v>
                </c:pt>
                <c:pt idx="467">
                  <c:v>7.5426999999999994E-2</c:v>
                </c:pt>
                <c:pt idx="468">
                  <c:v>0.19680500000000001</c:v>
                </c:pt>
                <c:pt idx="469">
                  <c:v>1.4478E-2</c:v>
                </c:pt>
                <c:pt idx="470">
                  <c:v>0.21296999999999999</c:v>
                </c:pt>
                <c:pt idx="471">
                  <c:v>5.7700000000000001E-2</c:v>
                </c:pt>
                <c:pt idx="472">
                  <c:v>0.113875</c:v>
                </c:pt>
                <c:pt idx="473">
                  <c:v>5.7286999999999998E-2</c:v>
                </c:pt>
                <c:pt idx="474">
                  <c:v>0.37236399999999997</c:v>
                </c:pt>
                <c:pt idx="475">
                  <c:v>-2.581E-2</c:v>
                </c:pt>
                <c:pt idx="476">
                  <c:v>0.33074300000000001</c:v>
                </c:pt>
                <c:pt idx="477">
                  <c:v>-4.5422999999999998E-2</c:v>
                </c:pt>
                <c:pt idx="478">
                  <c:v>0.33124500000000001</c:v>
                </c:pt>
                <c:pt idx="479">
                  <c:v>-0.10152799999999999</c:v>
                </c:pt>
                <c:pt idx="480">
                  <c:v>0.29321000000000003</c:v>
                </c:pt>
                <c:pt idx="481">
                  <c:v>-0.124212</c:v>
                </c:pt>
                <c:pt idx="482">
                  <c:v>0.26708399999999999</c:v>
                </c:pt>
                <c:pt idx="483">
                  <c:v>-0.105334</c:v>
                </c:pt>
                <c:pt idx="484">
                  <c:v>0.21088000000000001</c:v>
                </c:pt>
                <c:pt idx="485">
                  <c:v>-9.8427000000000001E-2</c:v>
                </c:pt>
                <c:pt idx="486">
                  <c:v>0.167241</c:v>
                </c:pt>
                <c:pt idx="487">
                  <c:v>-0.110681</c:v>
                </c:pt>
                <c:pt idx="488">
                  <c:v>0.486321</c:v>
                </c:pt>
                <c:pt idx="489">
                  <c:v>-9.0088000000000001E-2</c:v>
                </c:pt>
                <c:pt idx="490">
                  <c:v>0.15381600000000001</c:v>
                </c:pt>
                <c:pt idx="491">
                  <c:v>-0.114227</c:v>
                </c:pt>
                <c:pt idx="492">
                  <c:v>0.22381699999999999</c:v>
                </c:pt>
                <c:pt idx="493">
                  <c:v>-0.16117100000000001</c:v>
                </c:pt>
                <c:pt idx="494">
                  <c:v>0.213504</c:v>
                </c:pt>
                <c:pt idx="495">
                  <c:v>-0.110914</c:v>
                </c:pt>
                <c:pt idx="496">
                  <c:v>0.17369000000000001</c:v>
                </c:pt>
                <c:pt idx="497">
                  <c:v>-0.193938</c:v>
                </c:pt>
                <c:pt idx="498">
                  <c:v>0.22639599999999999</c:v>
                </c:pt>
                <c:pt idx="499">
                  <c:v>-0.18427299999999999</c:v>
                </c:pt>
                <c:pt idx="500">
                  <c:v>0.26772600000000002</c:v>
                </c:pt>
                <c:pt idx="501">
                  <c:v>-0.13977899999999999</c:v>
                </c:pt>
                <c:pt idx="502">
                  <c:v>0.454971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do_7_dne_7dni_shift7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4.5232273837999999E-2</c:v>
                </c:pt>
                <c:pt idx="1">
                  <c:v>4.5764753110999999E-2</c:v>
                </c:pt>
                <c:pt idx="2">
                  <c:v>4.3589743589000002E-2</c:v>
                </c:pt>
                <c:pt idx="3">
                  <c:v>4.1273584905000001E-2</c:v>
                </c:pt>
                <c:pt idx="4">
                  <c:v>3.9071566730999999E-2</c:v>
                </c:pt>
                <c:pt idx="5">
                  <c:v>4.4362292051E-2</c:v>
                </c:pt>
                <c:pt idx="6">
                  <c:v>4.4512402309999997E-2</c:v>
                </c:pt>
                <c:pt idx="7">
                  <c:v>4.4975186104000003E-2</c:v>
                </c:pt>
                <c:pt idx="8">
                  <c:v>4.5389666000000002E-2</c:v>
                </c:pt>
                <c:pt idx="9">
                  <c:v>4.1518987340999999E-2</c:v>
                </c:pt>
                <c:pt idx="10">
                  <c:v>4.3083900225999998E-2</c:v>
                </c:pt>
                <c:pt idx="11">
                  <c:v>4.1882237003999997E-2</c:v>
                </c:pt>
                <c:pt idx="12">
                  <c:v>4.6490218642000002E-2</c:v>
                </c:pt>
                <c:pt idx="13">
                  <c:v>4.1714285714000002E-2</c:v>
                </c:pt>
                <c:pt idx="14">
                  <c:v>3.8910505836000003E-2</c:v>
                </c:pt>
                <c:pt idx="15">
                  <c:v>3.5193262144000002E-2</c:v>
                </c:pt>
                <c:pt idx="16">
                  <c:v>3.3171521034999998E-2</c:v>
                </c:pt>
                <c:pt idx="17">
                  <c:v>3.2368808238999999E-2</c:v>
                </c:pt>
                <c:pt idx="18">
                  <c:v>3.2452919577999999E-2</c:v>
                </c:pt>
                <c:pt idx="19">
                  <c:v>3.3881470035999998E-2</c:v>
                </c:pt>
                <c:pt idx="20">
                  <c:v>3.5377358489999997E-2</c:v>
                </c:pt>
                <c:pt idx="21">
                  <c:v>3.6419088624999998E-2</c:v>
                </c:pt>
                <c:pt idx="22">
                  <c:v>3.8734273732000002E-2</c:v>
                </c:pt>
                <c:pt idx="23">
                  <c:v>3.9595375721999997E-2</c:v>
                </c:pt>
                <c:pt idx="24">
                  <c:v>3.8980821158999999E-2</c:v>
                </c:pt>
                <c:pt idx="25">
                  <c:v>4.1108711302999999E-2</c:v>
                </c:pt>
                <c:pt idx="26">
                  <c:v>4.1506586169E-2</c:v>
                </c:pt>
                <c:pt idx="27">
                  <c:v>4.2359585817000001E-2</c:v>
                </c:pt>
                <c:pt idx="28">
                  <c:v>4.1234001447999998E-2</c:v>
                </c:pt>
                <c:pt idx="29">
                  <c:v>4.3721520446999999E-2</c:v>
                </c:pt>
                <c:pt idx="30">
                  <c:v>4.3947076994000002E-2</c:v>
                </c:pt>
                <c:pt idx="31">
                  <c:v>4.5566647092999998E-2</c:v>
                </c:pt>
                <c:pt idx="32">
                  <c:v>4.8864333947000002E-2</c:v>
                </c:pt>
                <c:pt idx="33">
                  <c:v>5.1235684146999999E-2</c:v>
                </c:pt>
                <c:pt idx="34">
                  <c:v>5.4816983893999999E-2</c:v>
                </c:pt>
                <c:pt idx="35">
                  <c:v>5.7060126043000002E-2</c:v>
                </c:pt>
                <c:pt idx="36">
                  <c:v>5.9433310296999997E-2</c:v>
                </c:pt>
                <c:pt idx="37">
                  <c:v>6.0253807106E-2</c:v>
                </c:pt>
                <c:pt idx="38">
                  <c:v>6.2043606607999999E-2</c:v>
                </c:pt>
                <c:pt idx="39">
                  <c:v>6.468777714E-2</c:v>
                </c:pt>
                <c:pt idx="40">
                  <c:v>6.8344295109999995E-2</c:v>
                </c:pt>
                <c:pt idx="41">
                  <c:v>6.6443119721000005E-2</c:v>
                </c:pt>
                <c:pt idx="42">
                  <c:v>6.5019978204999995E-2</c:v>
                </c:pt>
                <c:pt idx="43">
                  <c:v>6.4768825626999996E-2</c:v>
                </c:pt>
                <c:pt idx="44">
                  <c:v>6.2083499457999999E-2</c:v>
                </c:pt>
                <c:pt idx="45">
                  <c:v>6.2103682277999998E-2</c:v>
                </c:pt>
                <c:pt idx="46">
                  <c:v>6.4099052209999993E-2</c:v>
                </c:pt>
                <c:pt idx="47">
                  <c:v>6.5970440315999995E-2</c:v>
                </c:pt>
                <c:pt idx="48">
                  <c:v>6.2519806238000006E-2</c:v>
                </c:pt>
                <c:pt idx="49">
                  <c:v>6.0388924975000001E-2</c:v>
                </c:pt>
                <c:pt idx="50">
                  <c:v>5.8320286289000003E-2</c:v>
                </c:pt>
                <c:pt idx="51">
                  <c:v>5.6332333816000002E-2</c:v>
                </c:pt>
                <c:pt idx="52">
                  <c:v>5.7066451385000001E-2</c:v>
                </c:pt>
                <c:pt idx="53">
                  <c:v>5.8668314434000002E-2</c:v>
                </c:pt>
                <c:pt idx="54">
                  <c:v>6.0675681926000001E-2</c:v>
                </c:pt>
                <c:pt idx="55">
                  <c:v>5.8595634968999999E-2</c:v>
                </c:pt>
                <c:pt idx="56">
                  <c:v>5.8614766727999999E-2</c:v>
                </c:pt>
                <c:pt idx="57">
                  <c:v>5.8502004964000001E-2</c:v>
                </c:pt>
                <c:pt idx="58">
                  <c:v>5.8231447892E-2</c:v>
                </c:pt>
                <c:pt idx="59">
                  <c:v>5.8752825714999998E-2</c:v>
                </c:pt>
                <c:pt idx="60">
                  <c:v>6.0332467065999998E-2</c:v>
                </c:pt>
                <c:pt idx="61">
                  <c:v>6.1850432868000002E-2</c:v>
                </c:pt>
                <c:pt idx="62">
                  <c:v>5.9701200097000001E-2</c:v>
                </c:pt>
                <c:pt idx="63">
                  <c:v>5.9369148222999997E-2</c:v>
                </c:pt>
                <c:pt idx="64">
                  <c:v>6.0407727442999999E-2</c:v>
                </c:pt>
                <c:pt idx="65">
                  <c:v>6.1913472243999998E-2</c:v>
                </c:pt>
                <c:pt idx="66">
                  <c:v>6.2652420121000002E-2</c:v>
                </c:pt>
                <c:pt idx="67">
                  <c:v>6.3907539900000004E-2</c:v>
                </c:pt>
                <c:pt idx="68">
                  <c:v>6.5696026554000003E-2</c:v>
                </c:pt>
                <c:pt idx="69">
                  <c:v>6.4931084052000002E-2</c:v>
                </c:pt>
                <c:pt idx="70">
                  <c:v>6.4468082858E-2</c:v>
                </c:pt>
                <c:pt idx="71">
                  <c:v>6.5545103078999994E-2</c:v>
                </c:pt>
                <c:pt idx="72">
                  <c:v>6.5219485564999999E-2</c:v>
                </c:pt>
                <c:pt idx="73">
                  <c:v>6.5033127713000002E-2</c:v>
                </c:pt>
                <c:pt idx="74">
                  <c:v>6.7383314727000002E-2</c:v>
                </c:pt>
                <c:pt idx="75">
                  <c:v>6.9578389295000001E-2</c:v>
                </c:pt>
                <c:pt idx="76">
                  <c:v>6.7475580748000002E-2</c:v>
                </c:pt>
                <c:pt idx="77">
                  <c:v>6.7857378236999999E-2</c:v>
                </c:pt>
                <c:pt idx="78">
                  <c:v>7.1354005851000005E-2</c:v>
                </c:pt>
                <c:pt idx="79">
                  <c:v>7.4435896609999996E-2</c:v>
                </c:pt>
                <c:pt idx="80">
                  <c:v>7.7285338785000005E-2</c:v>
                </c:pt>
                <c:pt idx="81">
                  <c:v>8.0871838868999998E-2</c:v>
                </c:pt>
                <c:pt idx="82">
                  <c:v>8.4927404897E-2</c:v>
                </c:pt>
                <c:pt idx="83">
                  <c:v>8.3478012214000002E-2</c:v>
                </c:pt>
                <c:pt idx="84">
                  <c:v>8.5916857494999999E-2</c:v>
                </c:pt>
                <c:pt idx="85">
                  <c:v>8.5065282657999994E-2</c:v>
                </c:pt>
                <c:pt idx="86">
                  <c:v>8.4543543102999996E-2</c:v>
                </c:pt>
                <c:pt idx="87">
                  <c:v>8.4170409690999995E-2</c:v>
                </c:pt>
                <c:pt idx="88">
                  <c:v>8.6380591534999995E-2</c:v>
                </c:pt>
                <c:pt idx="89">
                  <c:v>8.6820856712000002E-2</c:v>
                </c:pt>
                <c:pt idx="90">
                  <c:v>8.1940613337000007E-2</c:v>
                </c:pt>
                <c:pt idx="91">
                  <c:v>8.2207057698000005E-2</c:v>
                </c:pt>
                <c:pt idx="92">
                  <c:v>8.2939632545000003E-2</c:v>
                </c:pt>
                <c:pt idx="93">
                  <c:v>8.3625833625000007E-2</c:v>
                </c:pt>
                <c:pt idx="94">
                  <c:v>8.6030856443000001E-2</c:v>
                </c:pt>
                <c:pt idx="95">
                  <c:v>8.9630141721000006E-2</c:v>
                </c:pt>
                <c:pt idx="96">
                  <c:v>9.1695166805999997E-2</c:v>
                </c:pt>
                <c:pt idx="97">
                  <c:v>9.0108507626000006E-2</c:v>
                </c:pt>
                <c:pt idx="98">
                  <c:v>8.9752418429000003E-2</c:v>
                </c:pt>
                <c:pt idx="99">
                  <c:v>8.9532957933000007E-2</c:v>
                </c:pt>
                <c:pt idx="100">
                  <c:v>8.7021269706999999E-2</c:v>
                </c:pt>
                <c:pt idx="101">
                  <c:v>8.8604189784000004E-2</c:v>
                </c:pt>
                <c:pt idx="102">
                  <c:v>9.1970336727000002E-2</c:v>
                </c:pt>
                <c:pt idx="103">
                  <c:v>9.1964285714000005E-2</c:v>
                </c:pt>
                <c:pt idx="104">
                  <c:v>8.7269268494999996E-2</c:v>
                </c:pt>
                <c:pt idx="105">
                  <c:v>8.5120412844000001E-2</c:v>
                </c:pt>
                <c:pt idx="106">
                  <c:v>8.3552068078999994E-2</c:v>
                </c:pt>
                <c:pt idx="107">
                  <c:v>7.9700362634999994E-2</c:v>
                </c:pt>
                <c:pt idx="108">
                  <c:v>7.8474664048999998E-2</c:v>
                </c:pt>
                <c:pt idx="109">
                  <c:v>7.8904218025E-2</c:v>
                </c:pt>
                <c:pt idx="110">
                  <c:v>8.0582179623000003E-2</c:v>
                </c:pt>
                <c:pt idx="111">
                  <c:v>7.4294067147000001E-2</c:v>
                </c:pt>
                <c:pt idx="112">
                  <c:v>7.1028283849000007E-2</c:v>
                </c:pt>
                <c:pt idx="113">
                  <c:v>6.7922912205000005E-2</c:v>
                </c:pt>
                <c:pt idx="114">
                  <c:v>6.4177151483999995E-2</c:v>
                </c:pt>
                <c:pt idx="115">
                  <c:v>6.3488810558E-2</c:v>
                </c:pt>
                <c:pt idx="116">
                  <c:v>6.4079589692000005E-2</c:v>
                </c:pt>
                <c:pt idx="117">
                  <c:v>6.3379377395999997E-2</c:v>
                </c:pt>
                <c:pt idx="118">
                  <c:v>5.7299790912999998E-2</c:v>
                </c:pt>
                <c:pt idx="119">
                  <c:v>5.3153898202999997E-2</c:v>
                </c:pt>
                <c:pt idx="120">
                  <c:v>5.2200434338E-2</c:v>
                </c:pt>
                <c:pt idx="121">
                  <c:v>5.4589581345999998E-2</c:v>
                </c:pt>
                <c:pt idx="122">
                  <c:v>5.9302101406999999E-2</c:v>
                </c:pt>
                <c:pt idx="123">
                  <c:v>6.3699582753E-2</c:v>
                </c:pt>
                <c:pt idx="124">
                  <c:v>6.4409122321999995E-2</c:v>
                </c:pt>
                <c:pt idx="125">
                  <c:v>6.0587810165999997E-2</c:v>
                </c:pt>
                <c:pt idx="126">
                  <c:v>5.9309071365999999E-2</c:v>
                </c:pt>
                <c:pt idx="127">
                  <c:v>6.1390058267000003E-2</c:v>
                </c:pt>
                <c:pt idx="128">
                  <c:v>6.3917525773E-2</c:v>
                </c:pt>
                <c:pt idx="129">
                  <c:v>6.5107692307000004E-2</c:v>
                </c:pt>
                <c:pt idx="130">
                  <c:v>6.3868517548000006E-2</c:v>
                </c:pt>
                <c:pt idx="131">
                  <c:v>6.1290096324000003E-2</c:v>
                </c:pt>
                <c:pt idx="132">
                  <c:v>5.8921991674000002E-2</c:v>
                </c:pt>
                <c:pt idx="133">
                  <c:v>5.8033609122E-2</c:v>
                </c:pt>
                <c:pt idx="134">
                  <c:v>5.8467277414999998E-2</c:v>
                </c:pt>
                <c:pt idx="135">
                  <c:v>5.8481332820000002E-2</c:v>
                </c:pt>
                <c:pt idx="136">
                  <c:v>5.6689909633000003E-2</c:v>
                </c:pt>
                <c:pt idx="137">
                  <c:v>5.4696602322999999E-2</c:v>
                </c:pt>
                <c:pt idx="138">
                  <c:v>5.4317449671000002E-2</c:v>
                </c:pt>
                <c:pt idx="139">
                  <c:v>5.4163289901999999E-2</c:v>
                </c:pt>
                <c:pt idx="140">
                  <c:v>5.3961923645999998E-2</c:v>
                </c:pt>
                <c:pt idx="141">
                  <c:v>5.5833760004999997E-2</c:v>
                </c:pt>
                <c:pt idx="142">
                  <c:v>5.6954549115000003E-2</c:v>
                </c:pt>
                <c:pt idx="143">
                  <c:v>5.8531314252999997E-2</c:v>
                </c:pt>
                <c:pt idx="144">
                  <c:v>6.0177573165999997E-2</c:v>
                </c:pt>
                <c:pt idx="145">
                  <c:v>6.0791125927999998E-2</c:v>
                </c:pt>
                <c:pt idx="146">
                  <c:v>5.9723968763999997E-2</c:v>
                </c:pt>
                <c:pt idx="147">
                  <c:v>5.9942419046999998E-2</c:v>
                </c:pt>
                <c:pt idx="148">
                  <c:v>6.1684034015999999E-2</c:v>
                </c:pt>
                <c:pt idx="149">
                  <c:v>6.2132290425999999E-2</c:v>
                </c:pt>
                <c:pt idx="150">
                  <c:v>6.3782254159999996E-2</c:v>
                </c:pt>
                <c:pt idx="151">
                  <c:v>6.5858021899999994E-2</c:v>
                </c:pt>
                <c:pt idx="152">
                  <c:v>6.5101619388999998E-2</c:v>
                </c:pt>
                <c:pt idx="153">
                  <c:v>6.3186474145000004E-2</c:v>
                </c:pt>
                <c:pt idx="154">
                  <c:v>6.3178712693000003E-2</c:v>
                </c:pt>
                <c:pt idx="155">
                  <c:v>6.3763355472000002E-2</c:v>
                </c:pt>
                <c:pt idx="156">
                  <c:v>6.3379651984000002E-2</c:v>
                </c:pt>
                <c:pt idx="157">
                  <c:v>6.4507359508999995E-2</c:v>
                </c:pt>
                <c:pt idx="158">
                  <c:v>6.5918850582999997E-2</c:v>
                </c:pt>
                <c:pt idx="159">
                  <c:v>6.6663008888000003E-2</c:v>
                </c:pt>
                <c:pt idx="160">
                  <c:v>6.5923241987999995E-2</c:v>
                </c:pt>
                <c:pt idx="161">
                  <c:v>6.4557204904999999E-2</c:v>
                </c:pt>
                <c:pt idx="162">
                  <c:v>6.4796106611000007E-2</c:v>
                </c:pt>
                <c:pt idx="163">
                  <c:v>6.4051310574E-2</c:v>
                </c:pt>
                <c:pt idx="164">
                  <c:v>6.4854211563000003E-2</c:v>
                </c:pt>
                <c:pt idx="165">
                  <c:v>6.6375628736000003E-2</c:v>
                </c:pt>
                <c:pt idx="166">
                  <c:v>6.4573510870999995E-2</c:v>
                </c:pt>
                <c:pt idx="167">
                  <c:v>6.1945305706999999E-2</c:v>
                </c:pt>
                <c:pt idx="168">
                  <c:v>6.0711258881999998E-2</c:v>
                </c:pt>
                <c:pt idx="169">
                  <c:v>6.1979115194999997E-2</c:v>
                </c:pt>
                <c:pt idx="170">
                  <c:v>6.0906930563999997E-2</c:v>
                </c:pt>
                <c:pt idx="171">
                  <c:v>6.1294219153999997E-2</c:v>
                </c:pt>
                <c:pt idx="172">
                  <c:v>6.2310301731000002E-2</c:v>
                </c:pt>
                <c:pt idx="173">
                  <c:v>6.2112795556000001E-2</c:v>
                </c:pt>
                <c:pt idx="174">
                  <c:v>6.1540519251999999E-2</c:v>
                </c:pt>
                <c:pt idx="175">
                  <c:v>6.0756810856000001E-2</c:v>
                </c:pt>
                <c:pt idx="176">
                  <c:v>6.0131819219000002E-2</c:v>
                </c:pt>
                <c:pt idx="177">
                  <c:v>5.9868157381000001E-2</c:v>
                </c:pt>
                <c:pt idx="178">
                  <c:v>6.0555626680000002E-2</c:v>
                </c:pt>
                <c:pt idx="179">
                  <c:v>6.1855372258000002E-2</c:v>
                </c:pt>
                <c:pt idx="180">
                  <c:v>6.1122682506000003E-2</c:v>
                </c:pt>
                <c:pt idx="181">
                  <c:v>5.7998040766E-2</c:v>
                </c:pt>
                <c:pt idx="182">
                  <c:v>5.7352342158000003E-2</c:v>
                </c:pt>
                <c:pt idx="183">
                  <c:v>5.7068857729E-2</c:v>
                </c:pt>
                <c:pt idx="184">
                  <c:v>5.6393046368000001E-2</c:v>
                </c:pt>
                <c:pt idx="185">
                  <c:v>5.6264007170999997E-2</c:v>
                </c:pt>
                <c:pt idx="186">
                  <c:v>5.6915425170999998E-2</c:v>
                </c:pt>
                <c:pt idx="187">
                  <c:v>5.7395189796000001E-2</c:v>
                </c:pt>
                <c:pt idx="188">
                  <c:v>5.5722143892000003E-2</c:v>
                </c:pt>
                <c:pt idx="189">
                  <c:v>5.5798064148000003E-2</c:v>
                </c:pt>
                <c:pt idx="190">
                  <c:v>5.4911748974000002E-2</c:v>
                </c:pt>
                <c:pt idx="191">
                  <c:v>5.4170266630999997E-2</c:v>
                </c:pt>
                <c:pt idx="192">
                  <c:v>5.520871066E-2</c:v>
                </c:pt>
                <c:pt idx="193">
                  <c:v>5.6851392947999999E-2</c:v>
                </c:pt>
                <c:pt idx="194">
                  <c:v>5.7092002955999997E-2</c:v>
                </c:pt>
                <c:pt idx="195">
                  <c:v>5.4279054278999997E-2</c:v>
                </c:pt>
                <c:pt idx="196">
                  <c:v>5.3812955581999999E-2</c:v>
                </c:pt>
                <c:pt idx="197">
                  <c:v>5.4383527713999999E-2</c:v>
                </c:pt>
                <c:pt idx="198">
                  <c:v>5.6235847132E-2</c:v>
                </c:pt>
                <c:pt idx="199">
                  <c:v>5.7754391608E-2</c:v>
                </c:pt>
                <c:pt idx="200">
                  <c:v>5.9050854132000001E-2</c:v>
                </c:pt>
                <c:pt idx="201">
                  <c:v>5.8609392064000003E-2</c:v>
                </c:pt>
                <c:pt idx="202">
                  <c:v>5.6858642183999997E-2</c:v>
                </c:pt>
                <c:pt idx="203">
                  <c:v>5.8665696484000003E-2</c:v>
                </c:pt>
                <c:pt idx="204">
                  <c:v>5.9917699387999998E-2</c:v>
                </c:pt>
                <c:pt idx="205">
                  <c:v>6.0199372569000001E-2</c:v>
                </c:pt>
                <c:pt idx="206">
                  <c:v>6.1092939550000003E-2</c:v>
                </c:pt>
                <c:pt idx="207">
                  <c:v>6.2173893979E-2</c:v>
                </c:pt>
                <c:pt idx="208">
                  <c:v>6.2401134566000001E-2</c:v>
                </c:pt>
                <c:pt idx="209">
                  <c:v>6.1214794705999998E-2</c:v>
                </c:pt>
                <c:pt idx="210">
                  <c:v>6.3139757312E-2</c:v>
                </c:pt>
                <c:pt idx="211">
                  <c:v>6.4533167624000007E-2</c:v>
                </c:pt>
                <c:pt idx="212">
                  <c:v>6.6488625445000005E-2</c:v>
                </c:pt>
                <c:pt idx="213">
                  <c:v>6.9003935380000006E-2</c:v>
                </c:pt>
                <c:pt idx="214">
                  <c:v>7.0059153355000001E-2</c:v>
                </c:pt>
                <c:pt idx="215">
                  <c:v>7.0604906561999997E-2</c:v>
                </c:pt>
                <c:pt idx="216">
                  <c:v>6.8466883630000003E-2</c:v>
                </c:pt>
                <c:pt idx="217">
                  <c:v>7.0409546035999998E-2</c:v>
                </c:pt>
                <c:pt idx="218">
                  <c:v>7.1195297190999998E-2</c:v>
                </c:pt>
                <c:pt idx="219">
                  <c:v>7.1316259933999995E-2</c:v>
                </c:pt>
                <c:pt idx="220">
                  <c:v>7.4063196025E-2</c:v>
                </c:pt>
                <c:pt idx="221">
                  <c:v>7.5628736343000005E-2</c:v>
                </c:pt>
                <c:pt idx="222">
                  <c:v>7.6589332570999993E-2</c:v>
                </c:pt>
                <c:pt idx="223">
                  <c:v>7.6577183014999994E-2</c:v>
                </c:pt>
                <c:pt idx="224">
                  <c:v>7.8076219939999997E-2</c:v>
                </c:pt>
                <c:pt idx="225">
                  <c:v>7.7168215390999995E-2</c:v>
                </c:pt>
                <c:pt idx="226">
                  <c:v>7.7872803606999996E-2</c:v>
                </c:pt>
                <c:pt idx="227">
                  <c:v>8.0193933039999998E-2</c:v>
                </c:pt>
                <c:pt idx="228">
                  <c:v>8.0298436274999996E-2</c:v>
                </c:pt>
                <c:pt idx="229">
                  <c:v>7.7807956541999998E-2</c:v>
                </c:pt>
                <c:pt idx="230">
                  <c:v>7.2569106620999996E-2</c:v>
                </c:pt>
                <c:pt idx="231">
                  <c:v>7.1784947537000002E-2</c:v>
                </c:pt>
                <c:pt idx="232">
                  <c:v>7.4299177108999997E-2</c:v>
                </c:pt>
                <c:pt idx="233">
                  <c:v>7.6753499650000001E-2</c:v>
                </c:pt>
                <c:pt idx="234">
                  <c:v>7.9456635317999999E-2</c:v>
                </c:pt>
                <c:pt idx="235">
                  <c:v>7.9574184963000005E-2</c:v>
                </c:pt>
                <c:pt idx="236">
                  <c:v>7.7411065606000001E-2</c:v>
                </c:pt>
                <c:pt idx="237">
                  <c:v>7.6378269617000005E-2</c:v>
                </c:pt>
                <c:pt idx="238">
                  <c:v>8.0212962555000003E-2</c:v>
                </c:pt>
                <c:pt idx="239">
                  <c:v>8.0321656345000006E-2</c:v>
                </c:pt>
                <c:pt idx="240">
                  <c:v>7.8393972628000005E-2</c:v>
                </c:pt>
                <c:pt idx="241">
                  <c:v>7.8654633224000001E-2</c:v>
                </c:pt>
                <c:pt idx="242">
                  <c:v>7.8654747627999996E-2</c:v>
                </c:pt>
                <c:pt idx="243">
                  <c:v>7.7642377518000003E-2</c:v>
                </c:pt>
                <c:pt idx="244">
                  <c:v>7.5623531763000004E-2</c:v>
                </c:pt>
                <c:pt idx="245">
                  <c:v>7.7071290944000004E-2</c:v>
                </c:pt>
                <c:pt idx="246">
                  <c:v>7.5946547884000001E-2</c:v>
                </c:pt>
                <c:pt idx="247">
                  <c:v>7.4150242786999998E-2</c:v>
                </c:pt>
                <c:pt idx="248">
                  <c:v>7.6176250932999998E-2</c:v>
                </c:pt>
                <c:pt idx="249">
                  <c:v>7.8797406170000001E-2</c:v>
                </c:pt>
                <c:pt idx="250">
                  <c:v>7.6941543631999995E-2</c:v>
                </c:pt>
                <c:pt idx="251">
                  <c:v>7.3521383075000002E-2</c:v>
                </c:pt>
                <c:pt idx="252">
                  <c:v>7.3503142573000002E-2</c:v>
                </c:pt>
                <c:pt idx="253">
                  <c:v>7.4014084507000005E-2</c:v>
                </c:pt>
                <c:pt idx="254">
                  <c:v>7.2236919459000001E-2</c:v>
                </c:pt>
                <c:pt idx="255">
                  <c:v>7.2368421052000004E-2</c:v>
                </c:pt>
                <c:pt idx="256">
                  <c:v>7.3689764332999994E-2</c:v>
                </c:pt>
                <c:pt idx="257">
                  <c:v>7.2763900079999999E-2</c:v>
                </c:pt>
                <c:pt idx="258">
                  <c:v>7.1362450559000007E-2</c:v>
                </c:pt>
                <c:pt idx="259">
                  <c:v>7.2859405570999999E-2</c:v>
                </c:pt>
                <c:pt idx="260">
                  <c:v>7.3581911939000003E-2</c:v>
                </c:pt>
                <c:pt idx="261">
                  <c:v>6.9456066945000006E-2</c:v>
                </c:pt>
                <c:pt idx="262">
                  <c:v>7.1990604814999998E-2</c:v>
                </c:pt>
                <c:pt idx="263">
                  <c:v>7.3240487440000002E-2</c:v>
                </c:pt>
                <c:pt idx="264">
                  <c:v>6.9236016371000006E-2</c:v>
                </c:pt>
                <c:pt idx="265">
                  <c:v>6.5073355417999995E-2</c:v>
                </c:pt>
                <c:pt idx="266">
                  <c:v>6.609157266E-2</c:v>
                </c:pt>
                <c:pt idx="267">
                  <c:v>6.7625899279999999E-2</c:v>
                </c:pt>
                <c:pt idx="268">
                  <c:v>6.5999374412999995E-2</c:v>
                </c:pt>
                <c:pt idx="269">
                  <c:v>6.8898678414000006E-2</c:v>
                </c:pt>
                <c:pt idx="270">
                  <c:v>6.9181197877E-2</c:v>
                </c:pt>
                <c:pt idx="271">
                  <c:v>6.6247159587000004E-2</c:v>
                </c:pt>
                <c:pt idx="272">
                  <c:v>6.6704783685000005E-2</c:v>
                </c:pt>
                <c:pt idx="273">
                  <c:v>6.8280977312000002E-2</c:v>
                </c:pt>
                <c:pt idx="274">
                  <c:v>6.4920009274000004E-2</c:v>
                </c:pt>
                <c:pt idx="275">
                  <c:v>6.2913096695000004E-2</c:v>
                </c:pt>
                <c:pt idx="276">
                  <c:v>6.25E-2</c:v>
                </c:pt>
                <c:pt idx="277">
                  <c:v>6.2481666177000003E-2</c:v>
                </c:pt>
                <c:pt idx="278">
                  <c:v>6.2768240343000006E-2</c:v>
                </c:pt>
                <c:pt idx="279">
                  <c:v>6.2446535499999997E-2</c:v>
                </c:pt>
                <c:pt idx="280">
                  <c:v>5.9743509540000003E-2</c:v>
                </c:pt>
                <c:pt idx="281">
                  <c:v>5.4798962386000002E-2</c:v>
                </c:pt>
                <c:pt idx="282">
                  <c:v>5.7606071058000002E-2</c:v>
                </c:pt>
                <c:pt idx="283">
                  <c:v>5.6262042388999997E-2</c:v>
                </c:pt>
                <c:pt idx="284">
                  <c:v>5.6229773461999998E-2</c:v>
                </c:pt>
                <c:pt idx="285">
                  <c:v>5.4572826496000003E-2</c:v>
                </c:pt>
                <c:pt idx="286">
                  <c:v>4.6714172604000001E-2</c:v>
                </c:pt>
                <c:pt idx="287">
                  <c:v>4.7391304347E-2</c:v>
                </c:pt>
                <c:pt idx="288">
                  <c:v>5.0093632957999998E-2</c:v>
                </c:pt>
                <c:pt idx="289">
                  <c:v>5.2464228933999997E-2</c:v>
                </c:pt>
                <c:pt idx="290">
                  <c:v>5.1250762659999997E-2</c:v>
                </c:pt>
                <c:pt idx="291">
                  <c:v>5.0392670156999997E-2</c:v>
                </c:pt>
                <c:pt idx="292">
                  <c:v>5.0435865503999998E-2</c:v>
                </c:pt>
                <c:pt idx="293">
                  <c:v>4.8089591566999997E-2</c:v>
                </c:pt>
                <c:pt idx="294">
                  <c:v>6.4976228208999995E-2</c:v>
                </c:pt>
                <c:pt idx="295">
                  <c:v>6.4322469982000002E-2</c:v>
                </c:pt>
                <c:pt idx="296">
                  <c:v>6.1607142857000002E-2</c:v>
                </c:pt>
                <c:pt idx="297">
                  <c:v>6.0817547356999999E-2</c:v>
                </c:pt>
                <c:pt idx="298">
                  <c:v>5.8943089429999998E-2</c:v>
                </c:pt>
                <c:pt idx="299">
                  <c:v>5.5555555554999997E-2</c:v>
                </c:pt>
                <c:pt idx="300">
                  <c:v>5.6112224448E-2</c:v>
                </c:pt>
                <c:pt idx="301">
                  <c:v>6.1315496098000001E-2</c:v>
                </c:pt>
                <c:pt idx="302">
                  <c:v>4.5086705201999998E-2</c:v>
                </c:pt>
                <c:pt idx="303">
                  <c:v>4.1766109784999998E-2</c:v>
                </c:pt>
                <c:pt idx="304">
                  <c:v>4.073587385E-2</c:v>
                </c:pt>
                <c:pt idx="305">
                  <c:v>3.7037037037000002E-2</c:v>
                </c:pt>
                <c:pt idx="306">
                  <c:v>3.8823529411E-2</c:v>
                </c:pt>
                <c:pt idx="307">
                  <c:v>3.3783783783000003E-2</c:v>
                </c:pt>
                <c:pt idx="308">
                  <c:v>3.0668127053E-2</c:v>
                </c:pt>
                <c:pt idx="309">
                  <c:v>2.5746652934999999E-2</c:v>
                </c:pt>
                <c:pt idx="310">
                  <c:v>2.5000000000000001E-2</c:v>
                </c:pt>
                <c:pt idx="311">
                  <c:v>2.3210831721E-2</c:v>
                </c:pt>
                <c:pt idx="312">
                  <c:v>2.1395348836999999E-2</c:v>
                </c:pt>
                <c:pt idx="313">
                  <c:v>2.0924149956000001E-2</c:v>
                </c:pt>
                <c:pt idx="314">
                  <c:v>1.6289592759999999E-2</c:v>
                </c:pt>
                <c:pt idx="315">
                  <c:v>1.7915309446000002E-2</c:v>
                </c:pt>
                <c:pt idx="316">
                  <c:v>1.5659955257000001E-2</c:v>
                </c:pt>
                <c:pt idx="317">
                  <c:v>1.6449623029E-2</c:v>
                </c:pt>
                <c:pt idx="318">
                  <c:v>1.7253278122000001E-2</c:v>
                </c:pt>
                <c:pt idx="319">
                  <c:v>1.8354860638999999E-2</c:v>
                </c:pt>
                <c:pt idx="320">
                  <c:v>1.9302615193E-2</c:v>
                </c:pt>
                <c:pt idx="321">
                  <c:v>1.8353726362E-2</c:v>
                </c:pt>
                <c:pt idx="322">
                  <c:v>1.9487179487E-2</c:v>
                </c:pt>
                <c:pt idx="323">
                  <c:v>1.9514767932E-2</c:v>
                </c:pt>
                <c:pt idx="324">
                  <c:v>2.0127118643999999E-2</c:v>
                </c:pt>
                <c:pt idx="325">
                  <c:v>1.8333333332999999E-2</c:v>
                </c:pt>
                <c:pt idx="326">
                  <c:v>1.8760659464999999E-2</c:v>
                </c:pt>
                <c:pt idx="327">
                  <c:v>2.0207536865E-2</c:v>
                </c:pt>
                <c:pt idx="328">
                  <c:v>1.9077901429999999E-2</c:v>
                </c:pt>
                <c:pt idx="329">
                  <c:v>2.2246941044999999E-2</c:v>
                </c:pt>
                <c:pt idx="330">
                  <c:v>2.2413793102999999E-2</c:v>
                </c:pt>
                <c:pt idx="331">
                  <c:v>2.4089306697999999E-2</c:v>
                </c:pt>
                <c:pt idx="332">
                  <c:v>2.3974763406000001E-2</c:v>
                </c:pt>
                <c:pt idx="333">
                  <c:v>2.5867937372000001E-2</c:v>
                </c:pt>
                <c:pt idx="334">
                  <c:v>2.9658284976999998E-2</c:v>
                </c:pt>
                <c:pt idx="335">
                  <c:v>3.0875866413999999E-2</c:v>
                </c:pt>
                <c:pt idx="336">
                  <c:v>3.3670033670000002E-2</c:v>
                </c:pt>
                <c:pt idx="337">
                  <c:v>3.2899246058000001E-2</c:v>
                </c:pt>
                <c:pt idx="338">
                  <c:v>3.5150645623999999E-2</c:v>
                </c:pt>
                <c:pt idx="339">
                  <c:v>3.5579106737000002E-2</c:v>
                </c:pt>
                <c:pt idx="340">
                  <c:v>3.6949685534E-2</c:v>
                </c:pt>
                <c:pt idx="341">
                  <c:v>4.0178571428E-2</c:v>
                </c:pt>
                <c:pt idx="342">
                  <c:v>3.4682080923999999E-2</c:v>
                </c:pt>
                <c:pt idx="343">
                  <c:v>3.2161555720999997E-2</c:v>
                </c:pt>
                <c:pt idx="344">
                  <c:v>3.1465848041999998E-2</c:v>
                </c:pt>
                <c:pt idx="345">
                  <c:v>3.1421838176999999E-2</c:v>
                </c:pt>
                <c:pt idx="346">
                  <c:v>3.0279503105000001E-2</c:v>
                </c:pt>
                <c:pt idx="347">
                  <c:v>2.8928850664E-2</c:v>
                </c:pt>
                <c:pt idx="348">
                  <c:v>2.9112081513000002E-2</c:v>
                </c:pt>
                <c:pt idx="349">
                  <c:v>2.4307900067E-2</c:v>
                </c:pt>
                <c:pt idx="350">
                  <c:v>2.3255813952999999E-2</c:v>
                </c:pt>
                <c:pt idx="351">
                  <c:v>2.2869022869E-2</c:v>
                </c:pt>
                <c:pt idx="352">
                  <c:v>2.3984010659E-2</c:v>
                </c:pt>
                <c:pt idx="353">
                  <c:v>2.5238744883999999E-2</c:v>
                </c:pt>
                <c:pt idx="354">
                  <c:v>2.8077753779E-2</c:v>
                </c:pt>
                <c:pt idx="355">
                  <c:v>3.0707610146E-2</c:v>
                </c:pt>
                <c:pt idx="356">
                  <c:v>2.9520295201999999E-2</c:v>
                </c:pt>
                <c:pt idx="357">
                  <c:v>3.3036848792000001E-2</c:v>
                </c:pt>
                <c:pt idx="358">
                  <c:v>3.2873109796E-2</c:v>
                </c:pt>
                <c:pt idx="359">
                  <c:v>3.5286284952999999E-2</c:v>
                </c:pt>
                <c:pt idx="360">
                  <c:v>3.6042402825999999E-2</c:v>
                </c:pt>
                <c:pt idx="361">
                  <c:v>3.6956521738999999E-2</c:v>
                </c:pt>
                <c:pt idx="362">
                  <c:v>3.4960422163E-2</c:v>
                </c:pt>
                <c:pt idx="363">
                  <c:v>3.1612903225000002E-2</c:v>
                </c:pt>
                <c:pt idx="364">
                  <c:v>3.0060120240000002E-2</c:v>
                </c:pt>
                <c:pt idx="365">
                  <c:v>2.6631158455000001E-2</c:v>
                </c:pt>
                <c:pt idx="366">
                  <c:v>2.8966425279000001E-2</c:v>
                </c:pt>
                <c:pt idx="367">
                  <c:v>2.8359216744999999E-2</c:v>
                </c:pt>
                <c:pt idx="368">
                  <c:v>2.8731604765000002E-2</c:v>
                </c:pt>
                <c:pt idx="369">
                  <c:v>2.6265214605999999E-2</c:v>
                </c:pt>
                <c:pt idx="370">
                  <c:v>2.3184868822E-2</c:v>
                </c:pt>
                <c:pt idx="371">
                  <c:v>2.6650514839000002E-2</c:v>
                </c:pt>
                <c:pt idx="372">
                  <c:v>2.8070175438E-2</c:v>
                </c:pt>
                <c:pt idx="373">
                  <c:v>3.4330011074000001E-2</c:v>
                </c:pt>
                <c:pt idx="374">
                  <c:v>3.4972677595000001E-2</c:v>
                </c:pt>
                <c:pt idx="375">
                  <c:v>3.5364526659000001E-2</c:v>
                </c:pt>
                <c:pt idx="376">
                  <c:v>3.3488372092999999E-2</c:v>
                </c:pt>
                <c:pt idx="377">
                  <c:v>3.2102728731000001E-2</c:v>
                </c:pt>
                <c:pt idx="378">
                  <c:v>3.4843205574000002E-2</c:v>
                </c:pt>
                <c:pt idx="379">
                  <c:v>3.5388544325999999E-2</c:v>
                </c:pt>
                <c:pt idx="380">
                  <c:v>3.5776311218999997E-2</c:v>
                </c:pt>
                <c:pt idx="381">
                  <c:v>3.3687943262000003E-2</c:v>
                </c:pt>
                <c:pt idx="382">
                  <c:v>3.4558021097999998E-2</c:v>
                </c:pt>
                <c:pt idx="383">
                  <c:v>3.6105738233E-2</c:v>
                </c:pt>
                <c:pt idx="384">
                  <c:v>3.8273116962000003E-2</c:v>
                </c:pt>
                <c:pt idx="385">
                  <c:v>4.0860885839000001E-2</c:v>
                </c:pt>
                <c:pt idx="386">
                  <c:v>3.8393384523999999E-2</c:v>
                </c:pt>
                <c:pt idx="387">
                  <c:v>4.1055718475000003E-2</c:v>
                </c:pt>
                <c:pt idx="388">
                  <c:v>4.1615667074000003E-2</c:v>
                </c:pt>
                <c:pt idx="389">
                  <c:v>4.1172800997999998E-2</c:v>
                </c:pt>
                <c:pt idx="390">
                  <c:v>4.2523232892000003E-2</c:v>
                </c:pt>
                <c:pt idx="391">
                  <c:v>3.8872159868000002E-2</c:v>
                </c:pt>
                <c:pt idx="392">
                  <c:v>3.5092567007000003E-2</c:v>
                </c:pt>
                <c:pt idx="393">
                  <c:v>3.407821229E-2</c:v>
                </c:pt>
                <c:pt idx="394">
                  <c:v>3.7298671940999999E-2</c:v>
                </c:pt>
                <c:pt idx="395">
                  <c:v>3.2754201082000001E-2</c:v>
                </c:pt>
                <c:pt idx="396">
                  <c:v>3.5848511130000003E-2</c:v>
                </c:pt>
                <c:pt idx="397">
                  <c:v>3.8510260956999998E-2</c:v>
                </c:pt>
                <c:pt idx="398">
                  <c:v>3.5532994923000001E-2</c:v>
                </c:pt>
                <c:pt idx="399">
                  <c:v>3.8263428990999999E-2</c:v>
                </c:pt>
                <c:pt idx="400">
                  <c:v>4.1108132259999999E-2</c:v>
                </c:pt>
                <c:pt idx="401">
                  <c:v>4.2946058091000001E-2</c:v>
                </c:pt>
                <c:pt idx="402">
                  <c:v>4.2053184909999999E-2</c:v>
                </c:pt>
                <c:pt idx="403">
                  <c:v>4.3130654322999999E-2</c:v>
                </c:pt>
                <c:pt idx="404">
                  <c:v>4.0263405455999997E-2</c:v>
                </c:pt>
                <c:pt idx="405">
                  <c:v>3.8909154073000003E-2</c:v>
                </c:pt>
                <c:pt idx="406">
                  <c:v>4.1857526456999999E-2</c:v>
                </c:pt>
                <c:pt idx="407">
                  <c:v>4.1881638845999998E-2</c:v>
                </c:pt>
                <c:pt idx="408">
                  <c:v>4.2476817229999998E-2</c:v>
                </c:pt>
                <c:pt idx="409">
                  <c:v>4.1226053638999997E-2</c:v>
                </c:pt>
                <c:pt idx="410">
                  <c:v>4.2954509430000003E-2</c:v>
                </c:pt>
                <c:pt idx="411">
                  <c:v>4.5671438309000001E-2</c:v>
                </c:pt>
                <c:pt idx="412">
                  <c:v>4.7073474470000001E-2</c:v>
                </c:pt>
                <c:pt idx="413">
                  <c:v>4.5886828339999998E-2</c:v>
                </c:pt>
                <c:pt idx="414">
                  <c:v>4.3351302784999997E-2</c:v>
                </c:pt>
                <c:pt idx="415">
                  <c:v>4.4465077891000002E-2</c:v>
                </c:pt>
                <c:pt idx="416">
                  <c:v>4.3831994303999998E-2</c:v>
                </c:pt>
                <c:pt idx="417">
                  <c:v>4.5071270828999997E-2</c:v>
                </c:pt>
                <c:pt idx="418">
                  <c:v>4.6284117065999997E-2</c:v>
                </c:pt>
                <c:pt idx="419">
                  <c:v>4.3855284667999997E-2</c:v>
                </c:pt>
                <c:pt idx="420">
                  <c:v>4.1982323231999998E-2</c:v>
                </c:pt>
                <c:pt idx="421">
                  <c:v>4.0647241991999997E-2</c:v>
                </c:pt>
                <c:pt idx="422">
                  <c:v>4.0324920219999998E-2</c:v>
                </c:pt>
                <c:pt idx="423">
                  <c:v>3.8324791060000002E-2</c:v>
                </c:pt>
                <c:pt idx="424">
                  <c:v>3.8454651265999999E-2</c:v>
                </c:pt>
                <c:pt idx="425">
                  <c:v>4.0303534786000003E-2</c:v>
                </c:pt>
                <c:pt idx="426">
                  <c:v>3.8401730782000001E-2</c:v>
                </c:pt>
                <c:pt idx="427">
                  <c:v>3.8170072675E-2</c:v>
                </c:pt>
                <c:pt idx="428">
                  <c:v>3.7743787000000001E-2</c:v>
                </c:pt>
                <c:pt idx="429">
                  <c:v>3.9304888385999999E-2</c:v>
                </c:pt>
                <c:pt idx="430">
                  <c:v>3.9188069594000001E-2</c:v>
                </c:pt>
                <c:pt idx="431">
                  <c:v>4.1356287589999999E-2</c:v>
                </c:pt>
                <c:pt idx="432">
                  <c:v>4.3524820332000003E-2</c:v>
                </c:pt>
                <c:pt idx="433">
                  <c:v>4.1342422652999998E-2</c:v>
                </c:pt>
                <c:pt idx="434">
                  <c:v>4.1539701573999999E-2</c:v>
                </c:pt>
                <c:pt idx="435">
                  <c:v>4.1369125509000002E-2</c:v>
                </c:pt>
                <c:pt idx="436">
                  <c:v>4.1598164132000001E-2</c:v>
                </c:pt>
                <c:pt idx="437">
                  <c:v>4.0750954966000001E-2</c:v>
                </c:pt>
                <c:pt idx="438">
                  <c:v>4.2249520697999997E-2</c:v>
                </c:pt>
                <c:pt idx="439">
                  <c:v>4.3420131150999998E-2</c:v>
                </c:pt>
                <c:pt idx="440">
                  <c:v>4.0532408733999999E-2</c:v>
                </c:pt>
                <c:pt idx="441">
                  <c:v>4.0327962627000002E-2</c:v>
                </c:pt>
                <c:pt idx="442">
                  <c:v>3.9964511836E-2</c:v>
                </c:pt>
                <c:pt idx="443">
                  <c:v>3.8798373211999998E-2</c:v>
                </c:pt>
                <c:pt idx="444">
                  <c:v>3.8460097648E-2</c:v>
                </c:pt>
                <c:pt idx="445">
                  <c:v>3.9157868431999997E-2</c:v>
                </c:pt>
                <c:pt idx="446">
                  <c:v>4.0480437089000003E-2</c:v>
                </c:pt>
                <c:pt idx="447">
                  <c:v>3.7168697769000003E-2</c:v>
                </c:pt>
                <c:pt idx="448">
                  <c:v>3.6239956621999997E-2</c:v>
                </c:pt>
                <c:pt idx="449">
                  <c:v>3.6644308542000001E-2</c:v>
                </c:pt>
                <c:pt idx="450">
                  <c:v>3.5513920227E-2</c:v>
                </c:pt>
                <c:pt idx="451">
                  <c:v>3.5114945552000003E-2</c:v>
                </c:pt>
                <c:pt idx="452">
                  <c:v>3.5085858719000003E-2</c:v>
                </c:pt>
                <c:pt idx="453">
                  <c:v>3.6435487704999998E-2</c:v>
                </c:pt>
                <c:pt idx="454">
                  <c:v>3.3363165538999998E-2</c:v>
                </c:pt>
                <c:pt idx="455">
                  <c:v>3.3581891417999998E-2</c:v>
                </c:pt>
                <c:pt idx="456">
                  <c:v>3.3205338681999999E-2</c:v>
                </c:pt>
                <c:pt idx="457">
                  <c:v>3.2332972547000002E-2</c:v>
                </c:pt>
                <c:pt idx="458">
                  <c:v>3.2696492326999997E-2</c:v>
                </c:pt>
                <c:pt idx="459">
                  <c:v>3.3434628251999998E-2</c:v>
                </c:pt>
                <c:pt idx="460">
                  <c:v>3.3809751759999999E-2</c:v>
                </c:pt>
                <c:pt idx="461">
                  <c:v>3.1612634645999997E-2</c:v>
                </c:pt>
                <c:pt idx="462">
                  <c:v>3.1481369607000001E-2</c:v>
                </c:pt>
                <c:pt idx="463">
                  <c:v>3.1708246684999997E-2</c:v>
                </c:pt>
                <c:pt idx="464">
                  <c:v>3.2197391185E-2</c:v>
                </c:pt>
                <c:pt idx="465">
                  <c:v>3.2509372522E-2</c:v>
                </c:pt>
                <c:pt idx="466">
                  <c:v>3.2690411135999999E-2</c:v>
                </c:pt>
                <c:pt idx="467">
                  <c:v>3.3707519369000002E-2</c:v>
                </c:pt>
                <c:pt idx="468">
                  <c:v>3.2232382512000002E-2</c:v>
                </c:pt>
                <c:pt idx="469">
                  <c:v>3.2887013356999999E-2</c:v>
                </c:pt>
                <c:pt idx="470">
                  <c:v>3.4124853162999999E-2</c:v>
                </c:pt>
                <c:pt idx="471">
                  <c:v>3.4587158398999999E-2</c:v>
                </c:pt>
                <c:pt idx="472">
                  <c:v>3.5051072229000002E-2</c:v>
                </c:pt>
                <c:pt idx="473">
                  <c:v>3.5793036254000002E-2</c:v>
                </c:pt>
                <c:pt idx="474">
                  <c:v>3.6691729323000001E-2</c:v>
                </c:pt>
                <c:pt idx="475">
                  <c:v>3.4286865817000002E-2</c:v>
                </c:pt>
                <c:pt idx="476">
                  <c:v>3.5649753887999999E-2</c:v>
                </c:pt>
                <c:pt idx="477">
                  <c:v>3.6565356668000003E-2</c:v>
                </c:pt>
                <c:pt idx="478">
                  <c:v>3.6753627313999997E-2</c:v>
                </c:pt>
                <c:pt idx="479">
                  <c:v>3.5967435409999998E-2</c:v>
                </c:pt>
                <c:pt idx="480">
                  <c:v>3.6714323134999997E-2</c:v>
                </c:pt>
                <c:pt idx="481">
                  <c:v>3.6944693339000002E-2</c:v>
                </c:pt>
                <c:pt idx="482">
                  <c:v>3.4414639217999997E-2</c:v>
                </c:pt>
                <c:pt idx="483">
                  <c:v>3.6227403874000003E-2</c:v>
                </c:pt>
                <c:pt idx="484">
                  <c:v>3.5666048935999999E-2</c:v>
                </c:pt>
                <c:pt idx="485">
                  <c:v>3.528867703E-2</c:v>
                </c:pt>
                <c:pt idx="486">
                  <c:v>3.7146580073999999E-2</c:v>
                </c:pt>
                <c:pt idx="487">
                  <c:v>3.9635863808999999E-2</c:v>
                </c:pt>
                <c:pt idx="488">
                  <c:v>4.1203469765E-2</c:v>
                </c:pt>
                <c:pt idx="489">
                  <c:v>3.9749869723E-2</c:v>
                </c:pt>
                <c:pt idx="490">
                  <c:v>4.4905294520999998E-2</c:v>
                </c:pt>
                <c:pt idx="491">
                  <c:v>4.4856385218999997E-2</c:v>
                </c:pt>
                <c:pt idx="492">
                  <c:v>4.6858135677E-2</c:v>
                </c:pt>
                <c:pt idx="493">
                  <c:v>4.8069133134999997E-2</c:v>
                </c:pt>
                <c:pt idx="494">
                  <c:v>4.6611736122000001E-2</c:v>
                </c:pt>
                <c:pt idx="495">
                  <c:v>4.1489644184000002E-2</c:v>
                </c:pt>
                <c:pt idx="496">
                  <c:v>3.6303290177999999E-2</c:v>
                </c:pt>
                <c:pt idx="497">
                  <c:v>3.4735425434000003E-2</c:v>
                </c:pt>
                <c:pt idx="498">
                  <c:v>3.0173598629000001E-2</c:v>
                </c:pt>
                <c:pt idx="499">
                  <c:v>2.8150606783E-2</c:v>
                </c:pt>
                <c:pt idx="500">
                  <c:v>2.7157667111000001E-2</c:v>
                </c:pt>
                <c:pt idx="501">
                  <c:v>2.5837888744999999E-2</c:v>
                </c:pt>
                <c:pt idx="502">
                  <c:v>2.3811279025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do_7_dne_7dni_shift7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</c:formatCode>
                <c:ptCount val="504"/>
                <c:pt idx="0">
                  <c:v>0.51754278728000003</c:v>
                </c:pt>
                <c:pt idx="1">
                  <c:v>0.13003736529000001</c:v>
                </c:pt>
                <c:pt idx="2">
                  <c:v>0.54149184147999996</c:v>
                </c:pt>
                <c:pt idx="3">
                  <c:v>0.31731525156000001</c:v>
                </c:pt>
                <c:pt idx="4">
                  <c:v>0.61495809155000003</c:v>
                </c:pt>
                <c:pt idx="5">
                  <c:v>0.69907578558000005</c:v>
                </c:pt>
                <c:pt idx="6">
                  <c:v>0.58889923031000002</c:v>
                </c:pt>
                <c:pt idx="7">
                  <c:v>0.85624859016999999</c:v>
                </c:pt>
                <c:pt idx="8">
                  <c:v>0.47516414500999998</c:v>
                </c:pt>
                <c:pt idx="9">
                  <c:v>0.51682700423000005</c:v>
                </c:pt>
                <c:pt idx="10">
                  <c:v>0.39826839827999999</c:v>
                </c:pt>
                <c:pt idx="11">
                  <c:v>0.42399605817000002</c:v>
                </c:pt>
                <c:pt idx="12">
                  <c:v>0.44976076557</c:v>
                </c:pt>
                <c:pt idx="13">
                  <c:v>6.2224489780000003E-2</c:v>
                </c:pt>
                <c:pt idx="14">
                  <c:v>0.41720709036999998</c:v>
                </c:pt>
                <c:pt idx="15">
                  <c:v>-3.8367891119999997E-2</c:v>
                </c:pt>
                <c:pt idx="16">
                  <c:v>0.33930016181</c:v>
                </c:pt>
                <c:pt idx="17">
                  <c:v>0.10905758757</c:v>
                </c:pt>
                <c:pt idx="18">
                  <c:v>0.40649728814000002</c:v>
                </c:pt>
                <c:pt idx="19">
                  <c:v>0.32940189010999998</c:v>
                </c:pt>
                <c:pt idx="20">
                  <c:v>0.31306398687999998</c:v>
                </c:pt>
                <c:pt idx="21">
                  <c:v>0.29547900966000001</c:v>
                </c:pt>
                <c:pt idx="22">
                  <c:v>0.25045190756000002</c:v>
                </c:pt>
                <c:pt idx="23">
                  <c:v>0.36132672720999998</c:v>
                </c:pt>
                <c:pt idx="24">
                  <c:v>0.22893999566000001</c:v>
                </c:pt>
                <c:pt idx="25">
                  <c:v>0.29330169376999998</c:v>
                </c:pt>
                <c:pt idx="26">
                  <c:v>0.19054724663</c:v>
                </c:pt>
                <c:pt idx="27">
                  <c:v>0.17510474538000001</c:v>
                </c:pt>
                <c:pt idx="28">
                  <c:v>0.27066698861999999</c:v>
                </c:pt>
                <c:pt idx="29">
                  <c:v>0.22606306273999999</c:v>
                </c:pt>
                <c:pt idx="30">
                  <c:v>0.28283610464999998</c:v>
                </c:pt>
                <c:pt idx="31">
                  <c:v>9.3599530240000006E-2</c:v>
                </c:pt>
                <c:pt idx="32">
                  <c:v>0.40858509759</c:v>
                </c:pt>
                <c:pt idx="33">
                  <c:v>0.24388855401000001</c:v>
                </c:pt>
                <c:pt idx="34">
                  <c:v>0.49861864633000003</c:v>
                </c:pt>
                <c:pt idx="35">
                  <c:v>0.30952989269999998</c:v>
                </c:pt>
                <c:pt idx="36">
                  <c:v>0.48868229969999999</c:v>
                </c:pt>
                <c:pt idx="37">
                  <c:v>0.17130330757000001</c:v>
                </c:pt>
                <c:pt idx="38">
                  <c:v>0.68090448056999997</c:v>
                </c:pt>
                <c:pt idx="39">
                  <c:v>0.18567472262000001</c:v>
                </c:pt>
                <c:pt idx="40">
                  <c:v>0.61953932866000005</c:v>
                </c:pt>
                <c:pt idx="41">
                  <c:v>7.070318967E-2</c:v>
                </c:pt>
                <c:pt idx="42">
                  <c:v>0.54022199629000001</c:v>
                </c:pt>
                <c:pt idx="43">
                  <c:v>9.5534238600000002E-2</c:v>
                </c:pt>
                <c:pt idx="44">
                  <c:v>0.50538989773999998</c:v>
                </c:pt>
                <c:pt idx="45">
                  <c:v>0.16329621202</c:v>
                </c:pt>
                <c:pt idx="46">
                  <c:v>0.46833353067</c:v>
                </c:pt>
                <c:pt idx="47">
                  <c:v>0.28705548692999999</c:v>
                </c:pt>
                <c:pt idx="48">
                  <c:v>0.27305955452000003</c:v>
                </c:pt>
                <c:pt idx="49">
                  <c:v>0.14942723763999999</c:v>
                </c:pt>
                <c:pt idx="50">
                  <c:v>0.28709876538000001</c:v>
                </c:pt>
                <c:pt idx="51">
                  <c:v>0.14665105622999999</c:v>
                </c:pt>
                <c:pt idx="52">
                  <c:v>0.33681197820999997</c:v>
                </c:pt>
                <c:pt idx="53">
                  <c:v>0.27270058545999998</c:v>
                </c:pt>
                <c:pt idx="54">
                  <c:v>0.30547030674999998</c:v>
                </c:pt>
                <c:pt idx="55">
                  <c:v>0.32444493977</c:v>
                </c:pt>
                <c:pt idx="56">
                  <c:v>0.43984577612999998</c:v>
                </c:pt>
                <c:pt idx="57">
                  <c:v>0.43579446781999998</c:v>
                </c:pt>
                <c:pt idx="58">
                  <c:v>-9.9000688059999994E-2</c:v>
                </c:pt>
                <c:pt idx="59">
                  <c:v>0.47495137254000003</c:v>
                </c:pt>
                <c:pt idx="60">
                  <c:v>-5.7895704419999999E-2</c:v>
                </c:pt>
                <c:pt idx="61">
                  <c:v>0.53415392848999999</c:v>
                </c:pt>
                <c:pt idx="62">
                  <c:v>-0.12319785095000001</c:v>
                </c:pt>
                <c:pt idx="63">
                  <c:v>0.39607773416999997</c:v>
                </c:pt>
                <c:pt idx="64">
                  <c:v>-0.10622169741</c:v>
                </c:pt>
                <c:pt idx="65">
                  <c:v>0.33544489472</c:v>
                </c:pt>
                <c:pt idx="66">
                  <c:v>-0.13362574679</c:v>
                </c:pt>
                <c:pt idx="67">
                  <c:v>0.28503008077999997</c:v>
                </c:pt>
                <c:pt idx="68">
                  <c:v>-0.1208291168</c:v>
                </c:pt>
                <c:pt idx="69">
                  <c:v>0.24540284948999999</c:v>
                </c:pt>
                <c:pt idx="70">
                  <c:v>-0.15977723770999999</c:v>
                </c:pt>
                <c:pt idx="71">
                  <c:v>0.28551262944</c:v>
                </c:pt>
                <c:pt idx="72">
                  <c:v>-0.11241527689</c:v>
                </c:pt>
                <c:pt idx="73">
                  <c:v>0.35262023831</c:v>
                </c:pt>
                <c:pt idx="74">
                  <c:v>-0.11059987685</c:v>
                </c:pt>
                <c:pt idx="75">
                  <c:v>0.43621701968999999</c:v>
                </c:pt>
                <c:pt idx="76">
                  <c:v>-0.12889766743</c:v>
                </c:pt>
                <c:pt idx="77">
                  <c:v>0.36692745297000001</c:v>
                </c:pt>
                <c:pt idx="78">
                  <c:v>-0.10747603232</c:v>
                </c:pt>
                <c:pt idx="79">
                  <c:v>0.35984643830000002</c:v>
                </c:pt>
                <c:pt idx="80">
                  <c:v>-0.10277211885</c:v>
                </c:pt>
                <c:pt idx="81">
                  <c:v>0.29002572082</c:v>
                </c:pt>
                <c:pt idx="82">
                  <c:v>-9.1728762180000006E-2</c:v>
                </c:pt>
                <c:pt idx="83">
                  <c:v>0.24150858925999999</c:v>
                </c:pt>
                <c:pt idx="84">
                  <c:v>-0.10706937547000001</c:v>
                </c:pt>
                <c:pt idx="85">
                  <c:v>0.21732158618</c:v>
                </c:pt>
                <c:pt idx="86">
                  <c:v>-9.0244066060000003E-2</c:v>
                </c:pt>
                <c:pt idx="87">
                  <c:v>0.15859566912</c:v>
                </c:pt>
                <c:pt idx="88">
                  <c:v>-0.10081310434</c:v>
                </c:pt>
                <c:pt idx="89">
                  <c:v>0.18315870940000001</c:v>
                </c:pt>
                <c:pt idx="90">
                  <c:v>-0.10050851245</c:v>
                </c:pt>
                <c:pt idx="91">
                  <c:v>0.15469297967000001</c:v>
                </c:pt>
                <c:pt idx="92">
                  <c:v>-0.11140754463999999</c:v>
                </c:pt>
                <c:pt idx="93">
                  <c:v>0.11029751116</c:v>
                </c:pt>
                <c:pt idx="94">
                  <c:v>-0.11292628021999999</c:v>
                </c:pt>
                <c:pt idx="95">
                  <c:v>0.19964152268999999</c:v>
                </c:pt>
                <c:pt idx="96">
                  <c:v>-9.709173586E-2</c:v>
                </c:pt>
                <c:pt idx="97">
                  <c:v>0.17470360107999999</c:v>
                </c:pt>
                <c:pt idx="98">
                  <c:v>-0.17456611162999999</c:v>
                </c:pt>
                <c:pt idx="99">
                  <c:v>0.24242741977999999</c:v>
                </c:pt>
                <c:pt idx="100">
                  <c:v>-0.18325820359</c:v>
                </c:pt>
                <c:pt idx="101">
                  <c:v>0.28607340654000002</c:v>
                </c:pt>
                <c:pt idx="102">
                  <c:v>-0.15288479104</c:v>
                </c:pt>
                <c:pt idx="103">
                  <c:v>0.20694734097</c:v>
                </c:pt>
                <c:pt idx="104">
                  <c:v>-0.16526458052000001</c:v>
                </c:pt>
                <c:pt idx="105">
                  <c:v>0.22183815176999999</c:v>
                </c:pt>
                <c:pt idx="106">
                  <c:v>-9.5231885350000003E-2</c:v>
                </c:pt>
                <c:pt idx="107">
                  <c:v>0.25921414363</c:v>
                </c:pt>
                <c:pt idx="108">
                  <c:v>-0.12915362688000001</c:v>
                </c:pt>
                <c:pt idx="109">
                  <c:v>0.41860893393999998</c:v>
                </c:pt>
                <c:pt idx="110">
                  <c:v>-0.1464487589</c:v>
                </c:pt>
                <c:pt idx="111">
                  <c:v>0.3136541873</c:v>
                </c:pt>
                <c:pt idx="112">
                  <c:v>-0.17632112939</c:v>
                </c:pt>
                <c:pt idx="113">
                  <c:v>0.29506352605000002</c:v>
                </c:pt>
                <c:pt idx="114">
                  <c:v>-0.19581627147</c:v>
                </c:pt>
                <c:pt idx="115">
                  <c:v>0.22745033745000001</c:v>
                </c:pt>
                <c:pt idx="116">
                  <c:v>-0.20428641371</c:v>
                </c:pt>
                <c:pt idx="117">
                  <c:v>-0.10755974949</c:v>
                </c:pt>
                <c:pt idx="118">
                  <c:v>-0.20941517719</c:v>
                </c:pt>
                <c:pt idx="119">
                  <c:v>0.19203656935999999</c:v>
                </c:pt>
                <c:pt idx="120">
                  <c:v>-0.24591027228000001</c:v>
                </c:pt>
                <c:pt idx="121">
                  <c:v>0.30840941493000001</c:v>
                </c:pt>
                <c:pt idx="122">
                  <c:v>-0.21597382396000001</c:v>
                </c:pt>
                <c:pt idx="123">
                  <c:v>0.1140452575</c:v>
                </c:pt>
                <c:pt idx="124">
                  <c:v>-0.25058742224000002</c:v>
                </c:pt>
                <c:pt idx="125">
                  <c:v>5.3598413159999997E-2</c:v>
                </c:pt>
                <c:pt idx="126">
                  <c:v>-0.25550408654000001</c:v>
                </c:pt>
                <c:pt idx="127">
                  <c:v>0.17495908988</c:v>
                </c:pt>
                <c:pt idx="128">
                  <c:v>-0.21954578308</c:v>
                </c:pt>
                <c:pt idx="129">
                  <c:v>0.11000675421</c:v>
                </c:pt>
                <c:pt idx="130">
                  <c:v>-0.20959741665000001</c:v>
                </c:pt>
                <c:pt idx="131">
                  <c:v>0.21398696817000001</c:v>
                </c:pt>
                <c:pt idx="132">
                  <c:v>-0.11204970588</c:v>
                </c:pt>
                <c:pt idx="133">
                  <c:v>0.28432333826</c:v>
                </c:pt>
                <c:pt idx="134">
                  <c:v>-5.6550750779999999E-2</c:v>
                </c:pt>
                <c:pt idx="135">
                  <c:v>0.20554666287000001</c:v>
                </c:pt>
                <c:pt idx="136">
                  <c:v>-8.9260042819999996E-2</c:v>
                </c:pt>
                <c:pt idx="137">
                  <c:v>0.12463891093</c:v>
                </c:pt>
                <c:pt idx="138">
                  <c:v>-0.10959482668999999</c:v>
                </c:pt>
                <c:pt idx="139">
                  <c:v>0.21330879125999999</c:v>
                </c:pt>
                <c:pt idx="140">
                  <c:v>-0.15037881596</c:v>
                </c:pt>
                <c:pt idx="141">
                  <c:v>0.22444734152000001</c:v>
                </c:pt>
                <c:pt idx="142">
                  <c:v>-0.20223380673999999</c:v>
                </c:pt>
                <c:pt idx="143">
                  <c:v>0.38272009233999998</c:v>
                </c:pt>
                <c:pt idx="144">
                  <c:v>-0.25433192603999999</c:v>
                </c:pt>
                <c:pt idx="145">
                  <c:v>0.54838573690000003</c:v>
                </c:pt>
                <c:pt idx="146">
                  <c:v>-0.23324963630000001</c:v>
                </c:pt>
                <c:pt idx="147">
                  <c:v>0.36122404773</c:v>
                </c:pt>
                <c:pt idx="148">
                  <c:v>-0.23727202383000001</c:v>
                </c:pt>
                <c:pt idx="149">
                  <c:v>0.43264455171999999</c:v>
                </c:pt>
                <c:pt idx="150">
                  <c:v>-0.29378116882999999</c:v>
                </c:pt>
                <c:pt idx="151">
                  <c:v>0.42502239513000001</c:v>
                </c:pt>
                <c:pt idx="152">
                  <c:v>-0.28701961415999999</c:v>
                </c:pt>
                <c:pt idx="153">
                  <c:v>0.31000690058000002</c:v>
                </c:pt>
                <c:pt idx="154">
                  <c:v>-0.17027222733</c:v>
                </c:pt>
                <c:pt idx="155">
                  <c:v>0.22701375937000001</c:v>
                </c:pt>
                <c:pt idx="156">
                  <c:v>-0.14085360643</c:v>
                </c:pt>
                <c:pt idx="157">
                  <c:v>0.17064317161000001</c:v>
                </c:pt>
                <c:pt idx="158">
                  <c:v>-4.9505435889999998E-2</c:v>
                </c:pt>
                <c:pt idx="159">
                  <c:v>0.13634115809</c:v>
                </c:pt>
                <c:pt idx="160">
                  <c:v>-5.0397502560000002E-2</c:v>
                </c:pt>
                <c:pt idx="161">
                  <c:v>0.10962442784</c:v>
                </c:pt>
                <c:pt idx="162">
                  <c:v>-3.9902850410000003E-2</c:v>
                </c:pt>
                <c:pt idx="163">
                  <c:v>0.16213096623000001</c:v>
                </c:pt>
                <c:pt idx="164">
                  <c:v>-1.10363614E-2</c:v>
                </c:pt>
                <c:pt idx="165">
                  <c:v>0.14392934841999999</c:v>
                </c:pt>
                <c:pt idx="166">
                  <c:v>-4.1127548699999997E-3</c:v>
                </c:pt>
                <c:pt idx="167">
                  <c:v>6.4490281309999994E-2</c:v>
                </c:pt>
                <c:pt idx="168">
                  <c:v>-6.71373354E-3</c:v>
                </c:pt>
                <c:pt idx="169">
                  <c:v>4.5358980360000002E-2</c:v>
                </c:pt>
                <c:pt idx="170">
                  <c:v>2.197629009E-2</c:v>
                </c:pt>
                <c:pt idx="171">
                  <c:v>8.8893477969999996E-2</c:v>
                </c:pt>
                <c:pt idx="172">
                  <c:v>-3.0309788349999998E-2</c:v>
                </c:pt>
                <c:pt idx="173">
                  <c:v>0.10049258950000001</c:v>
                </c:pt>
                <c:pt idx="174">
                  <c:v>-1.7115030610000002E-2</c:v>
                </c:pt>
                <c:pt idx="175">
                  <c:v>0.12866223766000001</c:v>
                </c:pt>
                <c:pt idx="176">
                  <c:v>-2.0597044740000001E-2</c:v>
                </c:pt>
                <c:pt idx="177">
                  <c:v>0.17604882982</c:v>
                </c:pt>
                <c:pt idx="178">
                  <c:v>-2.670592754E-2</c:v>
                </c:pt>
                <c:pt idx="179">
                  <c:v>0.21981454540000001</c:v>
                </c:pt>
                <c:pt idx="180">
                  <c:v>-3.273354933E-2</c:v>
                </c:pt>
                <c:pt idx="181">
                  <c:v>0.12210098317</c:v>
                </c:pt>
                <c:pt idx="182">
                  <c:v>5.0240270189999998E-2</c:v>
                </c:pt>
                <c:pt idx="183">
                  <c:v>0.17218423707</c:v>
                </c:pt>
                <c:pt idx="184">
                  <c:v>8.4041165060000006E-2</c:v>
                </c:pt>
                <c:pt idx="185">
                  <c:v>0.17739352711</c:v>
                </c:pt>
                <c:pt idx="186">
                  <c:v>3.5700412979999999E-2</c:v>
                </c:pt>
                <c:pt idx="187">
                  <c:v>9.1408922840000004E-2</c:v>
                </c:pt>
                <c:pt idx="188">
                  <c:v>1.3564665240000001E-2</c:v>
                </c:pt>
                <c:pt idx="189">
                  <c:v>9.2075795850000003E-2</c:v>
                </c:pt>
                <c:pt idx="190">
                  <c:v>-1.3545540950000001E-2</c:v>
                </c:pt>
                <c:pt idx="191">
                  <c:v>5.1867848629999998E-2</c:v>
                </c:pt>
                <c:pt idx="192">
                  <c:v>-2.0702632330000002E-2</c:v>
                </c:pt>
                <c:pt idx="193">
                  <c:v>0.12465942614</c:v>
                </c:pt>
                <c:pt idx="194">
                  <c:v>-3.232191911E-2</c:v>
                </c:pt>
                <c:pt idx="195">
                  <c:v>0.11455712209</c:v>
                </c:pt>
                <c:pt idx="196">
                  <c:v>3.3987089169999998E-2</c:v>
                </c:pt>
                <c:pt idx="197">
                  <c:v>0.17011598229</c:v>
                </c:pt>
                <c:pt idx="198">
                  <c:v>-9.7781498700000007E-3</c:v>
                </c:pt>
                <c:pt idx="199">
                  <c:v>0.24902569803999999</c:v>
                </c:pt>
                <c:pt idx="200">
                  <c:v>-2.9210411700000001E-2</c:v>
                </c:pt>
                <c:pt idx="201">
                  <c:v>0.16754793106999999</c:v>
                </c:pt>
                <c:pt idx="202">
                  <c:v>4.4815968140000002E-2</c:v>
                </c:pt>
                <c:pt idx="203">
                  <c:v>0.18786839637</c:v>
                </c:pt>
                <c:pt idx="204">
                  <c:v>6.8375780950000006E-2</c:v>
                </c:pt>
                <c:pt idx="205">
                  <c:v>0.20176698271999999</c:v>
                </c:pt>
                <c:pt idx="206">
                  <c:v>8.8864161070000003E-2</c:v>
                </c:pt>
                <c:pt idx="207">
                  <c:v>0.13133244465999999</c:v>
                </c:pt>
                <c:pt idx="208">
                  <c:v>-0.21655718414</c:v>
                </c:pt>
                <c:pt idx="209">
                  <c:v>0.23361794409</c:v>
                </c:pt>
                <c:pt idx="210">
                  <c:v>3.7656811599999999E-2</c:v>
                </c:pt>
                <c:pt idx="211">
                  <c:v>0.37983645686</c:v>
                </c:pt>
                <c:pt idx="212">
                  <c:v>8.0221450890000004E-2</c:v>
                </c:pt>
                <c:pt idx="213">
                  <c:v>0.41706120891999998</c:v>
                </c:pt>
                <c:pt idx="214">
                  <c:v>2.931111179E-2</c:v>
                </c:pt>
                <c:pt idx="215">
                  <c:v>0.45752609440000003</c:v>
                </c:pt>
                <c:pt idx="216">
                  <c:v>-6.7080490389999997E-2</c:v>
                </c:pt>
                <c:pt idx="217">
                  <c:v>0.4849355159</c:v>
                </c:pt>
                <c:pt idx="218">
                  <c:v>-0.12551004264999999</c:v>
                </c:pt>
                <c:pt idx="219">
                  <c:v>0.38884364162000001</c:v>
                </c:pt>
                <c:pt idx="220">
                  <c:v>-0.15885370228000001</c:v>
                </c:pt>
                <c:pt idx="221">
                  <c:v>0.45212595192999999</c:v>
                </c:pt>
                <c:pt idx="222">
                  <c:v>-0.11245105761</c:v>
                </c:pt>
                <c:pt idx="223">
                  <c:v>0.43108757076999998</c:v>
                </c:pt>
                <c:pt idx="224">
                  <c:v>-0.14054437733</c:v>
                </c:pt>
                <c:pt idx="225">
                  <c:v>0.22584925490999999</c:v>
                </c:pt>
                <c:pt idx="226">
                  <c:v>-8.615020424E-2</c:v>
                </c:pt>
                <c:pt idx="227">
                  <c:v>0.18072769497999999</c:v>
                </c:pt>
                <c:pt idx="228">
                  <c:v>-4.529597875E-2</c:v>
                </c:pt>
                <c:pt idx="229">
                  <c:v>0.10329933884</c:v>
                </c:pt>
                <c:pt idx="230">
                  <c:v>-1.089703234E-2</c:v>
                </c:pt>
                <c:pt idx="231">
                  <c:v>3.6474907900000001E-3</c:v>
                </c:pt>
                <c:pt idx="232">
                  <c:v>0.14647074613</c:v>
                </c:pt>
                <c:pt idx="233">
                  <c:v>-1.771850979E-2</c:v>
                </c:pt>
                <c:pt idx="234">
                  <c:v>6.8183939459999995E-2</c:v>
                </c:pt>
                <c:pt idx="235">
                  <c:v>-5.8013702319999999E-2</c:v>
                </c:pt>
                <c:pt idx="236">
                  <c:v>7.2854243000000001E-4</c:v>
                </c:pt>
                <c:pt idx="237">
                  <c:v>-8.7279678070000005E-2</c:v>
                </c:pt>
                <c:pt idx="238">
                  <c:v>0.22573361788999999</c:v>
                </c:pt>
                <c:pt idx="239">
                  <c:v>-4.440852965E-2</c:v>
                </c:pt>
                <c:pt idx="240">
                  <c:v>0.16926603241999999</c:v>
                </c:pt>
                <c:pt idx="241">
                  <c:v>1.9798003179999999E-2</c:v>
                </c:pt>
                <c:pt idx="242">
                  <c:v>9.2507228519999998E-2</c:v>
                </c:pt>
                <c:pt idx="243">
                  <c:v>-3.6659390040000003E-2</c:v>
                </c:pt>
                <c:pt idx="244">
                  <c:v>5.1469585640000003E-2</c:v>
                </c:pt>
                <c:pt idx="245">
                  <c:v>0.11202862647</c:v>
                </c:pt>
                <c:pt idx="246">
                  <c:v>-7.1699503169999998E-2</c:v>
                </c:pt>
                <c:pt idx="247">
                  <c:v>-2.6580855309999998E-2</c:v>
                </c:pt>
                <c:pt idx="248">
                  <c:v>-0.20212796911</c:v>
                </c:pt>
                <c:pt idx="249">
                  <c:v>5.3396903539999999E-2</c:v>
                </c:pt>
                <c:pt idx="250">
                  <c:v>-0.14389709117999999</c:v>
                </c:pt>
                <c:pt idx="251">
                  <c:v>-0.15090010526</c:v>
                </c:pt>
                <c:pt idx="252">
                  <c:v>-1.82732384E-3</c:v>
                </c:pt>
                <c:pt idx="253">
                  <c:v>-0.20001798021</c:v>
                </c:pt>
                <c:pt idx="254">
                  <c:v>0.1424839104</c:v>
                </c:pt>
                <c:pt idx="255">
                  <c:v>-0.22807017543999999</c:v>
                </c:pt>
                <c:pt idx="256">
                  <c:v>-3.8438441009999998E-2</c:v>
                </c:pt>
                <c:pt idx="257">
                  <c:v>-0.42908324551999999</c:v>
                </c:pt>
                <c:pt idx="258">
                  <c:v>-0.13203345017000001</c:v>
                </c:pt>
                <c:pt idx="259">
                  <c:v>-0.18895977482000001</c:v>
                </c:pt>
                <c:pt idx="260">
                  <c:v>0.36048258458999999</c:v>
                </c:pt>
                <c:pt idx="261">
                  <c:v>-0.25845434408000001</c:v>
                </c:pt>
                <c:pt idx="262">
                  <c:v>-0.18867731081</c:v>
                </c:pt>
                <c:pt idx="263">
                  <c:v>-0.38355923070999998</c:v>
                </c:pt>
                <c:pt idx="264">
                  <c:v>-0.24960376374000001</c:v>
                </c:pt>
                <c:pt idx="265">
                  <c:v>0.28339117629999999</c:v>
                </c:pt>
                <c:pt idx="266">
                  <c:v>-0.19912564893000001</c:v>
                </c:pt>
                <c:pt idx="267">
                  <c:v>0.63429256596000005</c:v>
                </c:pt>
                <c:pt idx="268">
                  <c:v>-0.15723875748999999</c:v>
                </c:pt>
                <c:pt idx="269">
                  <c:v>0.31338105726999999</c:v>
                </c:pt>
                <c:pt idx="270">
                  <c:v>-0.12139878695</c:v>
                </c:pt>
                <c:pt idx="271">
                  <c:v>-0.30072442656999998</c:v>
                </c:pt>
                <c:pt idx="272">
                  <c:v>-3.5346205159999998E-2</c:v>
                </c:pt>
                <c:pt idx="273">
                  <c:v>-0.21031565368999999</c:v>
                </c:pt>
                <c:pt idx="274">
                  <c:v>8.3139102100000001E-2</c:v>
                </c:pt>
                <c:pt idx="275">
                  <c:v>-0.30795593635000001</c:v>
                </c:pt>
                <c:pt idx="276">
                  <c:v>0.27232142858000002</c:v>
                </c:pt>
                <c:pt idx="277">
                  <c:v>-0.20559024431</c:v>
                </c:pt>
                <c:pt idx="278">
                  <c:v>-0.22716604076999999</c:v>
                </c:pt>
                <c:pt idx="279">
                  <c:v>-6.810554714E-2</c:v>
                </c:pt>
                <c:pt idx="280">
                  <c:v>-0.14953357007000001</c:v>
                </c:pt>
                <c:pt idx="281">
                  <c:v>0.40911617567000003</c:v>
                </c:pt>
                <c:pt idx="282">
                  <c:v>-0.39968410160000001</c:v>
                </c:pt>
                <c:pt idx="283">
                  <c:v>0.29402697496000002</c:v>
                </c:pt>
                <c:pt idx="284">
                  <c:v>-0.13898159385</c:v>
                </c:pt>
                <c:pt idx="285">
                  <c:v>-2.946743093E-2</c:v>
                </c:pt>
                <c:pt idx="286">
                  <c:v>-0.51417260491000005</c:v>
                </c:pt>
                <c:pt idx="287">
                  <c:v>-0.16591304349</c:v>
                </c:pt>
                <c:pt idx="288">
                  <c:v>-0.62282441066000005</c:v>
                </c:pt>
                <c:pt idx="289">
                  <c:v>0.15421303655999999</c:v>
                </c:pt>
                <c:pt idx="290">
                  <c:v>-0.59393626506999997</c:v>
                </c:pt>
                <c:pt idx="291">
                  <c:v>-4.2539267009999999E-2</c:v>
                </c:pt>
                <c:pt idx="292">
                  <c:v>-0.30020236613000001</c:v>
                </c:pt>
                <c:pt idx="293">
                  <c:v>0.78893280628999995</c:v>
                </c:pt>
                <c:pt idx="294">
                  <c:v>0.24754358162000001</c:v>
                </c:pt>
                <c:pt idx="295">
                  <c:v>1.68010291591</c:v>
                </c:pt>
                <c:pt idx="296">
                  <c:v>-0.31205357142000001</c:v>
                </c:pt>
                <c:pt idx="297">
                  <c:v>1.3110667996200001</c:v>
                </c:pt>
                <c:pt idx="298">
                  <c:v>-0.1305894309</c:v>
                </c:pt>
                <c:pt idx="299">
                  <c:v>0.16666666664999999</c:v>
                </c:pt>
                <c:pt idx="300">
                  <c:v>-0.14896459586999999</c:v>
                </c:pt>
                <c:pt idx="301">
                  <c:v>1.8613898179799999</c:v>
                </c:pt>
                <c:pt idx="302">
                  <c:v>-0.35751445086</c:v>
                </c:pt>
                <c:pt idx="303">
                  <c:v>-0.28997613364000002</c:v>
                </c:pt>
                <c:pt idx="304">
                  <c:v>-0.64695575995999999</c:v>
                </c:pt>
                <c:pt idx="305">
                  <c:v>1.35185185185</c:v>
                </c:pt>
                <c:pt idx="306">
                  <c:v>0</c:v>
                </c:pt>
                <c:pt idx="307">
                  <c:v>1.2466216217099999</c:v>
                </c:pt>
                <c:pt idx="308">
                  <c:v>-0.57064622124999997</c:v>
                </c:pt>
                <c:pt idx="309">
                  <c:v>0.93099897017</c:v>
                </c:pt>
                <c:pt idx="310">
                  <c:v>-0.41249999998999998</c:v>
                </c:pt>
                <c:pt idx="311">
                  <c:v>2.8529980660300001</c:v>
                </c:pt>
                <c:pt idx="312">
                  <c:v>-0.46511627907000003</c:v>
                </c:pt>
                <c:pt idx="313">
                  <c:v>-0.71752397559000003</c:v>
                </c:pt>
                <c:pt idx="314">
                  <c:v>-0.5886877828</c:v>
                </c:pt>
                <c:pt idx="315">
                  <c:v>0</c:v>
                </c:pt>
                <c:pt idx="316">
                  <c:v>-0.61633109619000004</c:v>
                </c:pt>
                <c:pt idx="317">
                  <c:v>2.7834132975000001</c:v>
                </c:pt>
                <c:pt idx="318">
                  <c:v>-0.64113181505000005</c:v>
                </c:pt>
                <c:pt idx="319">
                  <c:v>-0.70632222977000003</c:v>
                </c:pt>
                <c:pt idx="320">
                  <c:v>0</c:v>
                </c:pt>
                <c:pt idx="321">
                  <c:v>8.2869855379999996E-2</c:v>
                </c:pt>
                <c:pt idx="322">
                  <c:v>-0.73150997150999997</c:v>
                </c:pt>
                <c:pt idx="323">
                  <c:v>0.33871308015000001</c:v>
                </c:pt>
                <c:pt idx="324">
                  <c:v>-0.66646489103999995</c:v>
                </c:pt>
                <c:pt idx="325">
                  <c:v>-9.1190476160000006E-2</c:v>
                </c:pt>
                <c:pt idx="326">
                  <c:v>-0.68419556566999995</c:v>
                </c:pt>
                <c:pt idx="327">
                  <c:v>-8.7774050079999999E-2</c:v>
                </c:pt>
                <c:pt idx="328">
                  <c:v>3.974562794E-2</c:v>
                </c:pt>
                <c:pt idx="329">
                  <c:v>0.52614015569999995</c:v>
                </c:pt>
                <c:pt idx="330">
                  <c:v>-5.8620689650000002E-2</c:v>
                </c:pt>
                <c:pt idx="331">
                  <c:v>0.21249510385000001</c:v>
                </c:pt>
                <c:pt idx="332">
                  <c:v>1.2536277602300001</c:v>
                </c:pt>
                <c:pt idx="333">
                  <c:v>0.79782164742999995</c:v>
                </c:pt>
                <c:pt idx="334">
                  <c:v>-0.26966473242</c:v>
                </c:pt>
                <c:pt idx="335">
                  <c:v>-0.51627809284000004</c:v>
                </c:pt>
                <c:pt idx="336">
                  <c:v>0.39730639731</c:v>
                </c:pt>
                <c:pt idx="337">
                  <c:v>0.89170664842000003</c:v>
                </c:pt>
                <c:pt idx="338">
                  <c:v>-0.25011956002000002</c:v>
                </c:pt>
                <c:pt idx="339">
                  <c:v>0.98353520069</c:v>
                </c:pt>
                <c:pt idx="340">
                  <c:v>-0.26100628931999997</c:v>
                </c:pt>
                <c:pt idx="341">
                  <c:v>5.8035714269999997E-2</c:v>
                </c:pt>
                <c:pt idx="342">
                  <c:v>-0.38439306358999997</c:v>
                </c:pt>
                <c:pt idx="343">
                  <c:v>2.4412864623299999</c:v>
                </c:pt>
                <c:pt idx="344">
                  <c:v>-0.21335379895000001</c:v>
                </c:pt>
                <c:pt idx="345">
                  <c:v>0.35113904162999998</c:v>
                </c:pt>
                <c:pt idx="346">
                  <c:v>0.15062111801</c:v>
                </c:pt>
                <c:pt idx="347">
                  <c:v>0</c:v>
                </c:pt>
                <c:pt idx="348">
                  <c:v>9.1703056759999999E-2</c:v>
                </c:pt>
                <c:pt idx="349">
                  <c:v>0</c:v>
                </c:pt>
                <c:pt idx="350">
                  <c:v>9.3023255819999998E-2</c:v>
                </c:pt>
                <c:pt idx="351">
                  <c:v>0</c:v>
                </c:pt>
                <c:pt idx="352">
                  <c:v>-0.39240506329000002</c:v>
                </c:pt>
                <c:pt idx="353">
                  <c:v>-0.10823101407999999</c:v>
                </c:pt>
                <c:pt idx="354">
                  <c:v>3.4197264230000003E-2</c:v>
                </c:pt>
                <c:pt idx="355">
                  <c:v>0.17712505563</c:v>
                </c:pt>
                <c:pt idx="356">
                  <c:v>-3.866516926E-2</c:v>
                </c:pt>
                <c:pt idx="357">
                  <c:v>-0.11461245235</c:v>
                </c:pt>
                <c:pt idx="358">
                  <c:v>0.10251352856</c:v>
                </c:pt>
                <c:pt idx="359">
                  <c:v>-8.9613848199999999E-2</c:v>
                </c:pt>
                <c:pt idx="360">
                  <c:v>0.35759717313</c:v>
                </c:pt>
                <c:pt idx="361">
                  <c:v>-0.14260869563</c:v>
                </c:pt>
                <c:pt idx="362">
                  <c:v>1.08763663776</c:v>
                </c:pt>
                <c:pt idx="363">
                  <c:v>-0.12748387096</c:v>
                </c:pt>
                <c:pt idx="364">
                  <c:v>1.2444889780599999</c:v>
                </c:pt>
                <c:pt idx="365">
                  <c:v>0.47802929425000001</c:v>
                </c:pt>
                <c:pt idx="366">
                  <c:v>1.26420890935</c:v>
                </c:pt>
                <c:pt idx="367">
                  <c:v>1.7792032411800001</c:v>
                </c:pt>
                <c:pt idx="368">
                  <c:v>1.0734641438700001</c:v>
                </c:pt>
                <c:pt idx="369">
                  <c:v>0.89109545175000004</c:v>
                </c:pt>
                <c:pt idx="370">
                  <c:v>-0.40878584502999998</c:v>
                </c:pt>
                <c:pt idx="371">
                  <c:v>-0.17383403997999999</c:v>
                </c:pt>
                <c:pt idx="372">
                  <c:v>-0.25614035087999998</c:v>
                </c:pt>
                <c:pt idx="373">
                  <c:v>0.11572535991000001</c:v>
                </c:pt>
                <c:pt idx="374">
                  <c:v>-0.69301760776999999</c:v>
                </c:pt>
                <c:pt idx="375">
                  <c:v>-0.3722796518</c:v>
                </c:pt>
                <c:pt idx="376">
                  <c:v>-0.72539534883000001</c:v>
                </c:pt>
                <c:pt idx="377">
                  <c:v>1.0224719100499999</c:v>
                </c:pt>
                <c:pt idx="378">
                  <c:v>-0.64840038011000001</c:v>
                </c:pt>
                <c:pt idx="379">
                  <c:v>0.61017876683000005</c:v>
                </c:pt>
                <c:pt idx="380">
                  <c:v>-0.55116991379000002</c:v>
                </c:pt>
                <c:pt idx="381">
                  <c:v>1.9813829787499999</c:v>
                </c:pt>
                <c:pt idx="382">
                  <c:v>0.21817024370999999</c:v>
                </c:pt>
                <c:pt idx="383">
                  <c:v>5.4990328825799999</c:v>
                </c:pt>
                <c:pt idx="384">
                  <c:v>0.96468667076000003</c:v>
                </c:pt>
                <c:pt idx="385">
                  <c:v>2.5344666252599999</c:v>
                </c:pt>
                <c:pt idx="386">
                  <c:v>5.7188422920299997</c:v>
                </c:pt>
                <c:pt idx="387">
                  <c:v>1.5591397850399999</c:v>
                </c:pt>
                <c:pt idx="388">
                  <c:v>1.51081191351</c:v>
                </c:pt>
                <c:pt idx="389">
                  <c:v>0.66749844045999995</c:v>
                </c:pt>
                <c:pt idx="390">
                  <c:v>0.66903689102999997</c:v>
                </c:pt>
                <c:pt idx="391">
                  <c:v>0.29573866226000001</c:v>
                </c:pt>
                <c:pt idx="392">
                  <c:v>-4.6651929609999997E-2</c:v>
                </c:pt>
                <c:pt idx="393">
                  <c:v>-1.99521149E-3</c:v>
                </c:pt>
                <c:pt idx="394">
                  <c:v>-0.33328623904999999</c:v>
                </c:pt>
                <c:pt idx="395">
                  <c:v>-1.269479594E-2</c:v>
                </c:pt>
                <c:pt idx="396">
                  <c:v>-0.42244065401000003</c:v>
                </c:pt>
                <c:pt idx="397">
                  <c:v>-0.20609615872000001</c:v>
                </c:pt>
                <c:pt idx="398">
                  <c:v>-0.33276931754</c:v>
                </c:pt>
                <c:pt idx="399">
                  <c:v>-0.50804162725000002</c:v>
                </c:pt>
                <c:pt idx="400">
                  <c:v>8.0556619430000004E-2</c:v>
                </c:pt>
                <c:pt idx="401">
                  <c:v>-0.38501244813000002</c:v>
                </c:pt>
                <c:pt idx="402">
                  <c:v>4.665704666E-2</c:v>
                </c:pt>
                <c:pt idx="403">
                  <c:v>-0.42437165190999998</c:v>
                </c:pt>
                <c:pt idx="404">
                  <c:v>0.10724365005</c:v>
                </c:pt>
                <c:pt idx="405">
                  <c:v>-0.26396850211</c:v>
                </c:pt>
                <c:pt idx="406">
                  <c:v>0.26502746626000001</c:v>
                </c:pt>
                <c:pt idx="407">
                  <c:v>-9.7933932530000004E-2</c:v>
                </c:pt>
                <c:pt idx="408">
                  <c:v>-0.29488483396999998</c:v>
                </c:pt>
                <c:pt idx="409">
                  <c:v>-0.12435862070000001</c:v>
                </c:pt>
                <c:pt idx="410">
                  <c:v>-0.20056885226000001</c:v>
                </c:pt>
                <c:pt idx="411">
                  <c:v>-9.2464322619999997E-2</c:v>
                </c:pt>
                <c:pt idx="412">
                  <c:v>-0.35726602164999999</c:v>
                </c:pt>
                <c:pt idx="413">
                  <c:v>-6.9320994430000005E-2</c:v>
                </c:pt>
                <c:pt idx="414">
                  <c:v>-0.43083934730000001</c:v>
                </c:pt>
                <c:pt idx="415">
                  <c:v>-2.4944363380000001E-2</c:v>
                </c:pt>
                <c:pt idx="416">
                  <c:v>-0.23799763747</c:v>
                </c:pt>
                <c:pt idx="417">
                  <c:v>-5.2478965510000003E-2</c:v>
                </c:pt>
                <c:pt idx="418">
                  <c:v>-0.41759152691000001</c:v>
                </c:pt>
                <c:pt idx="419">
                  <c:v>-0.19383667889</c:v>
                </c:pt>
                <c:pt idx="420">
                  <c:v>-0.40510154737999998</c:v>
                </c:pt>
                <c:pt idx="421">
                  <c:v>-0.17133822657</c:v>
                </c:pt>
                <c:pt idx="422">
                  <c:v>-0.45236156732999999</c:v>
                </c:pt>
                <c:pt idx="423">
                  <c:v>-9.684604225E-2</c:v>
                </c:pt>
                <c:pt idx="424">
                  <c:v>-0.42933297520000002</c:v>
                </c:pt>
                <c:pt idx="425">
                  <c:v>-5.3804224009999999E-2</c:v>
                </c:pt>
                <c:pt idx="426">
                  <c:v>-0.35760067640999998</c:v>
                </c:pt>
                <c:pt idx="427">
                  <c:v>0.22236208640999999</c:v>
                </c:pt>
                <c:pt idx="428">
                  <c:v>-0.18340206712000001</c:v>
                </c:pt>
                <c:pt idx="429">
                  <c:v>0.10053687481</c:v>
                </c:pt>
                <c:pt idx="430">
                  <c:v>-6.6611433289999994E-2</c:v>
                </c:pt>
                <c:pt idx="431">
                  <c:v>-5.7229814359999999E-2</c:v>
                </c:pt>
                <c:pt idx="432">
                  <c:v>-7.5691088200000006E-2</c:v>
                </c:pt>
                <c:pt idx="433">
                  <c:v>5.5171048200000003E-3</c:v>
                </c:pt>
                <c:pt idx="434">
                  <c:v>-0.21749587158</c:v>
                </c:pt>
                <c:pt idx="435">
                  <c:v>-2.1607491770000001E-2</c:v>
                </c:pt>
                <c:pt idx="436">
                  <c:v>-0.28858649912000001</c:v>
                </c:pt>
                <c:pt idx="437">
                  <c:v>-2.3358469100000001E-2</c:v>
                </c:pt>
                <c:pt idx="438">
                  <c:v>-0.28454996667999999</c:v>
                </c:pt>
                <c:pt idx="439">
                  <c:v>-1.1591989360000001E-2</c:v>
                </c:pt>
                <c:pt idx="440">
                  <c:v>-0.33623850310999998</c:v>
                </c:pt>
                <c:pt idx="441">
                  <c:v>-1.7481476539999999E-2</c:v>
                </c:pt>
                <c:pt idx="442">
                  <c:v>-0.22589065488000001</c:v>
                </c:pt>
                <c:pt idx="443">
                  <c:v>-6.4718861680000003E-2</c:v>
                </c:pt>
                <c:pt idx="444">
                  <c:v>-0.15044099194999999</c:v>
                </c:pt>
                <c:pt idx="445">
                  <c:v>-0.23681709959</c:v>
                </c:pt>
                <c:pt idx="446">
                  <c:v>-7.7150725140000001E-2</c:v>
                </c:pt>
                <c:pt idx="447">
                  <c:v>-0.23811880921</c:v>
                </c:pt>
                <c:pt idx="448">
                  <c:v>-0.13073918478999999</c:v>
                </c:pt>
                <c:pt idx="449">
                  <c:v>-0.24680493526</c:v>
                </c:pt>
                <c:pt idx="450">
                  <c:v>-0.15819762880999999</c:v>
                </c:pt>
                <c:pt idx="451">
                  <c:v>-0.21314120169</c:v>
                </c:pt>
                <c:pt idx="452">
                  <c:v>-9.5639500559999993E-2</c:v>
                </c:pt>
                <c:pt idx="453">
                  <c:v>-0.20731770642</c:v>
                </c:pt>
                <c:pt idx="454">
                  <c:v>-0.15582953364999999</c:v>
                </c:pt>
                <c:pt idx="455">
                  <c:v>-0.27165674926</c:v>
                </c:pt>
                <c:pt idx="456">
                  <c:v>0.56736876114000001</c:v>
                </c:pt>
                <c:pt idx="457">
                  <c:v>-0.23478631637</c:v>
                </c:pt>
                <c:pt idx="458">
                  <c:v>0.41083394726</c:v>
                </c:pt>
                <c:pt idx="459">
                  <c:v>-0.22249825003000001</c:v>
                </c:pt>
                <c:pt idx="460">
                  <c:v>0.44802081948</c:v>
                </c:pt>
                <c:pt idx="461">
                  <c:v>-0.18283988542999999</c:v>
                </c:pt>
                <c:pt idx="462">
                  <c:v>0.32125682445999998</c:v>
                </c:pt>
                <c:pt idx="463">
                  <c:v>-0.12219236834</c:v>
                </c:pt>
                <c:pt idx="464">
                  <c:v>0.27032675134</c:v>
                </c:pt>
                <c:pt idx="465">
                  <c:v>-0.10693607611</c:v>
                </c:pt>
                <c:pt idx="466">
                  <c:v>0.22145386182999999</c:v>
                </c:pt>
                <c:pt idx="467">
                  <c:v>-4.177434486E-2</c:v>
                </c:pt>
                <c:pt idx="468">
                  <c:v>9.0829962479999998E-2</c:v>
                </c:pt>
                <c:pt idx="469">
                  <c:v>-7.3682457079999999E-2</c:v>
                </c:pt>
                <c:pt idx="470">
                  <c:v>0.21945708154999999</c:v>
                </c:pt>
                <c:pt idx="471">
                  <c:v>-2.7369327999999999E-3</c:v>
                </c:pt>
                <c:pt idx="472">
                  <c:v>0.19116452686999999</c:v>
                </c:pt>
                <c:pt idx="473">
                  <c:v>2.2800214570000001E-2</c:v>
                </c:pt>
                <c:pt idx="474">
                  <c:v>0.32956558063000002</c:v>
                </c:pt>
                <c:pt idx="475">
                  <c:v>-4.02126633E-2</c:v>
                </c:pt>
                <c:pt idx="476">
                  <c:v>0.43085629406999998</c:v>
                </c:pt>
                <c:pt idx="477">
                  <c:v>-1.48288064E-2</c:v>
                </c:pt>
                <c:pt idx="478">
                  <c:v>0.44004097022999999</c:v>
                </c:pt>
                <c:pt idx="479">
                  <c:v>-2.026519425E-2</c:v>
                </c:pt>
                <c:pt idx="480">
                  <c:v>0.45369611791999997</c:v>
                </c:pt>
                <c:pt idx="481">
                  <c:v>-1.2474305850000001E-2</c:v>
                </c:pt>
                <c:pt idx="482">
                  <c:v>0.30157930375999997</c:v>
                </c:pt>
                <c:pt idx="483">
                  <c:v>2.6098086869999999E-2</c:v>
                </c:pt>
                <c:pt idx="484">
                  <c:v>0.38864669718</c:v>
                </c:pt>
                <c:pt idx="485">
                  <c:v>4.1436075699999998E-2</c:v>
                </c:pt>
                <c:pt idx="486">
                  <c:v>0.52171612103999998</c:v>
                </c:pt>
                <c:pt idx="487">
                  <c:v>1.268319587E-2</c:v>
                </c:pt>
                <c:pt idx="488">
                  <c:v>0.60501888037999996</c:v>
                </c:pt>
                <c:pt idx="489">
                  <c:v>-1.8178217819999998E-2</c:v>
                </c:pt>
                <c:pt idx="490">
                  <c:v>0.50171659351999998</c:v>
                </c:pt>
                <c:pt idx="491">
                  <c:v>-5.571558293E-2</c:v>
                </c:pt>
                <c:pt idx="492">
                  <c:v>0.52930157546000001</c:v>
                </c:pt>
                <c:pt idx="493">
                  <c:v>-0.12466702005999999</c:v>
                </c:pt>
                <c:pt idx="494">
                  <c:v>0.39025636108</c:v>
                </c:pt>
                <c:pt idx="495">
                  <c:v>-4.3934286189999998E-2</c:v>
                </c:pt>
                <c:pt idx="496">
                  <c:v>0.21893853398999999</c:v>
                </c:pt>
                <c:pt idx="497">
                  <c:v>-0.16003425767000001</c:v>
                </c:pt>
                <c:pt idx="498">
                  <c:v>0.33121152903000001</c:v>
                </c:pt>
                <c:pt idx="499">
                  <c:v>-0.18030752846</c:v>
                </c:pt>
                <c:pt idx="500">
                  <c:v>0.42289716476</c:v>
                </c:pt>
                <c:pt idx="501">
                  <c:v>-0.14135159009000001</c:v>
                </c:pt>
                <c:pt idx="502">
                  <c:v>0.45761976178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do_7_dne_7dni_shift7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1.0187449062E-2</c:v>
                </c:pt>
                <c:pt idx="1">
                  <c:v>1.0437575270000001E-2</c:v>
                </c:pt>
                <c:pt idx="2">
                  <c:v>9.5238095230000003E-3</c:v>
                </c:pt>
                <c:pt idx="3">
                  <c:v>9.8270440250000004E-3</c:v>
                </c:pt>
                <c:pt idx="4">
                  <c:v>8.5106382970000002E-3</c:v>
                </c:pt>
                <c:pt idx="5">
                  <c:v>9.6118299440000003E-3</c:v>
                </c:pt>
                <c:pt idx="6">
                  <c:v>8.8345225949999998E-3</c:v>
                </c:pt>
                <c:pt idx="7">
                  <c:v>7.7543424309999996E-3</c:v>
                </c:pt>
                <c:pt idx="8">
                  <c:v>7.7076791319999997E-3</c:v>
                </c:pt>
                <c:pt idx="9">
                  <c:v>7.8481012650000008E-3</c:v>
                </c:pt>
                <c:pt idx="10">
                  <c:v>8.8183421510000005E-3</c:v>
                </c:pt>
                <c:pt idx="11">
                  <c:v>8.3764474000000005E-3</c:v>
                </c:pt>
                <c:pt idx="12">
                  <c:v>9.8964326809999996E-3</c:v>
                </c:pt>
                <c:pt idx="13">
                  <c:v>7.8095238090000003E-3</c:v>
                </c:pt>
                <c:pt idx="14">
                  <c:v>7.1053967170000001E-3</c:v>
                </c:pt>
                <c:pt idx="15">
                  <c:v>7.0687321399999998E-3</c:v>
                </c:pt>
                <c:pt idx="16">
                  <c:v>6.8770226530000004E-3</c:v>
                </c:pt>
                <c:pt idx="17">
                  <c:v>6.2530652280000003E-3</c:v>
                </c:pt>
                <c:pt idx="18">
                  <c:v>6.1589482410000004E-3</c:v>
                </c:pt>
                <c:pt idx="19">
                  <c:v>6.0699702009999997E-3</c:v>
                </c:pt>
                <c:pt idx="20">
                  <c:v>6.8789308169999999E-3</c:v>
                </c:pt>
                <c:pt idx="21">
                  <c:v>6.9967707210000004E-3</c:v>
                </c:pt>
                <c:pt idx="22">
                  <c:v>7.7773541740000004E-3</c:v>
                </c:pt>
                <c:pt idx="23">
                  <c:v>8.0924855489999999E-3</c:v>
                </c:pt>
                <c:pt idx="24">
                  <c:v>8.0315723879999992E-3</c:v>
                </c:pt>
                <c:pt idx="25">
                  <c:v>9.0712742980000004E-3</c:v>
                </c:pt>
                <c:pt idx="26">
                  <c:v>9.3990120740000006E-3</c:v>
                </c:pt>
                <c:pt idx="27">
                  <c:v>9.5387511760000009E-3</c:v>
                </c:pt>
                <c:pt idx="28">
                  <c:v>9.2368992989999999E-3</c:v>
                </c:pt>
                <c:pt idx="29">
                  <c:v>1.0382419103E-2</c:v>
                </c:pt>
                <c:pt idx="30">
                  <c:v>9.6170659200000008E-3</c:v>
                </c:pt>
                <c:pt idx="31">
                  <c:v>9.5126247790000007E-3</c:v>
                </c:pt>
                <c:pt idx="32">
                  <c:v>1.0681399631E-2</c:v>
                </c:pt>
                <c:pt idx="33">
                  <c:v>1.0849909584000001E-2</c:v>
                </c:pt>
                <c:pt idx="34">
                  <c:v>1.1361639824E-2</c:v>
                </c:pt>
                <c:pt idx="35">
                  <c:v>1.1923011412000001E-2</c:v>
                </c:pt>
                <c:pt idx="36">
                  <c:v>1.2014246983E-2</c:v>
                </c:pt>
                <c:pt idx="37">
                  <c:v>1.2233502538000001E-2</c:v>
                </c:pt>
                <c:pt idx="38">
                  <c:v>1.2895540939E-2</c:v>
                </c:pt>
                <c:pt idx="39">
                  <c:v>1.3302728363E-2</c:v>
                </c:pt>
                <c:pt idx="40">
                  <c:v>1.4393289486000001E-2</c:v>
                </c:pt>
                <c:pt idx="41">
                  <c:v>1.3950985262000001E-2</c:v>
                </c:pt>
                <c:pt idx="42">
                  <c:v>1.3548855792999999E-2</c:v>
                </c:pt>
                <c:pt idx="43">
                  <c:v>1.3200440014E-2</c:v>
                </c:pt>
                <c:pt idx="44">
                  <c:v>1.2616050578E-2</c:v>
                </c:pt>
                <c:pt idx="45">
                  <c:v>1.2209367004E-2</c:v>
                </c:pt>
                <c:pt idx="46">
                  <c:v>1.2655453897000001E-2</c:v>
                </c:pt>
                <c:pt idx="47">
                  <c:v>1.3137637278E-2</c:v>
                </c:pt>
                <c:pt idx="48">
                  <c:v>1.1747928833E-2</c:v>
                </c:pt>
                <c:pt idx="49">
                  <c:v>1.1083143877000001E-2</c:v>
                </c:pt>
                <c:pt idx="50">
                  <c:v>1.021397152E-2</c:v>
                </c:pt>
                <c:pt idx="51">
                  <c:v>9.7705602909999995E-3</c:v>
                </c:pt>
                <c:pt idx="52">
                  <c:v>9.4522091590000003E-3</c:v>
                </c:pt>
                <c:pt idx="53">
                  <c:v>9.7864025779999999E-3</c:v>
                </c:pt>
                <c:pt idx="54">
                  <c:v>1.0099764081000001E-2</c:v>
                </c:pt>
                <c:pt idx="55">
                  <c:v>9.5683225099999995E-3</c:v>
                </c:pt>
                <c:pt idx="56">
                  <c:v>9.1060648150000003E-3</c:v>
                </c:pt>
                <c:pt idx="57">
                  <c:v>9.0342753479999999E-3</c:v>
                </c:pt>
                <c:pt idx="58">
                  <c:v>8.8226073709999995E-3</c:v>
                </c:pt>
                <c:pt idx="59">
                  <c:v>8.8217456020000008E-3</c:v>
                </c:pt>
                <c:pt idx="60">
                  <c:v>9.1966125990000005E-3</c:v>
                </c:pt>
                <c:pt idx="61">
                  <c:v>9.4299684600000003E-3</c:v>
                </c:pt>
                <c:pt idx="62">
                  <c:v>8.9933872150000007E-3</c:v>
                </c:pt>
                <c:pt idx="63">
                  <c:v>8.6157548E-3</c:v>
                </c:pt>
                <c:pt idx="64">
                  <c:v>8.8881418930000008E-3</c:v>
                </c:pt>
                <c:pt idx="65">
                  <c:v>9.0265627480000006E-3</c:v>
                </c:pt>
                <c:pt idx="66">
                  <c:v>9.4965485879999999E-3</c:v>
                </c:pt>
                <c:pt idx="67">
                  <c:v>9.7743533290000004E-3</c:v>
                </c:pt>
                <c:pt idx="68">
                  <c:v>1.0270392602E-2</c:v>
                </c:pt>
                <c:pt idx="69">
                  <c:v>9.7243362079999993E-3</c:v>
                </c:pt>
                <c:pt idx="70">
                  <c:v>9.2640518870000001E-3</c:v>
                </c:pt>
                <c:pt idx="71">
                  <c:v>9.5652448720000005E-3</c:v>
                </c:pt>
                <c:pt idx="72">
                  <c:v>9.6550100080000003E-3</c:v>
                </c:pt>
                <c:pt idx="73">
                  <c:v>9.8469271189999992E-3</c:v>
                </c:pt>
                <c:pt idx="74">
                  <c:v>1.0034745305E-2</c:v>
                </c:pt>
                <c:pt idx="75">
                  <c:v>1.0313052259E-2</c:v>
                </c:pt>
                <c:pt idx="76">
                  <c:v>9.6664810969999994E-3</c:v>
                </c:pt>
                <c:pt idx="77">
                  <c:v>9.7541685879999999E-3</c:v>
                </c:pt>
                <c:pt idx="78">
                  <c:v>1.0674429888000001E-2</c:v>
                </c:pt>
                <c:pt idx="79">
                  <c:v>1.0895805838000001E-2</c:v>
                </c:pt>
                <c:pt idx="80">
                  <c:v>1.1536214953E-2</c:v>
                </c:pt>
                <c:pt idx="81">
                  <c:v>1.1909139191E-2</c:v>
                </c:pt>
                <c:pt idx="82">
                  <c:v>1.2450503339E-2</c:v>
                </c:pt>
                <c:pt idx="83">
                  <c:v>1.2336853284999999E-2</c:v>
                </c:pt>
                <c:pt idx="84">
                  <c:v>1.2880923022E-2</c:v>
                </c:pt>
                <c:pt idx="85">
                  <c:v>1.3359089532999999E-2</c:v>
                </c:pt>
                <c:pt idx="86">
                  <c:v>1.3422326536E-2</c:v>
                </c:pt>
                <c:pt idx="87">
                  <c:v>1.4563767524E-2</c:v>
                </c:pt>
                <c:pt idx="88">
                  <c:v>1.4685581695E-2</c:v>
                </c:pt>
                <c:pt idx="89">
                  <c:v>1.3959217188E-2</c:v>
                </c:pt>
                <c:pt idx="90">
                  <c:v>1.2899561901000001E-2</c:v>
                </c:pt>
                <c:pt idx="91">
                  <c:v>1.2559411592000001E-2</c:v>
                </c:pt>
                <c:pt idx="92">
                  <c:v>1.2294515817E-2</c:v>
                </c:pt>
                <c:pt idx="93">
                  <c:v>1.2255762255E-2</c:v>
                </c:pt>
                <c:pt idx="94">
                  <c:v>1.2658227847999999E-2</c:v>
                </c:pt>
                <c:pt idx="95">
                  <c:v>1.2893190459E-2</c:v>
                </c:pt>
                <c:pt idx="96">
                  <c:v>1.3034780924999999E-2</c:v>
                </c:pt>
                <c:pt idx="97">
                  <c:v>1.2958012265999999E-2</c:v>
                </c:pt>
                <c:pt idx="98">
                  <c:v>1.3182488932000001E-2</c:v>
                </c:pt>
                <c:pt idx="99">
                  <c:v>1.3282543888000001E-2</c:v>
                </c:pt>
                <c:pt idx="100">
                  <c:v>1.3111463627000001E-2</c:v>
                </c:pt>
                <c:pt idx="101">
                  <c:v>1.3820236053E-2</c:v>
                </c:pt>
                <c:pt idx="102">
                  <c:v>1.4476812262E-2</c:v>
                </c:pt>
                <c:pt idx="103">
                  <c:v>1.4285714285000001E-2</c:v>
                </c:pt>
                <c:pt idx="104">
                  <c:v>1.3524358707E-2</c:v>
                </c:pt>
                <c:pt idx="105">
                  <c:v>1.3245412844E-2</c:v>
                </c:pt>
                <c:pt idx="106">
                  <c:v>1.3013566159E-2</c:v>
                </c:pt>
                <c:pt idx="107">
                  <c:v>1.2281955583E-2</c:v>
                </c:pt>
                <c:pt idx="108">
                  <c:v>1.2102379589E-2</c:v>
                </c:pt>
                <c:pt idx="109">
                  <c:v>1.1873798483999999E-2</c:v>
                </c:pt>
                <c:pt idx="110">
                  <c:v>1.1917440032E-2</c:v>
                </c:pt>
                <c:pt idx="111">
                  <c:v>1.106754217E-2</c:v>
                </c:pt>
                <c:pt idx="112">
                  <c:v>1.0526778454E-2</c:v>
                </c:pt>
                <c:pt idx="113">
                  <c:v>1.0149892933000001E-2</c:v>
                </c:pt>
                <c:pt idx="114">
                  <c:v>9.4212380469999996E-3</c:v>
                </c:pt>
                <c:pt idx="115">
                  <c:v>9.4065087300000006E-3</c:v>
                </c:pt>
                <c:pt idx="116">
                  <c:v>9.6397454109999996E-3</c:v>
                </c:pt>
                <c:pt idx="117">
                  <c:v>9.2638453210000006E-3</c:v>
                </c:pt>
                <c:pt idx="118">
                  <c:v>8.2639142410000001E-3</c:v>
                </c:pt>
                <c:pt idx="119">
                  <c:v>7.7888880530000001E-3</c:v>
                </c:pt>
                <c:pt idx="120">
                  <c:v>7.9522227890000009E-3</c:v>
                </c:pt>
                <c:pt idx="121">
                  <c:v>8.4944092909999998E-3</c:v>
                </c:pt>
                <c:pt idx="122">
                  <c:v>9.3310198569999999E-3</c:v>
                </c:pt>
                <c:pt idx="123">
                  <c:v>1.0292072322000001E-2</c:v>
                </c:pt>
                <c:pt idx="124">
                  <c:v>1.0608154803E-2</c:v>
                </c:pt>
                <c:pt idx="125">
                  <c:v>1.004276078E-2</c:v>
                </c:pt>
                <c:pt idx="126">
                  <c:v>9.9215918640000005E-3</c:v>
                </c:pt>
                <c:pt idx="127">
                  <c:v>9.9389444919999997E-3</c:v>
                </c:pt>
                <c:pt idx="128">
                  <c:v>1.0238666854E-2</c:v>
                </c:pt>
                <c:pt idx="129">
                  <c:v>1.0283760683E-2</c:v>
                </c:pt>
                <c:pt idx="130">
                  <c:v>1.0267155578E-2</c:v>
                </c:pt>
                <c:pt idx="131">
                  <c:v>9.6558496210000008E-3</c:v>
                </c:pt>
                <c:pt idx="132">
                  <c:v>8.9997065310000006E-3</c:v>
                </c:pt>
                <c:pt idx="133">
                  <c:v>8.8416855999999995E-3</c:v>
                </c:pt>
                <c:pt idx="134">
                  <c:v>8.7333369899999999E-3</c:v>
                </c:pt>
                <c:pt idx="135">
                  <c:v>9.0064331659999997E-3</c:v>
                </c:pt>
                <c:pt idx="136">
                  <c:v>8.7343526879999998E-3</c:v>
                </c:pt>
                <c:pt idx="137">
                  <c:v>8.4915661629999997E-3</c:v>
                </c:pt>
                <c:pt idx="138">
                  <c:v>8.3534038590000002E-3</c:v>
                </c:pt>
                <c:pt idx="139">
                  <c:v>8.1769631980000007E-3</c:v>
                </c:pt>
                <c:pt idx="140">
                  <c:v>8.2769837459999995E-3</c:v>
                </c:pt>
                <c:pt idx="141">
                  <c:v>8.9039299670000006E-3</c:v>
                </c:pt>
                <c:pt idx="142">
                  <c:v>9.4364949389999994E-3</c:v>
                </c:pt>
                <c:pt idx="143">
                  <c:v>9.8002431300000005E-3</c:v>
                </c:pt>
                <c:pt idx="144">
                  <c:v>1.0111805327E-2</c:v>
                </c:pt>
                <c:pt idx="145">
                  <c:v>1.0111081683E-2</c:v>
                </c:pt>
                <c:pt idx="146">
                  <c:v>1.0060081039E-2</c:v>
                </c:pt>
                <c:pt idx="147">
                  <c:v>1.0464852974000001E-2</c:v>
                </c:pt>
                <c:pt idx="148">
                  <c:v>1.0454631007E-2</c:v>
                </c:pt>
                <c:pt idx="149">
                  <c:v>1.0219350449999999E-2</c:v>
                </c:pt>
                <c:pt idx="150">
                  <c:v>1.0388353128999999E-2</c:v>
                </c:pt>
                <c:pt idx="151">
                  <c:v>1.0655238169999999E-2</c:v>
                </c:pt>
                <c:pt idx="152">
                  <c:v>1.0614788247E-2</c:v>
                </c:pt>
                <c:pt idx="153">
                  <c:v>1.031364045E-2</c:v>
                </c:pt>
                <c:pt idx="154">
                  <c:v>1.0176195613E-2</c:v>
                </c:pt>
                <c:pt idx="155">
                  <c:v>1.0233179324000001E-2</c:v>
                </c:pt>
                <c:pt idx="156">
                  <c:v>1.0551352898000001E-2</c:v>
                </c:pt>
                <c:pt idx="157">
                  <c:v>1.0893626936E-2</c:v>
                </c:pt>
                <c:pt idx="158">
                  <c:v>1.1277441104E-2</c:v>
                </c:pt>
                <c:pt idx="159">
                  <c:v>1.1083068143999999E-2</c:v>
                </c:pt>
                <c:pt idx="160">
                  <c:v>1.0764414113E-2</c:v>
                </c:pt>
                <c:pt idx="161">
                  <c:v>1.0779884526E-2</c:v>
                </c:pt>
                <c:pt idx="162">
                  <c:v>1.122687422E-2</c:v>
                </c:pt>
                <c:pt idx="163">
                  <c:v>1.1437113258E-2</c:v>
                </c:pt>
                <c:pt idx="164">
                  <c:v>1.1604133281E-2</c:v>
                </c:pt>
                <c:pt idx="165">
                  <c:v>1.1806016892000001E-2</c:v>
                </c:pt>
                <c:pt idx="166">
                  <c:v>1.1501994715E-2</c:v>
                </c:pt>
                <c:pt idx="167">
                  <c:v>1.1303049690000001E-2</c:v>
                </c:pt>
                <c:pt idx="168">
                  <c:v>1.1457722146E-2</c:v>
                </c:pt>
                <c:pt idx="169">
                  <c:v>1.1727114009000001E-2</c:v>
                </c:pt>
                <c:pt idx="170">
                  <c:v>1.137732348E-2</c:v>
                </c:pt>
                <c:pt idx="171">
                  <c:v>1.1251078515E-2</c:v>
                </c:pt>
                <c:pt idx="172">
                  <c:v>1.1819317978E-2</c:v>
                </c:pt>
                <c:pt idx="173">
                  <c:v>1.1638144939999999E-2</c:v>
                </c:pt>
                <c:pt idx="174">
                  <c:v>1.1383732852999999E-2</c:v>
                </c:pt>
                <c:pt idx="175">
                  <c:v>1.1244719837999999E-2</c:v>
                </c:pt>
                <c:pt idx="176">
                  <c:v>1.1013467244E-2</c:v>
                </c:pt>
                <c:pt idx="177">
                  <c:v>1.0655205294999999E-2</c:v>
                </c:pt>
                <c:pt idx="178">
                  <c:v>1.1067013755000001E-2</c:v>
                </c:pt>
                <c:pt idx="179">
                  <c:v>1.1469679022000001E-2</c:v>
                </c:pt>
                <c:pt idx="180">
                  <c:v>1.0915683097999999E-2</c:v>
                </c:pt>
                <c:pt idx="181">
                  <c:v>1.0327286461E-2</c:v>
                </c:pt>
                <c:pt idx="182">
                  <c:v>1.0357870235E-2</c:v>
                </c:pt>
                <c:pt idx="183">
                  <c:v>1.0516209699000001E-2</c:v>
                </c:pt>
                <c:pt idx="184">
                  <c:v>1.0294482632E-2</c:v>
                </c:pt>
                <c:pt idx="185">
                  <c:v>1.0466158672999999E-2</c:v>
                </c:pt>
                <c:pt idx="186">
                  <c:v>1.0613491999E-2</c:v>
                </c:pt>
                <c:pt idx="187">
                  <c:v>1.0583287007E-2</c:v>
                </c:pt>
                <c:pt idx="188">
                  <c:v>1.0266695792E-2</c:v>
                </c:pt>
                <c:pt idx="189">
                  <c:v>1.0368490975E-2</c:v>
                </c:pt>
                <c:pt idx="190">
                  <c:v>1.0102810958000001E-2</c:v>
                </c:pt>
                <c:pt idx="191">
                  <c:v>9.8957182179999995E-3</c:v>
                </c:pt>
                <c:pt idx="192">
                  <c:v>1.01425497E-2</c:v>
                </c:pt>
                <c:pt idx="193">
                  <c:v>1.0479058551E-2</c:v>
                </c:pt>
                <c:pt idx="194">
                  <c:v>1.0481612939999999E-2</c:v>
                </c:pt>
                <c:pt idx="195">
                  <c:v>9.7680097679999998E-3</c:v>
                </c:pt>
                <c:pt idx="196">
                  <c:v>9.7363041270000002E-3</c:v>
                </c:pt>
                <c:pt idx="197">
                  <c:v>1.0058260373E-2</c:v>
                </c:pt>
                <c:pt idx="198">
                  <c:v>1.0689103768000001E-2</c:v>
                </c:pt>
                <c:pt idx="199">
                  <c:v>1.1006307372E-2</c:v>
                </c:pt>
                <c:pt idx="200">
                  <c:v>1.1359720376E-2</c:v>
                </c:pt>
                <c:pt idx="201">
                  <c:v>1.119402985E-2</c:v>
                </c:pt>
                <c:pt idx="202">
                  <c:v>1.0320007887E-2</c:v>
                </c:pt>
                <c:pt idx="203">
                  <c:v>1.0857701577999999E-2</c:v>
                </c:pt>
                <c:pt idx="204">
                  <c:v>1.1024951832E-2</c:v>
                </c:pt>
                <c:pt idx="205">
                  <c:v>1.0889182281E-2</c:v>
                </c:pt>
                <c:pt idx="206">
                  <c:v>1.0661155893000001E-2</c:v>
                </c:pt>
                <c:pt idx="207">
                  <c:v>1.0596161997E-2</c:v>
                </c:pt>
                <c:pt idx="208">
                  <c:v>1.0718376696999999E-2</c:v>
                </c:pt>
                <c:pt idx="209">
                  <c:v>1.0383440787000001E-2</c:v>
                </c:pt>
                <c:pt idx="210">
                  <c:v>1.102463385E-2</c:v>
                </c:pt>
                <c:pt idx="211">
                  <c:v>1.1169799596E-2</c:v>
                </c:pt>
                <c:pt idx="212">
                  <c:v>1.1480401895000001E-2</c:v>
                </c:pt>
                <c:pt idx="213">
                  <c:v>1.1680353645000001E-2</c:v>
                </c:pt>
                <c:pt idx="214">
                  <c:v>1.1907743887E-2</c:v>
                </c:pt>
                <c:pt idx="215">
                  <c:v>1.1991851917E-2</c:v>
                </c:pt>
                <c:pt idx="216">
                  <c:v>1.1205910810000001E-2</c:v>
                </c:pt>
                <c:pt idx="217">
                  <c:v>1.1330271774999999E-2</c:v>
                </c:pt>
                <c:pt idx="218">
                  <c:v>1.1361162241999999E-2</c:v>
                </c:pt>
                <c:pt idx="219">
                  <c:v>1.1566545329E-2</c:v>
                </c:pt>
                <c:pt idx="220">
                  <c:v>1.2360183077E-2</c:v>
                </c:pt>
                <c:pt idx="221">
                  <c:v>1.2935477221E-2</c:v>
                </c:pt>
                <c:pt idx="222">
                  <c:v>1.3067989919E-2</c:v>
                </c:pt>
                <c:pt idx="223">
                  <c:v>1.3193677805E-2</c:v>
                </c:pt>
                <c:pt idx="224">
                  <c:v>1.3668963577000001E-2</c:v>
                </c:pt>
                <c:pt idx="225">
                  <c:v>1.3998093876E-2</c:v>
                </c:pt>
                <c:pt idx="226">
                  <c:v>1.4523402269999999E-2</c:v>
                </c:pt>
                <c:pt idx="227">
                  <c:v>1.5069121404E-2</c:v>
                </c:pt>
                <c:pt idx="228">
                  <c:v>1.4785541511E-2</c:v>
                </c:pt>
                <c:pt idx="229">
                  <c:v>1.4762741652E-2</c:v>
                </c:pt>
                <c:pt idx="230">
                  <c:v>1.3849939907E-2</c:v>
                </c:pt>
                <c:pt idx="231">
                  <c:v>1.3697801698999999E-2</c:v>
                </c:pt>
                <c:pt idx="232">
                  <c:v>1.4511558028999999E-2</c:v>
                </c:pt>
                <c:pt idx="233">
                  <c:v>1.5137597823999999E-2</c:v>
                </c:pt>
                <c:pt idx="234">
                  <c:v>1.6008359456000001E-2</c:v>
                </c:pt>
                <c:pt idx="235">
                  <c:v>1.579064094E-2</c:v>
                </c:pt>
                <c:pt idx="236">
                  <c:v>1.5056612864E-2</c:v>
                </c:pt>
                <c:pt idx="237">
                  <c:v>1.3963782696E-2</c:v>
                </c:pt>
                <c:pt idx="238">
                  <c:v>1.4300171602000001E-2</c:v>
                </c:pt>
                <c:pt idx="239">
                  <c:v>1.4835012478000001E-2</c:v>
                </c:pt>
                <c:pt idx="240">
                  <c:v>1.4686948643E-2</c:v>
                </c:pt>
                <c:pt idx="241">
                  <c:v>1.5059292685E-2</c:v>
                </c:pt>
                <c:pt idx="242">
                  <c:v>1.4989643519E-2</c:v>
                </c:pt>
                <c:pt idx="243">
                  <c:v>1.4822183536000001E-2</c:v>
                </c:pt>
                <c:pt idx="244">
                  <c:v>1.4344979257E-2</c:v>
                </c:pt>
                <c:pt idx="245">
                  <c:v>1.5253692999E-2</c:v>
                </c:pt>
                <c:pt idx="246">
                  <c:v>1.5590200445000001E-2</c:v>
                </c:pt>
                <c:pt idx="247">
                  <c:v>1.4852899171E-2</c:v>
                </c:pt>
                <c:pt idx="248">
                  <c:v>1.4749813293E-2</c:v>
                </c:pt>
                <c:pt idx="249">
                  <c:v>1.4868670989E-2</c:v>
                </c:pt>
                <c:pt idx="250">
                  <c:v>1.416396591E-2</c:v>
                </c:pt>
                <c:pt idx="251">
                  <c:v>1.3406126781E-2</c:v>
                </c:pt>
                <c:pt idx="252">
                  <c:v>1.3430367184E-2</c:v>
                </c:pt>
                <c:pt idx="253">
                  <c:v>1.2535211266999999E-2</c:v>
                </c:pt>
                <c:pt idx="254">
                  <c:v>1.1831275719999999E-2</c:v>
                </c:pt>
                <c:pt idx="255">
                  <c:v>1.1759868421E-2</c:v>
                </c:pt>
                <c:pt idx="256">
                  <c:v>1.2838550826E-2</c:v>
                </c:pt>
                <c:pt idx="257">
                  <c:v>1.2731668009E-2</c:v>
                </c:pt>
                <c:pt idx="258">
                  <c:v>1.1529075149E-2</c:v>
                </c:pt>
                <c:pt idx="259">
                  <c:v>1.1925836206E-2</c:v>
                </c:pt>
                <c:pt idx="260">
                  <c:v>1.2792542641E-2</c:v>
                </c:pt>
                <c:pt idx="261">
                  <c:v>1.2656903765E-2</c:v>
                </c:pt>
                <c:pt idx="262">
                  <c:v>1.3388138577999999E-2</c:v>
                </c:pt>
                <c:pt idx="263">
                  <c:v>1.3802536682000001E-2</c:v>
                </c:pt>
                <c:pt idx="264">
                  <c:v>1.2505684402000001E-2</c:v>
                </c:pt>
                <c:pt idx="265">
                  <c:v>1.1831519166999999E-2</c:v>
                </c:pt>
                <c:pt idx="266">
                  <c:v>1.3271400132E-2</c:v>
                </c:pt>
                <c:pt idx="267">
                  <c:v>1.2517985610999999E-2</c:v>
                </c:pt>
                <c:pt idx="268">
                  <c:v>1.2042539881E-2</c:v>
                </c:pt>
                <c:pt idx="269">
                  <c:v>1.3920704845E-2</c:v>
                </c:pt>
                <c:pt idx="270">
                  <c:v>1.440485216E-2</c:v>
                </c:pt>
                <c:pt idx="271">
                  <c:v>1.2934801608E-2</c:v>
                </c:pt>
                <c:pt idx="272">
                  <c:v>1.2769201448000001E-2</c:v>
                </c:pt>
                <c:pt idx="273">
                  <c:v>1.2652705061E-2</c:v>
                </c:pt>
                <c:pt idx="274">
                  <c:v>1.1361001623E-2</c:v>
                </c:pt>
                <c:pt idx="275">
                  <c:v>1.1750305997000001E-2</c:v>
                </c:pt>
                <c:pt idx="276">
                  <c:v>1.1839207048000001E-2</c:v>
                </c:pt>
                <c:pt idx="277">
                  <c:v>1.0853622763E-2</c:v>
                </c:pt>
                <c:pt idx="278">
                  <c:v>9.9248927029999996E-3</c:v>
                </c:pt>
                <c:pt idx="279">
                  <c:v>1.0550327914999999E-2</c:v>
                </c:pt>
                <c:pt idx="280">
                  <c:v>1.0009383796999999E-2</c:v>
                </c:pt>
                <c:pt idx="281">
                  <c:v>1.0376134889000001E-2</c:v>
                </c:pt>
                <c:pt idx="282">
                  <c:v>1.0693342531000001E-2</c:v>
                </c:pt>
                <c:pt idx="283">
                  <c:v>1.0789980732E-2</c:v>
                </c:pt>
                <c:pt idx="284">
                  <c:v>1.0922330096999999E-2</c:v>
                </c:pt>
                <c:pt idx="285">
                  <c:v>1.0161836657E-2</c:v>
                </c:pt>
                <c:pt idx="286">
                  <c:v>8.3135391919999992E-3</c:v>
                </c:pt>
                <c:pt idx="287">
                  <c:v>8.2608695650000005E-3</c:v>
                </c:pt>
                <c:pt idx="288">
                  <c:v>9.3632958800000006E-3</c:v>
                </c:pt>
                <c:pt idx="289">
                  <c:v>8.4790673019999995E-3</c:v>
                </c:pt>
                <c:pt idx="290">
                  <c:v>8.5417937759999993E-3</c:v>
                </c:pt>
                <c:pt idx="291">
                  <c:v>7.1989528790000002E-3</c:v>
                </c:pt>
                <c:pt idx="292">
                  <c:v>7.4719800740000002E-3</c:v>
                </c:pt>
                <c:pt idx="293">
                  <c:v>6.587615283E-3</c:v>
                </c:pt>
                <c:pt idx="294">
                  <c:v>1.1093502377000001E-2</c:v>
                </c:pt>
                <c:pt idx="295">
                  <c:v>1.0291595197E-2</c:v>
                </c:pt>
                <c:pt idx="296">
                  <c:v>1.1607142857E-2</c:v>
                </c:pt>
                <c:pt idx="297">
                  <c:v>1.1964107676000001E-2</c:v>
                </c:pt>
                <c:pt idx="298">
                  <c:v>1.3211382113000001E-2</c:v>
                </c:pt>
                <c:pt idx="299">
                  <c:v>1.2241054612999999E-2</c:v>
                </c:pt>
                <c:pt idx="300">
                  <c:v>1.0020040080000001E-2</c:v>
                </c:pt>
                <c:pt idx="301">
                  <c:v>1.0033444815999999E-2</c:v>
                </c:pt>
                <c:pt idx="302">
                  <c:v>6.9364161840000001E-3</c:v>
                </c:pt>
                <c:pt idx="303">
                  <c:v>7.1599045340000004E-3</c:v>
                </c:pt>
                <c:pt idx="304">
                  <c:v>3.9421813399999998E-3</c:v>
                </c:pt>
                <c:pt idx="305">
                  <c:v>2.6455026450000001E-3</c:v>
                </c:pt>
                <c:pt idx="306">
                  <c:v>3.5294117640000001E-3</c:v>
                </c:pt>
                <c:pt idx="307">
                  <c:v>3.3783783779999998E-3</c:v>
                </c:pt>
                <c:pt idx="308">
                  <c:v>5.4764512589999996E-3</c:v>
                </c:pt>
                <c:pt idx="309">
                  <c:v>7.2090628210000002E-3</c:v>
                </c:pt>
                <c:pt idx="310">
                  <c:v>7.6923076919999996E-3</c:v>
                </c:pt>
                <c:pt idx="311">
                  <c:v>7.7369439069999999E-3</c:v>
                </c:pt>
                <c:pt idx="312">
                  <c:v>7.4418604650000001E-3</c:v>
                </c:pt>
                <c:pt idx="313">
                  <c:v>6.9747166519999997E-3</c:v>
                </c:pt>
                <c:pt idx="314">
                  <c:v>5.4298642529999998E-3</c:v>
                </c:pt>
                <c:pt idx="315">
                  <c:v>6.5146579799999996E-3</c:v>
                </c:pt>
                <c:pt idx="316">
                  <c:v>4.4742729300000002E-3</c:v>
                </c:pt>
                <c:pt idx="317">
                  <c:v>2.7416038380000001E-3</c:v>
                </c:pt>
                <c:pt idx="318">
                  <c:v>3.4506556240000001E-3</c:v>
                </c:pt>
                <c:pt idx="319">
                  <c:v>3.3990482659999998E-3</c:v>
                </c:pt>
                <c:pt idx="320">
                  <c:v>3.7359900370000001E-3</c:v>
                </c:pt>
                <c:pt idx="321">
                  <c:v>4.4493882089999999E-3</c:v>
                </c:pt>
                <c:pt idx="322">
                  <c:v>5.6410256409999996E-3</c:v>
                </c:pt>
                <c:pt idx="323">
                  <c:v>5.8016877629999998E-3</c:v>
                </c:pt>
                <c:pt idx="324">
                  <c:v>5.8262711860000002E-3</c:v>
                </c:pt>
                <c:pt idx="325">
                  <c:v>6.1111111109999998E-3</c:v>
                </c:pt>
                <c:pt idx="326">
                  <c:v>5.6850483220000003E-3</c:v>
                </c:pt>
                <c:pt idx="327">
                  <c:v>6.5537957399999999E-3</c:v>
                </c:pt>
                <c:pt idx="328">
                  <c:v>5.8293587700000002E-3</c:v>
                </c:pt>
                <c:pt idx="329">
                  <c:v>6.6740823129999996E-3</c:v>
                </c:pt>
                <c:pt idx="330">
                  <c:v>5.747126436E-3</c:v>
                </c:pt>
                <c:pt idx="331">
                  <c:v>5.2878965919999996E-3</c:v>
                </c:pt>
                <c:pt idx="332">
                  <c:v>5.6782334380000004E-3</c:v>
                </c:pt>
                <c:pt idx="333">
                  <c:v>6.1266167460000001E-3</c:v>
                </c:pt>
                <c:pt idx="334">
                  <c:v>5.1579626039999996E-3</c:v>
                </c:pt>
                <c:pt idx="335">
                  <c:v>5.6710775039999998E-3</c:v>
                </c:pt>
                <c:pt idx="336">
                  <c:v>6.0606060600000003E-3</c:v>
                </c:pt>
                <c:pt idx="337">
                  <c:v>4.7978067159999997E-3</c:v>
                </c:pt>
                <c:pt idx="338">
                  <c:v>6.4562410319999996E-3</c:v>
                </c:pt>
                <c:pt idx="339">
                  <c:v>6.8130204389999999E-3</c:v>
                </c:pt>
                <c:pt idx="340">
                  <c:v>7.8616352199999996E-3</c:v>
                </c:pt>
                <c:pt idx="341">
                  <c:v>8.1845238089999998E-3</c:v>
                </c:pt>
                <c:pt idx="342">
                  <c:v>9.3930635830000008E-3</c:v>
                </c:pt>
                <c:pt idx="343">
                  <c:v>8.9753178749999996E-3</c:v>
                </c:pt>
                <c:pt idx="344">
                  <c:v>9.9769762079999994E-3</c:v>
                </c:pt>
                <c:pt idx="345">
                  <c:v>1.0997643362000001E-2</c:v>
                </c:pt>
                <c:pt idx="346">
                  <c:v>9.3167701860000004E-3</c:v>
                </c:pt>
                <c:pt idx="347">
                  <c:v>9.3823299450000001E-3</c:v>
                </c:pt>
                <c:pt idx="348">
                  <c:v>8.7336244539999996E-3</c:v>
                </c:pt>
                <c:pt idx="349">
                  <c:v>8.1026333549999996E-3</c:v>
                </c:pt>
                <c:pt idx="350">
                  <c:v>8.2079343360000005E-3</c:v>
                </c:pt>
                <c:pt idx="351">
                  <c:v>6.9300069299999996E-3</c:v>
                </c:pt>
                <c:pt idx="352">
                  <c:v>7.9946702189999993E-3</c:v>
                </c:pt>
                <c:pt idx="353">
                  <c:v>6.8212824010000003E-3</c:v>
                </c:pt>
                <c:pt idx="354">
                  <c:v>7.9193664499999997E-3</c:v>
                </c:pt>
                <c:pt idx="355">
                  <c:v>1.0013351134000001E-2</c:v>
                </c:pt>
                <c:pt idx="356">
                  <c:v>9.8400984000000004E-3</c:v>
                </c:pt>
                <c:pt idx="357">
                  <c:v>9.5298602280000002E-3</c:v>
                </c:pt>
                <c:pt idx="358">
                  <c:v>8.5470085469999992E-3</c:v>
                </c:pt>
                <c:pt idx="359">
                  <c:v>1.1318242343000001E-2</c:v>
                </c:pt>
                <c:pt idx="360">
                  <c:v>1.1307420493999999E-2</c:v>
                </c:pt>
                <c:pt idx="361">
                  <c:v>1.1594202898E-2</c:v>
                </c:pt>
                <c:pt idx="362">
                  <c:v>1.0554089709E-2</c:v>
                </c:pt>
                <c:pt idx="363">
                  <c:v>7.7419354830000004E-3</c:v>
                </c:pt>
                <c:pt idx="364">
                  <c:v>7.348029392E-3</c:v>
                </c:pt>
                <c:pt idx="365">
                  <c:v>7.9893475360000004E-3</c:v>
                </c:pt>
                <c:pt idx="366">
                  <c:v>7.8999341669999997E-3</c:v>
                </c:pt>
                <c:pt idx="367">
                  <c:v>5.4017555699999997E-3</c:v>
                </c:pt>
                <c:pt idx="368">
                  <c:v>4.2046250870000001E-3</c:v>
                </c:pt>
                <c:pt idx="369">
                  <c:v>4.4843049320000003E-3</c:v>
                </c:pt>
                <c:pt idx="370">
                  <c:v>3.0506406339999999E-3</c:v>
                </c:pt>
                <c:pt idx="371">
                  <c:v>3.6341611139999999E-3</c:v>
                </c:pt>
                <c:pt idx="372">
                  <c:v>2.9239766080000002E-3</c:v>
                </c:pt>
                <c:pt idx="373">
                  <c:v>5.5370985600000002E-3</c:v>
                </c:pt>
                <c:pt idx="374">
                  <c:v>5.4644808739999998E-3</c:v>
                </c:pt>
                <c:pt idx="375">
                  <c:v>5.9847660499999997E-3</c:v>
                </c:pt>
                <c:pt idx="376">
                  <c:v>6.9767441860000001E-3</c:v>
                </c:pt>
                <c:pt idx="377">
                  <c:v>7.2231139640000002E-3</c:v>
                </c:pt>
                <c:pt idx="378">
                  <c:v>8.1300812999999996E-3</c:v>
                </c:pt>
                <c:pt idx="379">
                  <c:v>7.2966070770000002E-3</c:v>
                </c:pt>
                <c:pt idx="380">
                  <c:v>8.6835706840000006E-3</c:v>
                </c:pt>
                <c:pt idx="381">
                  <c:v>7.4468085099999998E-3</c:v>
                </c:pt>
                <c:pt idx="382">
                  <c:v>7.639141506E-3</c:v>
                </c:pt>
                <c:pt idx="383">
                  <c:v>9.3488072210000002E-3</c:v>
                </c:pt>
                <c:pt idx="384">
                  <c:v>1.0716472749E-2</c:v>
                </c:pt>
                <c:pt idx="385">
                  <c:v>1.0605115408E-2</c:v>
                </c:pt>
                <c:pt idx="386">
                  <c:v>1.0041346721000001E-2</c:v>
                </c:pt>
                <c:pt idx="387">
                  <c:v>1.0263929618E-2</c:v>
                </c:pt>
                <c:pt idx="388">
                  <c:v>9.4859241119999993E-3</c:v>
                </c:pt>
                <c:pt idx="389">
                  <c:v>9.98128509E-3</c:v>
                </c:pt>
                <c:pt idx="390">
                  <c:v>1.0137989298E-2</c:v>
                </c:pt>
                <c:pt idx="391">
                  <c:v>7.3911853269999998E-3</c:v>
                </c:pt>
                <c:pt idx="392">
                  <c:v>4.9737496540000004E-3</c:v>
                </c:pt>
                <c:pt idx="393">
                  <c:v>5.0279329600000002E-3</c:v>
                </c:pt>
                <c:pt idx="394">
                  <c:v>5.0861825369999999E-3</c:v>
                </c:pt>
                <c:pt idx="395">
                  <c:v>5.126744517E-3</c:v>
                </c:pt>
                <c:pt idx="396">
                  <c:v>6.0711188199999997E-3</c:v>
                </c:pt>
                <c:pt idx="397">
                  <c:v>5.8272105390000002E-3</c:v>
                </c:pt>
                <c:pt idx="398">
                  <c:v>5.3299492380000004E-3</c:v>
                </c:pt>
                <c:pt idx="399">
                  <c:v>6.3772381650000001E-3</c:v>
                </c:pt>
                <c:pt idx="400">
                  <c:v>7.372654155E-3</c:v>
                </c:pt>
                <c:pt idx="401">
                  <c:v>8.2987551859999998E-3</c:v>
                </c:pt>
                <c:pt idx="402">
                  <c:v>7.6272933410000002E-3</c:v>
                </c:pt>
                <c:pt idx="403">
                  <c:v>8.2053439930000003E-3</c:v>
                </c:pt>
                <c:pt idx="404">
                  <c:v>8.0903104420000007E-3</c:v>
                </c:pt>
                <c:pt idx="405">
                  <c:v>9.3798853559999996E-3</c:v>
                </c:pt>
                <c:pt idx="406">
                  <c:v>1.0582846311E-2</c:v>
                </c:pt>
                <c:pt idx="407">
                  <c:v>1.0773899848E-2</c:v>
                </c:pt>
                <c:pt idx="408">
                  <c:v>1.0469638049E-2</c:v>
                </c:pt>
                <c:pt idx="409">
                  <c:v>9.6551724130000006E-3</c:v>
                </c:pt>
                <c:pt idx="410">
                  <c:v>1.1412268188000001E-2</c:v>
                </c:pt>
                <c:pt idx="411">
                  <c:v>1.1724608043E-2</c:v>
                </c:pt>
                <c:pt idx="412">
                  <c:v>1.1581569115000001E-2</c:v>
                </c:pt>
                <c:pt idx="413">
                  <c:v>1.0461245839000001E-2</c:v>
                </c:pt>
                <c:pt idx="414">
                  <c:v>9.9955076370000003E-3</c:v>
                </c:pt>
                <c:pt idx="415">
                  <c:v>9.4913855350000007E-3</c:v>
                </c:pt>
                <c:pt idx="416">
                  <c:v>9.4579477269999997E-3</c:v>
                </c:pt>
                <c:pt idx="417">
                  <c:v>1.0038144949999999E-2</c:v>
                </c:pt>
                <c:pt idx="418">
                  <c:v>9.2897073330000003E-3</c:v>
                </c:pt>
                <c:pt idx="419">
                  <c:v>8.1739995729999994E-3</c:v>
                </c:pt>
                <c:pt idx="420">
                  <c:v>7.1338383829999998E-3</c:v>
                </c:pt>
                <c:pt idx="421">
                  <c:v>6.7838078289999999E-3</c:v>
                </c:pt>
                <c:pt idx="422">
                  <c:v>6.1406053570000002E-3</c:v>
                </c:pt>
                <c:pt idx="423">
                  <c:v>6.002678117E-3</c:v>
                </c:pt>
                <c:pt idx="424">
                  <c:v>6.3121138860000002E-3</c:v>
                </c:pt>
                <c:pt idx="425">
                  <c:v>6.8140462270000002E-3</c:v>
                </c:pt>
                <c:pt idx="426">
                  <c:v>6.0171726039999996E-3</c:v>
                </c:pt>
                <c:pt idx="427">
                  <c:v>5.900987638E-3</c:v>
                </c:pt>
                <c:pt idx="428">
                  <c:v>6.1904618800000004E-3</c:v>
                </c:pt>
                <c:pt idx="429">
                  <c:v>6.0751624749999997E-3</c:v>
                </c:pt>
                <c:pt idx="430">
                  <c:v>6.241369787E-3</c:v>
                </c:pt>
                <c:pt idx="431">
                  <c:v>6.5386525400000003E-3</c:v>
                </c:pt>
                <c:pt idx="432">
                  <c:v>6.4965970199999997E-3</c:v>
                </c:pt>
                <c:pt idx="433">
                  <c:v>6.0409019400000001E-3</c:v>
                </c:pt>
                <c:pt idx="434">
                  <c:v>6.094324414E-3</c:v>
                </c:pt>
                <c:pt idx="435">
                  <c:v>5.9258982310000001E-3</c:v>
                </c:pt>
                <c:pt idx="436">
                  <c:v>5.874092341E-3</c:v>
                </c:pt>
                <c:pt idx="437">
                  <c:v>6.0124359780000004E-3</c:v>
                </c:pt>
                <c:pt idx="438">
                  <c:v>6.3196762050000002E-3</c:v>
                </c:pt>
                <c:pt idx="439">
                  <c:v>6.3506716749999999E-3</c:v>
                </c:pt>
                <c:pt idx="440">
                  <c:v>5.8169522600000001E-3</c:v>
                </c:pt>
                <c:pt idx="441">
                  <c:v>5.6794192550000001E-3</c:v>
                </c:pt>
                <c:pt idx="442">
                  <c:v>5.645844255E-3</c:v>
                </c:pt>
                <c:pt idx="443">
                  <c:v>5.5764864389999998E-3</c:v>
                </c:pt>
                <c:pt idx="444">
                  <c:v>5.469325574E-3</c:v>
                </c:pt>
                <c:pt idx="445">
                  <c:v>5.5100893350000001E-3</c:v>
                </c:pt>
                <c:pt idx="446">
                  <c:v>5.4861942059999998E-3</c:v>
                </c:pt>
                <c:pt idx="447">
                  <c:v>4.8707197070000001E-3</c:v>
                </c:pt>
                <c:pt idx="448">
                  <c:v>4.9391235760000004E-3</c:v>
                </c:pt>
                <c:pt idx="449">
                  <c:v>5.0108502659999997E-3</c:v>
                </c:pt>
                <c:pt idx="450">
                  <c:v>4.8376192940000002E-3</c:v>
                </c:pt>
                <c:pt idx="451">
                  <c:v>4.8398127200000004E-3</c:v>
                </c:pt>
                <c:pt idx="452">
                  <c:v>4.9756520039999997E-3</c:v>
                </c:pt>
                <c:pt idx="453">
                  <c:v>5.0668612510000001E-3</c:v>
                </c:pt>
                <c:pt idx="454">
                  <c:v>4.665561407E-3</c:v>
                </c:pt>
                <c:pt idx="455">
                  <c:v>4.8320905420000003E-3</c:v>
                </c:pt>
                <c:pt idx="456">
                  <c:v>4.8702079280000003E-3</c:v>
                </c:pt>
                <c:pt idx="457">
                  <c:v>4.6639771719999999E-3</c:v>
                </c:pt>
                <c:pt idx="458">
                  <c:v>4.7886312259999998E-3</c:v>
                </c:pt>
                <c:pt idx="459">
                  <c:v>4.8139436349999998E-3</c:v>
                </c:pt>
                <c:pt idx="460">
                  <c:v>4.718593995E-3</c:v>
                </c:pt>
                <c:pt idx="461">
                  <c:v>4.3971483580000003E-3</c:v>
                </c:pt>
                <c:pt idx="462">
                  <c:v>4.436926505E-3</c:v>
                </c:pt>
                <c:pt idx="463">
                  <c:v>4.4065235269999999E-3</c:v>
                </c:pt>
                <c:pt idx="464">
                  <c:v>4.1924808140000004E-3</c:v>
                </c:pt>
                <c:pt idx="465">
                  <c:v>4.3340697910000002E-3</c:v>
                </c:pt>
                <c:pt idx="466">
                  <c:v>4.4056068420000004E-3</c:v>
                </c:pt>
                <c:pt idx="467">
                  <c:v>4.5856383339999999E-3</c:v>
                </c:pt>
                <c:pt idx="468">
                  <c:v>4.4508135810000004E-3</c:v>
                </c:pt>
                <c:pt idx="469">
                  <c:v>4.5530983270000002E-3</c:v>
                </c:pt>
                <c:pt idx="470">
                  <c:v>4.5729149179999998E-3</c:v>
                </c:pt>
                <c:pt idx="471">
                  <c:v>4.6741795839999999E-3</c:v>
                </c:pt>
                <c:pt idx="472">
                  <c:v>4.8868362040000004E-3</c:v>
                </c:pt>
                <c:pt idx="473">
                  <c:v>4.9843597760000002E-3</c:v>
                </c:pt>
                <c:pt idx="474">
                  <c:v>4.8605384420000002E-3</c:v>
                </c:pt>
                <c:pt idx="475">
                  <c:v>4.529359268E-3</c:v>
                </c:pt>
                <c:pt idx="476">
                  <c:v>4.7456852680000002E-3</c:v>
                </c:pt>
                <c:pt idx="477">
                  <c:v>5.022713828E-3</c:v>
                </c:pt>
                <c:pt idx="478">
                  <c:v>5.1844206380000004E-3</c:v>
                </c:pt>
                <c:pt idx="479">
                  <c:v>5.1748934199999999E-3</c:v>
                </c:pt>
                <c:pt idx="480">
                  <c:v>5.294141976E-3</c:v>
                </c:pt>
                <c:pt idx="481">
                  <c:v>5.3112054740000001E-3</c:v>
                </c:pt>
                <c:pt idx="482">
                  <c:v>5.2635683089999998E-3</c:v>
                </c:pt>
                <c:pt idx="483">
                  <c:v>5.6379909319999996E-3</c:v>
                </c:pt>
                <c:pt idx="484">
                  <c:v>5.5752740519999996E-3</c:v>
                </c:pt>
                <c:pt idx="485">
                  <c:v>5.6383622060000001E-3</c:v>
                </c:pt>
                <c:pt idx="486">
                  <c:v>6.2876171169999997E-3</c:v>
                </c:pt>
                <c:pt idx="487">
                  <c:v>6.8275535720000004E-3</c:v>
                </c:pt>
                <c:pt idx="488">
                  <c:v>7.0321711299999997E-3</c:v>
                </c:pt>
                <c:pt idx="489">
                  <c:v>7.0661803019999997E-3</c:v>
                </c:pt>
                <c:pt idx="490">
                  <c:v>8.9148478320000002E-3</c:v>
                </c:pt>
                <c:pt idx="491">
                  <c:v>8.8225818439999996E-3</c:v>
                </c:pt>
                <c:pt idx="492">
                  <c:v>9.187353568E-3</c:v>
                </c:pt>
                <c:pt idx="493">
                  <c:v>9.4517958409999995E-3</c:v>
                </c:pt>
                <c:pt idx="494">
                  <c:v>9.1638937300000008E-3</c:v>
                </c:pt>
                <c:pt idx="495">
                  <c:v>7.9660116830000006E-3</c:v>
                </c:pt>
                <c:pt idx="496">
                  <c:v>6.9885379730000004E-3</c:v>
                </c:pt>
                <c:pt idx="497">
                  <c:v>6.4301125800000003E-3</c:v>
                </c:pt>
                <c:pt idx="498">
                  <c:v>4.9267333429999999E-3</c:v>
                </c:pt>
                <c:pt idx="499">
                  <c:v>4.8542682289999996E-3</c:v>
                </c:pt>
                <c:pt idx="500">
                  <c:v>4.7488816799999998E-3</c:v>
                </c:pt>
                <c:pt idx="501">
                  <c:v>4.3813852539999996E-3</c:v>
                </c:pt>
                <c:pt idx="502">
                  <c:v>3.833394764999999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.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do_7_dne_7dni_shift7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1.27859277361</c:v>
                </c:pt>
                <c:pt idx="1">
                  <c:v>-0.44158972304999999</c:v>
                </c:pt>
                <c:pt idx="2">
                  <c:v>0.85238095251000001</c:v>
                </c:pt>
                <c:pt idx="3">
                  <c:v>-5.906053453E-2</c:v>
                </c:pt>
                <c:pt idx="4">
                  <c:v>1.11063829792</c:v>
                </c:pt>
                <c:pt idx="5">
                  <c:v>0.84066543457999998</c:v>
                </c:pt>
                <c:pt idx="6">
                  <c:v>1.4177143506700001</c:v>
                </c:pt>
                <c:pt idx="7">
                  <c:v>0.17349048795999999</c:v>
                </c:pt>
                <c:pt idx="8">
                  <c:v>0.87874678868</c:v>
                </c:pt>
                <c:pt idx="9">
                  <c:v>0.43358649792999998</c:v>
                </c:pt>
                <c:pt idx="10">
                  <c:v>0.88888888885999995</c:v>
                </c:pt>
                <c:pt idx="11">
                  <c:v>0</c:v>
                </c:pt>
                <c:pt idx="12">
                  <c:v>0.95454545458999995</c:v>
                </c:pt>
                <c:pt idx="13">
                  <c:v>-0.30397619049000002</c:v>
                </c:pt>
                <c:pt idx="14">
                  <c:v>1.32914904423</c:v>
                </c:pt>
                <c:pt idx="15">
                  <c:v>-0.20594575624</c:v>
                </c:pt>
                <c:pt idx="16">
                  <c:v>2.3319174755900001</c:v>
                </c:pt>
                <c:pt idx="17">
                  <c:v>-0.18585090726</c:v>
                </c:pt>
                <c:pt idx="18">
                  <c:v>2.5367760283499998</c:v>
                </c:pt>
                <c:pt idx="19">
                  <c:v>5.5917301000000001E-3</c:v>
                </c:pt>
                <c:pt idx="20">
                  <c:v>0.95743798038000005</c:v>
                </c:pt>
                <c:pt idx="21">
                  <c:v>0.10867012427</c:v>
                </c:pt>
                <c:pt idx="22">
                  <c:v>0.38091244113</c:v>
                </c:pt>
                <c:pt idx="23">
                  <c:v>0.46069364185</c:v>
                </c:pt>
                <c:pt idx="24">
                  <c:v>0.28906736827000001</c:v>
                </c:pt>
                <c:pt idx="25">
                  <c:v>0.35558855300999997</c:v>
                </c:pt>
                <c:pt idx="26">
                  <c:v>0.11556550203</c:v>
                </c:pt>
                <c:pt idx="27">
                  <c:v>0.12461876377</c:v>
                </c:pt>
                <c:pt idx="28">
                  <c:v>0.42322144416000002</c:v>
                </c:pt>
                <c:pt idx="29">
                  <c:v>5.2617567570000003E-2</c:v>
                </c:pt>
                <c:pt idx="30">
                  <c:v>0.36044494058999998</c:v>
                </c:pt>
                <c:pt idx="31">
                  <c:v>-8.6788021150000005E-2</c:v>
                </c:pt>
                <c:pt idx="32">
                  <c:v>0.33059721130000003</c:v>
                </c:pt>
                <c:pt idx="33">
                  <c:v>5.3646775209999997E-2</c:v>
                </c:pt>
                <c:pt idx="34">
                  <c:v>0.51721590277999996</c:v>
                </c:pt>
                <c:pt idx="35">
                  <c:v>9.4532447650000004E-2</c:v>
                </c:pt>
                <c:pt idx="36">
                  <c:v>0.33139700667999999</c:v>
                </c:pt>
                <c:pt idx="37">
                  <c:v>0.20440805640000001</c:v>
                </c:pt>
                <c:pt idx="38">
                  <c:v>0.68215167369999996</c:v>
                </c:pt>
                <c:pt idx="39">
                  <c:v>0.12161004004000001</c:v>
                </c:pt>
                <c:pt idx="40">
                  <c:v>0.65207975896000003</c:v>
                </c:pt>
                <c:pt idx="41">
                  <c:v>-1.8992081760000001E-2</c:v>
                </c:pt>
                <c:pt idx="42">
                  <c:v>0.68077121617000003</c:v>
                </c:pt>
                <c:pt idx="43">
                  <c:v>4.4946831569999998E-2</c:v>
                </c:pt>
                <c:pt idx="44">
                  <c:v>0.71609058720999996</c:v>
                </c:pt>
                <c:pt idx="45">
                  <c:v>-3.6460774410000001E-2</c:v>
                </c:pt>
                <c:pt idx="46">
                  <c:v>0.56294855644999997</c:v>
                </c:pt>
                <c:pt idx="47">
                  <c:v>0.17362893024000001</c:v>
                </c:pt>
                <c:pt idx="48">
                  <c:v>0.66411965829999997</c:v>
                </c:pt>
                <c:pt idx="49">
                  <c:v>1.1336878829999999E-2</c:v>
                </c:pt>
                <c:pt idx="50">
                  <c:v>0.69575140823000003</c:v>
                </c:pt>
                <c:pt idx="51">
                  <c:v>1.4580644780000001E-2</c:v>
                </c:pt>
                <c:pt idx="52">
                  <c:v>0.65564036346999999</c:v>
                </c:pt>
                <c:pt idx="53">
                  <c:v>0.21076149398999999</c:v>
                </c:pt>
                <c:pt idx="54">
                  <c:v>0.6130488596</c:v>
                </c:pt>
                <c:pt idx="55">
                  <c:v>0.21813188199</c:v>
                </c:pt>
                <c:pt idx="56">
                  <c:v>0.73247346889999998</c:v>
                </c:pt>
                <c:pt idx="57">
                  <c:v>0.46199984049999998</c:v>
                </c:pt>
                <c:pt idx="58">
                  <c:v>-4.6598238340000001E-2</c:v>
                </c:pt>
                <c:pt idx="59">
                  <c:v>0.54353815482000001</c:v>
                </c:pt>
                <c:pt idx="60">
                  <c:v>0.10676475765</c:v>
                </c:pt>
                <c:pt idx="61">
                  <c:v>0.71772769236</c:v>
                </c:pt>
                <c:pt idx="62">
                  <c:v>-0.30657237324999997</c:v>
                </c:pt>
                <c:pt idx="63">
                  <c:v>0.20483081765</c:v>
                </c:pt>
                <c:pt idx="64">
                  <c:v>-0.21549377472</c:v>
                </c:pt>
                <c:pt idx="65">
                  <c:v>0.13075057199000001</c:v>
                </c:pt>
                <c:pt idx="66">
                  <c:v>-0.25093550417999999</c:v>
                </c:pt>
                <c:pt idx="67">
                  <c:v>0.1664966672</c:v>
                </c:pt>
                <c:pt idx="68">
                  <c:v>-0.19415256355999999</c:v>
                </c:pt>
                <c:pt idx="69">
                  <c:v>2.5029595830000001E-2</c:v>
                </c:pt>
                <c:pt idx="70">
                  <c:v>-0.21381886936</c:v>
                </c:pt>
                <c:pt idx="71">
                  <c:v>0.28610031339000003</c:v>
                </c:pt>
                <c:pt idx="72">
                  <c:v>-0.21161849309</c:v>
                </c:pt>
                <c:pt idx="73">
                  <c:v>0.41615623816000002</c:v>
                </c:pt>
                <c:pt idx="74">
                  <c:v>-0.10645835089</c:v>
                </c:pt>
                <c:pt idx="75">
                  <c:v>0.32694605738999999</c:v>
                </c:pt>
                <c:pt idx="76">
                  <c:v>-0.12644753893999999</c:v>
                </c:pt>
                <c:pt idx="77">
                  <c:v>0.34267608523999998</c:v>
                </c:pt>
                <c:pt idx="78">
                  <c:v>9.1722084329999995E-2</c:v>
                </c:pt>
                <c:pt idx="79">
                  <c:v>0.33116102902</c:v>
                </c:pt>
                <c:pt idx="80">
                  <c:v>2.1195361230000001E-2</c:v>
                </c:pt>
                <c:pt idx="81">
                  <c:v>0.32977897616000001</c:v>
                </c:pt>
                <c:pt idx="82">
                  <c:v>-2.987710713E-2</c:v>
                </c:pt>
                <c:pt idx="83">
                  <c:v>0.16413100059999999</c:v>
                </c:pt>
                <c:pt idx="84">
                  <c:v>-8.7000176169999999E-2</c:v>
                </c:pt>
                <c:pt idx="85">
                  <c:v>0.19978443758</c:v>
                </c:pt>
                <c:pt idx="86">
                  <c:v>-0.17971857262999999</c:v>
                </c:pt>
                <c:pt idx="87">
                  <c:v>5.2459762540000003E-2</c:v>
                </c:pt>
                <c:pt idx="88">
                  <c:v>-0.1185526391</c:v>
                </c:pt>
                <c:pt idx="89">
                  <c:v>-0.11021247856999999</c:v>
                </c:pt>
                <c:pt idx="90">
                  <c:v>-0.24950348858999999</c:v>
                </c:pt>
                <c:pt idx="91">
                  <c:v>-0.10416072</c:v>
                </c:pt>
                <c:pt idx="92">
                  <c:v>-0.31451801604000001</c:v>
                </c:pt>
                <c:pt idx="93">
                  <c:v>-3.34390518E-3</c:v>
                </c:pt>
                <c:pt idx="94">
                  <c:v>-0.28372954615000001</c:v>
                </c:pt>
                <c:pt idx="95">
                  <c:v>0.20796915372999999</c:v>
                </c:pt>
                <c:pt idx="96">
                  <c:v>-0.36679930883</c:v>
                </c:pt>
                <c:pt idx="97">
                  <c:v>0.10537478549</c:v>
                </c:pt>
                <c:pt idx="98">
                  <c:v>-0.24530250863</c:v>
                </c:pt>
                <c:pt idx="99">
                  <c:v>0.27674403576000001</c:v>
                </c:pt>
                <c:pt idx="100">
                  <c:v>-0.23396273757</c:v>
                </c:pt>
                <c:pt idx="101">
                  <c:v>0.10533683862</c:v>
                </c:pt>
                <c:pt idx="102">
                  <c:v>-0.26661785152</c:v>
                </c:pt>
                <c:pt idx="103">
                  <c:v>-4.8677248669999999E-2</c:v>
                </c:pt>
                <c:pt idx="104">
                  <c:v>-0.27503802179999998</c:v>
                </c:pt>
                <c:pt idx="105">
                  <c:v>6.4048165140000002E-2</c:v>
                </c:pt>
                <c:pt idx="106">
                  <c:v>-0.2454842787</c:v>
                </c:pt>
                <c:pt idx="107">
                  <c:v>9.0191039249999994E-2</c:v>
                </c:pt>
                <c:pt idx="108">
                  <c:v>-0.22854366386</c:v>
                </c:pt>
                <c:pt idx="109">
                  <c:v>0.34728033466000002</c:v>
                </c:pt>
                <c:pt idx="110">
                  <c:v>-0.17948425374999999</c:v>
                </c:pt>
                <c:pt idx="111">
                  <c:v>0.28242201405</c:v>
                </c:pt>
                <c:pt idx="112">
                  <c:v>2.3264788030000001E-2</c:v>
                </c:pt>
                <c:pt idx="113">
                  <c:v>0.24408687672000001</c:v>
                </c:pt>
                <c:pt idx="114">
                  <c:v>5.4874750430000001E-2</c:v>
                </c:pt>
                <c:pt idx="115">
                  <c:v>0.13083337682999999</c:v>
                </c:pt>
                <c:pt idx="116">
                  <c:v>5.4152804720000003E-2</c:v>
                </c:pt>
                <c:pt idx="117">
                  <c:v>-0.16419528878</c:v>
                </c:pt>
                <c:pt idx="118">
                  <c:v>0.14400119482000001</c:v>
                </c:pt>
                <c:pt idx="119">
                  <c:v>7.8692671840000006E-2</c:v>
                </c:pt>
                <c:pt idx="120">
                  <c:v>-3.2238584209999997E-2</c:v>
                </c:pt>
                <c:pt idx="121">
                  <c:v>0.30074574869999998</c:v>
                </c:pt>
                <c:pt idx="122">
                  <c:v>-0.16979142243000001</c:v>
                </c:pt>
                <c:pt idx="123">
                  <c:v>-1.3607788629999999E-2</c:v>
                </c:pt>
                <c:pt idx="124">
                  <c:v>-4.1376410949999998E-2</c:v>
                </c:pt>
                <c:pt idx="125">
                  <c:v>3.4404360340000002E-2</c:v>
                </c:pt>
                <c:pt idx="126">
                  <c:v>-0.1373054879</c:v>
                </c:pt>
                <c:pt idx="127">
                  <c:v>7.3406005159999996E-2</c:v>
                </c:pt>
                <c:pt idx="128">
                  <c:v>-3.2007182219999999E-2</c:v>
                </c:pt>
                <c:pt idx="129">
                  <c:v>0.19805811958</c:v>
                </c:pt>
                <c:pt idx="130">
                  <c:v>-2.3446830870000001E-2</c:v>
                </c:pt>
                <c:pt idx="131">
                  <c:v>0.13387262693999999</c:v>
                </c:pt>
                <c:pt idx="132">
                  <c:v>0.1082495758</c:v>
                </c:pt>
                <c:pt idx="133">
                  <c:v>0.22994162202000001</c:v>
                </c:pt>
                <c:pt idx="134">
                  <c:v>0.37792650286000001</c:v>
                </c:pt>
                <c:pt idx="135">
                  <c:v>-6.2176279750000001E-2</c:v>
                </c:pt>
                <c:pt idx="136">
                  <c:v>0.27603433802999999</c:v>
                </c:pt>
                <c:pt idx="137">
                  <c:v>-0.13459864838999999</c:v>
                </c:pt>
                <c:pt idx="138">
                  <c:v>0.40711647782999999</c:v>
                </c:pt>
                <c:pt idx="139">
                  <c:v>4.952427651E-2</c:v>
                </c:pt>
                <c:pt idx="140">
                  <c:v>0.30319682023</c:v>
                </c:pt>
                <c:pt idx="141">
                  <c:v>4.9550744920000001E-2</c:v>
                </c:pt>
                <c:pt idx="142">
                  <c:v>0.13352321036000001</c:v>
                </c:pt>
                <c:pt idx="143">
                  <c:v>0.37366741215999999</c:v>
                </c:pt>
                <c:pt idx="144">
                  <c:v>0.19513760654000001</c:v>
                </c:pt>
                <c:pt idx="145">
                  <c:v>0.52281682406999996</c:v>
                </c:pt>
                <c:pt idx="146">
                  <c:v>3.3229499689999997E-2</c:v>
                </c:pt>
                <c:pt idx="147">
                  <c:v>7.2796927799999994E-2</c:v>
                </c:pt>
                <c:pt idx="148">
                  <c:v>8.5887673950000007E-2</c:v>
                </c:pt>
                <c:pt idx="149">
                  <c:v>0.16135618335999999</c:v>
                </c:pt>
                <c:pt idx="150">
                  <c:v>0.12627061849999999</c:v>
                </c:pt>
                <c:pt idx="151">
                  <c:v>0.17122377964999999</c:v>
                </c:pt>
                <c:pt idx="152">
                  <c:v>3.380455534E-2</c:v>
                </c:pt>
                <c:pt idx="153">
                  <c:v>0.12456879575</c:v>
                </c:pt>
                <c:pt idx="154">
                  <c:v>0.21393533511000001</c:v>
                </c:pt>
                <c:pt idx="155">
                  <c:v>0.2143372798</c:v>
                </c:pt>
                <c:pt idx="156">
                  <c:v>-4.4932379600000003E-2</c:v>
                </c:pt>
                <c:pt idx="157">
                  <c:v>0.34086338516999998</c:v>
                </c:pt>
                <c:pt idx="158">
                  <c:v>-3.014006499E-2</c:v>
                </c:pt>
                <c:pt idx="159">
                  <c:v>0.14864918246</c:v>
                </c:pt>
                <c:pt idx="160">
                  <c:v>-0.13369867288000001</c:v>
                </c:pt>
                <c:pt idx="161">
                  <c:v>0.21149317636000001</c:v>
                </c:pt>
                <c:pt idx="162">
                  <c:v>-8.9962783739999996E-2</c:v>
                </c:pt>
                <c:pt idx="163">
                  <c:v>0.32807759155999999</c:v>
                </c:pt>
                <c:pt idx="164">
                  <c:v>3.3559052979999997E-2</c:v>
                </c:pt>
                <c:pt idx="165">
                  <c:v>4.6182499500000002E-3</c:v>
                </c:pt>
                <c:pt idx="166">
                  <c:v>7.1888018149999997E-2</c:v>
                </c:pt>
                <c:pt idx="167">
                  <c:v>0.12155422085000001</c:v>
                </c:pt>
                <c:pt idx="168">
                  <c:v>2.924934228E-2</c:v>
                </c:pt>
                <c:pt idx="169">
                  <c:v>-3.4276792999999998E-4</c:v>
                </c:pt>
                <c:pt idx="170">
                  <c:v>4.4567095389999999E-2</c:v>
                </c:pt>
                <c:pt idx="171">
                  <c:v>0.10840170466</c:v>
                </c:pt>
                <c:pt idx="172">
                  <c:v>-2.479476379E-2</c:v>
                </c:pt>
                <c:pt idx="173">
                  <c:v>0.34823432922999997</c:v>
                </c:pt>
                <c:pt idx="174">
                  <c:v>-6.6868721660000005E-2</c:v>
                </c:pt>
                <c:pt idx="175">
                  <c:v>0.19637004106</c:v>
                </c:pt>
                <c:pt idx="176">
                  <c:v>-5.5748148570000003E-2</c:v>
                </c:pt>
                <c:pt idx="177">
                  <c:v>0.21146455359999999</c:v>
                </c:pt>
                <c:pt idx="178">
                  <c:v>-7.4558363239999995E-2</c:v>
                </c:pt>
                <c:pt idx="179">
                  <c:v>0.10712585933</c:v>
                </c:pt>
                <c:pt idx="180">
                  <c:v>-9.5167840320000002E-2</c:v>
                </c:pt>
                <c:pt idx="181">
                  <c:v>-4.0939330650000001E-2</c:v>
                </c:pt>
                <c:pt idx="182">
                  <c:v>-2.0389190290000001E-2</c:v>
                </c:pt>
                <c:pt idx="183">
                  <c:v>3.8643519719999998E-2</c:v>
                </c:pt>
                <c:pt idx="184">
                  <c:v>-1.489720037E-2</c:v>
                </c:pt>
                <c:pt idx="185">
                  <c:v>-6.245252305E-2</c:v>
                </c:pt>
                <c:pt idx="186">
                  <c:v>-5.4301264580000001E-2</c:v>
                </c:pt>
                <c:pt idx="187">
                  <c:v>-0.13019731017</c:v>
                </c:pt>
                <c:pt idx="188">
                  <c:v>-9.1646614020000003E-2</c:v>
                </c:pt>
                <c:pt idx="189">
                  <c:v>-0.14947878439000001</c:v>
                </c:pt>
                <c:pt idx="190">
                  <c:v>-7.9032052089999999E-2</c:v>
                </c:pt>
                <c:pt idx="191">
                  <c:v>-0.28976300887000001</c:v>
                </c:pt>
                <c:pt idx="192">
                  <c:v>-0.11103534981</c:v>
                </c:pt>
                <c:pt idx="193">
                  <c:v>-0.22410056469</c:v>
                </c:pt>
                <c:pt idx="194">
                  <c:v>-0.14911369478</c:v>
                </c:pt>
                <c:pt idx="195">
                  <c:v>-0.26913877594000002</c:v>
                </c:pt>
                <c:pt idx="196">
                  <c:v>-6.227220873E-2</c:v>
                </c:pt>
                <c:pt idx="197">
                  <c:v>-0.24856413126999999</c:v>
                </c:pt>
                <c:pt idx="198">
                  <c:v>-0.16025930945</c:v>
                </c:pt>
                <c:pt idx="199">
                  <c:v>-8.8169766169999997E-2</c:v>
                </c:pt>
                <c:pt idx="200">
                  <c:v>-0.10063898018</c:v>
                </c:pt>
                <c:pt idx="201">
                  <c:v>-0.10802238811000001</c:v>
                </c:pt>
                <c:pt idx="202">
                  <c:v>-5.181441044E-2</c:v>
                </c:pt>
                <c:pt idx="203">
                  <c:v>-5.5735952890000003E-2</c:v>
                </c:pt>
                <c:pt idx="204">
                  <c:v>-6.4030954870000004E-2</c:v>
                </c:pt>
                <c:pt idx="205">
                  <c:v>4.0023664610000002E-2</c:v>
                </c:pt>
                <c:pt idx="206">
                  <c:v>7.3995574189999996E-2</c:v>
                </c:pt>
                <c:pt idx="207">
                  <c:v>-0.12209670597</c:v>
                </c:pt>
                <c:pt idx="208">
                  <c:v>-0.20136443194</c:v>
                </c:pt>
                <c:pt idx="209">
                  <c:v>5.4209738000000002E-3</c:v>
                </c:pt>
                <c:pt idx="210">
                  <c:v>0.1125209457</c:v>
                </c:pt>
                <c:pt idx="211">
                  <c:v>0.12591579934</c:v>
                </c:pt>
                <c:pt idx="212">
                  <c:v>0.18128552004000001</c:v>
                </c:pt>
                <c:pt idx="213">
                  <c:v>7.940209275E-2</c:v>
                </c:pt>
                <c:pt idx="214">
                  <c:v>0.12292794098</c:v>
                </c:pt>
                <c:pt idx="215">
                  <c:v>0.33059590229000002</c:v>
                </c:pt>
                <c:pt idx="216">
                  <c:v>5.2129969710000001E-2</c:v>
                </c:pt>
                <c:pt idx="217">
                  <c:v>0.43005460998</c:v>
                </c:pt>
                <c:pt idx="218">
                  <c:v>2.0910052710000002E-2</c:v>
                </c:pt>
                <c:pt idx="219">
                  <c:v>0.36704600408999999</c:v>
                </c:pt>
                <c:pt idx="220">
                  <c:v>1.9018989E-3</c:v>
                </c:pt>
                <c:pt idx="221">
                  <c:v>0.50642068428999998</c:v>
                </c:pt>
                <c:pt idx="222">
                  <c:v>0.10380954854</c:v>
                </c:pt>
                <c:pt idx="223">
                  <c:v>-0.15071807310999999</c:v>
                </c:pt>
                <c:pt idx="224">
                  <c:v>8.7658958920000002E-2</c:v>
                </c:pt>
                <c:pt idx="225">
                  <c:v>-0.20936691993000001</c:v>
                </c:pt>
                <c:pt idx="226">
                  <c:v>-6.6871404110000005E-2</c:v>
                </c:pt>
                <c:pt idx="227">
                  <c:v>-9.3231998940000005E-2</c:v>
                </c:pt>
                <c:pt idx="228">
                  <c:v>-0.10301048163</c:v>
                </c:pt>
                <c:pt idx="229">
                  <c:v>-1.9443159679999999E-2</c:v>
                </c:pt>
                <c:pt idx="230">
                  <c:v>-6.5129056219999995E-2</c:v>
                </c:pt>
                <c:pt idx="231">
                  <c:v>-2.4194698000000001E-2</c:v>
                </c:pt>
                <c:pt idx="232">
                  <c:v>-0.13302743051999999</c:v>
                </c:pt>
                <c:pt idx="233">
                  <c:v>1.169612125E-2</c:v>
                </c:pt>
                <c:pt idx="234">
                  <c:v>0.14491786831</c:v>
                </c:pt>
                <c:pt idx="235">
                  <c:v>-0.18631756096999999</c:v>
                </c:pt>
                <c:pt idx="236">
                  <c:v>4.3506919349999999E-2</c:v>
                </c:pt>
                <c:pt idx="237">
                  <c:v>-0.21474257308</c:v>
                </c:pt>
                <c:pt idx="238">
                  <c:v>0.14960944754</c:v>
                </c:pt>
                <c:pt idx="239">
                  <c:v>1.2709127E-4</c:v>
                </c:pt>
                <c:pt idx="240">
                  <c:v>0.17495589144000001</c:v>
                </c:pt>
                <c:pt idx="241">
                  <c:v>0.25828756660000002</c:v>
                </c:pt>
                <c:pt idx="242">
                  <c:v>-0.15946961894</c:v>
                </c:pt>
                <c:pt idx="243">
                  <c:v>0.65514382828999995</c:v>
                </c:pt>
                <c:pt idx="244">
                  <c:v>-0.22088831410000001</c:v>
                </c:pt>
                <c:pt idx="245">
                  <c:v>0.54062299290000004</c:v>
                </c:pt>
                <c:pt idx="246">
                  <c:v>-0.17423904974000001</c:v>
                </c:pt>
                <c:pt idx="247">
                  <c:v>1.824875431E-2</c:v>
                </c:pt>
                <c:pt idx="248">
                  <c:v>-0.27904700477</c:v>
                </c:pt>
                <c:pt idx="249">
                  <c:v>7.9040694630000005E-2</c:v>
                </c:pt>
                <c:pt idx="250">
                  <c:v>-0.39385489475000002</c:v>
                </c:pt>
                <c:pt idx="251">
                  <c:v>-0.28216284778</c:v>
                </c:pt>
                <c:pt idx="252">
                  <c:v>7.2849331569999995E-2</c:v>
                </c:pt>
                <c:pt idx="253">
                  <c:v>-0.36321126763</c:v>
                </c:pt>
                <c:pt idx="254">
                  <c:v>9.3937955059999995E-2</c:v>
                </c:pt>
                <c:pt idx="255">
                  <c:v>-0.37280701754000001</c:v>
                </c:pt>
                <c:pt idx="256">
                  <c:v>-0.34584526741999999</c:v>
                </c:pt>
                <c:pt idx="257">
                  <c:v>-0.35068493153000002</c:v>
                </c:pt>
                <c:pt idx="258">
                  <c:v>-0.19603915959000001</c:v>
                </c:pt>
                <c:pt idx="259">
                  <c:v>-0.43948569830000001</c:v>
                </c:pt>
                <c:pt idx="260">
                  <c:v>-0.20594860316999999</c:v>
                </c:pt>
                <c:pt idx="261">
                  <c:v>-0.48950488145999999</c:v>
                </c:pt>
                <c:pt idx="262">
                  <c:v>-0.20786846743000001</c:v>
                </c:pt>
                <c:pt idx="263">
                  <c:v>0</c:v>
                </c:pt>
                <c:pt idx="264">
                  <c:v>-0.16211914504</c:v>
                </c:pt>
                <c:pt idx="265">
                  <c:v>-0.39997295651999998</c:v>
                </c:pt>
                <c:pt idx="266">
                  <c:v>-0.17982747181</c:v>
                </c:pt>
                <c:pt idx="267">
                  <c:v>-0.27395683454000003</c:v>
                </c:pt>
                <c:pt idx="268">
                  <c:v>-0.2503518924</c:v>
                </c:pt>
                <c:pt idx="269">
                  <c:v>6.1453744460000001E-2</c:v>
                </c:pt>
                <c:pt idx="270">
                  <c:v>9.7649734589999995E-2</c:v>
                </c:pt>
                <c:pt idx="271">
                  <c:v>0.22880615281</c:v>
                </c:pt>
                <c:pt idx="272">
                  <c:v>-0.19979670923000001</c:v>
                </c:pt>
                <c:pt idx="273">
                  <c:v>0.12187318213999999</c:v>
                </c:pt>
                <c:pt idx="274">
                  <c:v>0.20047917155</c:v>
                </c:pt>
                <c:pt idx="275">
                  <c:v>0</c:v>
                </c:pt>
                <c:pt idx="276">
                  <c:v>0.12472466961000001</c:v>
                </c:pt>
                <c:pt idx="277">
                  <c:v>0.93194485183999998</c:v>
                </c:pt>
                <c:pt idx="278">
                  <c:v>-0.44137032497000001</c:v>
                </c:pt>
                <c:pt idx="279">
                  <c:v>1.04676361561</c:v>
                </c:pt>
                <c:pt idx="280">
                  <c:v>-0.39443228024999999</c:v>
                </c:pt>
                <c:pt idx="281">
                  <c:v>0</c:v>
                </c:pt>
                <c:pt idx="282">
                  <c:v>-0.57654363576000001</c:v>
                </c:pt>
                <c:pt idx="283">
                  <c:v>0</c:v>
                </c:pt>
                <c:pt idx="284">
                  <c:v>-0.33100728153999998</c:v>
                </c:pt>
                <c:pt idx="285">
                  <c:v>-6.9627399389999997E-2</c:v>
                </c:pt>
                <c:pt idx="286">
                  <c:v>-0.35154394299000002</c:v>
                </c:pt>
                <c:pt idx="287">
                  <c:v>0</c:v>
                </c:pt>
                <c:pt idx="288">
                  <c:v>-0.60049937578000001</c:v>
                </c:pt>
                <c:pt idx="289">
                  <c:v>-0.25384207737999998</c:v>
                </c:pt>
                <c:pt idx="290">
                  <c:v>-0.70673174701999997</c:v>
                </c:pt>
                <c:pt idx="291">
                  <c:v>-0.45287958115999999</c:v>
                </c:pt>
                <c:pt idx="292">
                  <c:v>-0.17061021177999999</c:v>
                </c:pt>
                <c:pt idx="293">
                  <c:v>0</c:v>
                </c:pt>
                <c:pt idx="294">
                  <c:v>6.4976228260000005E-2</c:v>
                </c:pt>
                <c:pt idx="295">
                  <c:v>0</c:v>
                </c:pt>
                <c:pt idx="296">
                  <c:v>-0.61116071427999996</c:v>
                </c:pt>
                <c:pt idx="297">
                  <c:v>0</c:v>
                </c:pt>
                <c:pt idx="298">
                  <c:v>-0.22052845531000001</c:v>
                </c:pt>
                <c:pt idx="299">
                  <c:v>0</c:v>
                </c:pt>
                <c:pt idx="300">
                  <c:v>-0.54408817634999995</c:v>
                </c:pt>
                <c:pt idx="301">
                  <c:v>0</c:v>
                </c:pt>
                <c:pt idx="302">
                  <c:v>-0.60462427750000003</c:v>
                </c:pt>
                <c:pt idx="303">
                  <c:v>0</c:v>
                </c:pt>
                <c:pt idx="304">
                  <c:v>-0.69250985545999999</c:v>
                </c:pt>
                <c:pt idx="305">
                  <c:v>-0.66402116408</c:v>
                </c:pt>
                <c:pt idx="306">
                  <c:v>0</c:v>
                </c:pt>
                <c:pt idx="307">
                  <c:v>-0.55067567568999998</c:v>
                </c:pt>
                <c:pt idx="308">
                  <c:v>0</c:v>
                </c:pt>
                <c:pt idx="309">
                  <c:v>8.1359423249999993E-2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-0.56152125282999998</c:v>
                </c:pt>
                <c:pt idx="317">
                  <c:v>0</c:v>
                </c:pt>
                <c:pt idx="318">
                  <c:v>-0.82056590754000003</c:v>
                </c:pt>
                <c:pt idx="319">
                  <c:v>0</c:v>
                </c:pt>
                <c:pt idx="320">
                  <c:v>0</c:v>
                </c:pt>
                <c:pt idx="321">
                  <c:v>0.31256952182999997</c:v>
                </c:pt>
                <c:pt idx="322">
                  <c:v>-0.76683760683000002</c:v>
                </c:pt>
                <c:pt idx="323">
                  <c:v>0.98997890273</c:v>
                </c:pt>
                <c:pt idx="324">
                  <c:v>-0.66207627120000001</c:v>
                </c:pt>
                <c:pt idx="325">
                  <c:v>6.0277777900000003E-2</c:v>
                </c:pt>
                <c:pt idx="326">
                  <c:v>-0.71290505972999996</c:v>
                </c:pt>
                <c:pt idx="327">
                  <c:v>3.5499726920000002E-2</c:v>
                </c:pt>
                <c:pt idx="328">
                  <c:v>-0.68229994702999996</c:v>
                </c:pt>
                <c:pt idx="329">
                  <c:v>0.14460511669000001</c:v>
                </c:pt>
                <c:pt idx="330">
                  <c:v>0</c:v>
                </c:pt>
                <c:pt idx="331">
                  <c:v>-0.46768507638000001</c:v>
                </c:pt>
                <c:pt idx="332">
                  <c:v>-0.46624605680999998</c:v>
                </c:pt>
                <c:pt idx="333">
                  <c:v>-0.14840027225999999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.10349554492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-0.33309248558999999</c:v>
                </c:pt>
                <c:pt idx="343">
                  <c:v>0</c:v>
                </c:pt>
                <c:pt idx="344">
                  <c:v>-0.62586339218999998</c:v>
                </c:pt>
                <c:pt idx="345">
                  <c:v>0</c:v>
                </c:pt>
                <c:pt idx="346">
                  <c:v>-0.64596273291999995</c:v>
                </c:pt>
                <c:pt idx="347">
                  <c:v>0</c:v>
                </c:pt>
                <c:pt idx="348">
                  <c:v>-0.67248908295999998</c:v>
                </c:pt>
                <c:pt idx="349">
                  <c:v>0</c:v>
                </c:pt>
                <c:pt idx="350">
                  <c:v>-0.22845417238999999</c:v>
                </c:pt>
                <c:pt idx="351">
                  <c:v>0</c:v>
                </c:pt>
                <c:pt idx="352">
                  <c:v>-0.39240506331000002</c:v>
                </c:pt>
                <c:pt idx="353">
                  <c:v>-0.27694406548</c:v>
                </c:pt>
                <c:pt idx="354">
                  <c:v>0.16678665709000001</c:v>
                </c:pt>
                <c:pt idx="355">
                  <c:v>-0.42423230975999998</c:v>
                </c:pt>
                <c:pt idx="356">
                  <c:v>-1.730217303E-2</c:v>
                </c:pt>
                <c:pt idx="357">
                  <c:v>-0.57433290979999996</c:v>
                </c:pt>
                <c:pt idx="358">
                  <c:v>-0.25470085467999998</c:v>
                </c:pt>
                <c:pt idx="359">
                  <c:v>-0.51331557924000004</c:v>
                </c:pt>
                <c:pt idx="360">
                  <c:v>-0.14817432277000001</c:v>
                </c:pt>
                <c:pt idx="361">
                  <c:v>-0.55169082126000002</c:v>
                </c:pt>
                <c:pt idx="362">
                  <c:v>0.47053649961999999</c:v>
                </c:pt>
                <c:pt idx="363">
                  <c:v>-0.46580645166000001</c:v>
                </c:pt>
                <c:pt idx="364">
                  <c:v>9.7305722600000005E-2</c:v>
                </c:pt>
                <c:pt idx="365">
                  <c:v>-0.1131824235</c:v>
                </c:pt>
                <c:pt idx="366">
                  <c:v>0.23502304146</c:v>
                </c:pt>
                <c:pt idx="367">
                  <c:v>0</c:v>
                </c:pt>
                <c:pt idx="368">
                  <c:v>-8.9698668590000002E-2</c:v>
                </c:pt>
                <c:pt idx="369">
                  <c:v>-0.67713004486999995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-0.57508161043999995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.83468496583999996</c:v>
                </c:pt>
                <c:pt idx="386">
                  <c:v>0</c:v>
                </c:pt>
                <c:pt idx="387">
                  <c:v>0.91935483888000002</c:v>
                </c:pt>
                <c:pt idx="388">
                  <c:v>0.71695226441000004</c:v>
                </c:pt>
                <c:pt idx="389">
                  <c:v>-0.19151590768000001</c:v>
                </c:pt>
                <c:pt idx="390">
                  <c:v>0.59166431993000002</c:v>
                </c:pt>
                <c:pt idx="391">
                  <c:v>-0.2608814673</c:v>
                </c:pt>
                <c:pt idx="392">
                  <c:v>-0.18927880637</c:v>
                </c:pt>
                <c:pt idx="393">
                  <c:v>3.0726256899999999E-2</c:v>
                </c:pt>
                <c:pt idx="394">
                  <c:v>-0.27267589720000002</c:v>
                </c:pt>
                <c:pt idx="395">
                  <c:v>8.1743093289999999E-2</c:v>
                </c:pt>
                <c:pt idx="396">
                  <c:v>-0.11968777108</c:v>
                </c:pt>
                <c:pt idx="397">
                  <c:v>-0.21915378775</c:v>
                </c:pt>
                <c:pt idx="398">
                  <c:v>-9.9238578729999999E-2</c:v>
                </c:pt>
                <c:pt idx="399">
                  <c:v>-0.42604856514</c:v>
                </c:pt>
                <c:pt idx="400">
                  <c:v>0.35656836468999997</c:v>
                </c:pt>
                <c:pt idx="401">
                  <c:v>-0.25726141080999998</c:v>
                </c:pt>
                <c:pt idx="402">
                  <c:v>0.70851370848999995</c:v>
                </c:pt>
                <c:pt idx="403">
                  <c:v>-0.43054912688000002</c:v>
                </c:pt>
                <c:pt idx="404">
                  <c:v>0</c:v>
                </c:pt>
                <c:pt idx="405">
                  <c:v>-0.14830640967</c:v>
                </c:pt>
                <c:pt idx="406">
                  <c:v>0</c:v>
                </c:pt>
                <c:pt idx="407">
                  <c:v>0.5083459789</c:v>
                </c:pt>
                <c:pt idx="408">
                  <c:v>-0.42068002792999998</c:v>
                </c:pt>
                <c:pt idx="409">
                  <c:v>2.537931035E-2</c:v>
                </c:pt>
                <c:pt idx="410">
                  <c:v>-0.36281502616</c:v>
                </c:pt>
                <c:pt idx="411">
                  <c:v>3.1765507839999998E-2</c:v>
                </c:pt>
                <c:pt idx="412">
                  <c:v>-0.58885429640999998</c:v>
                </c:pt>
                <c:pt idx="413">
                  <c:v>3.4355682360000001E-2</c:v>
                </c:pt>
                <c:pt idx="414">
                  <c:v>-0.63016621743000001</c:v>
                </c:pt>
                <c:pt idx="415">
                  <c:v>-2.8714880179999999E-2</c:v>
                </c:pt>
                <c:pt idx="416">
                  <c:v>-0.14500152542</c:v>
                </c:pt>
                <c:pt idx="417">
                  <c:v>0.16066050993</c:v>
                </c:pt>
                <c:pt idx="418">
                  <c:v>-0.29862709632000001</c:v>
                </c:pt>
                <c:pt idx="419">
                  <c:v>-7.1136412149999995E-2</c:v>
                </c:pt>
                <c:pt idx="420">
                  <c:v>0.58371212120000004</c:v>
                </c:pt>
                <c:pt idx="421">
                  <c:v>-5.7050711720000001E-2</c:v>
                </c:pt>
                <c:pt idx="422">
                  <c:v>3.4077942159999999E-2</c:v>
                </c:pt>
                <c:pt idx="423">
                  <c:v>-0.10410029101</c:v>
                </c:pt>
                <c:pt idx="424">
                  <c:v>-0.12182715551999999</c:v>
                </c:pt>
                <c:pt idx="425">
                  <c:v>-8.2829377819999994E-2</c:v>
                </c:pt>
                <c:pt idx="426">
                  <c:v>-9.4081235639999997E-2</c:v>
                </c:pt>
                <c:pt idx="427">
                  <c:v>0.30706876187999999</c:v>
                </c:pt>
                <c:pt idx="428">
                  <c:v>-0.12428773862</c:v>
                </c:pt>
                <c:pt idx="429">
                  <c:v>0.33248563639000001</c:v>
                </c:pt>
                <c:pt idx="430">
                  <c:v>9.0159256260000001E-2</c:v>
                </c:pt>
                <c:pt idx="431">
                  <c:v>0.34151354634999997</c:v>
                </c:pt>
                <c:pt idx="432">
                  <c:v>0.26467088664999999</c:v>
                </c:pt>
                <c:pt idx="433">
                  <c:v>0.31314105944999998</c:v>
                </c:pt>
                <c:pt idx="434">
                  <c:v>8.0487869710000007E-2</c:v>
                </c:pt>
                <c:pt idx="435">
                  <c:v>0.52295584561999997</c:v>
                </c:pt>
                <c:pt idx="436">
                  <c:v>-0.10500193053</c:v>
                </c:pt>
                <c:pt idx="437">
                  <c:v>0.34235544323</c:v>
                </c:pt>
                <c:pt idx="438">
                  <c:v>-2.8286586629999999E-2</c:v>
                </c:pt>
                <c:pt idx="439">
                  <c:v>0.10648241121</c:v>
                </c:pt>
                <c:pt idx="440">
                  <c:v>-0.25698129790000002</c:v>
                </c:pt>
                <c:pt idx="441">
                  <c:v>-8.3306235770000001E-2</c:v>
                </c:pt>
                <c:pt idx="442">
                  <c:v>-0.31019364422000001</c:v>
                </c:pt>
                <c:pt idx="443">
                  <c:v>-0.20050794413</c:v>
                </c:pt>
                <c:pt idx="444">
                  <c:v>-0.18882088409</c:v>
                </c:pt>
                <c:pt idx="445">
                  <c:v>-0.26677811225999998</c:v>
                </c:pt>
                <c:pt idx="446">
                  <c:v>-0.19398663448</c:v>
                </c:pt>
                <c:pt idx="447">
                  <c:v>-0.31253270412</c:v>
                </c:pt>
                <c:pt idx="448">
                  <c:v>-9.2760985160000003E-2</c:v>
                </c:pt>
                <c:pt idx="449">
                  <c:v>-0.28762412048000002</c:v>
                </c:pt>
                <c:pt idx="450">
                  <c:v>0.10845983441</c:v>
                </c:pt>
                <c:pt idx="451">
                  <c:v>-0.31398468533000001</c:v>
                </c:pt>
                <c:pt idx="452">
                  <c:v>0.17688804188000001</c:v>
                </c:pt>
                <c:pt idx="453">
                  <c:v>-0.27389675280999998</c:v>
                </c:pt>
                <c:pt idx="454">
                  <c:v>0.15903855828999999</c:v>
                </c:pt>
                <c:pt idx="455">
                  <c:v>-0.21956597220999999</c:v>
                </c:pt>
                <c:pt idx="456">
                  <c:v>0.47296733136000002</c:v>
                </c:pt>
                <c:pt idx="457">
                  <c:v>-0.16876504803</c:v>
                </c:pt>
                <c:pt idx="458">
                  <c:v>0.40573802255000002</c:v>
                </c:pt>
                <c:pt idx="459">
                  <c:v>-0.10964433173</c:v>
                </c:pt>
                <c:pt idx="460">
                  <c:v>0.50180819084999995</c:v>
                </c:pt>
                <c:pt idx="461">
                  <c:v>-9.5750868619999999E-2</c:v>
                </c:pt>
                <c:pt idx="462">
                  <c:v>0.41656801779000002</c:v>
                </c:pt>
                <c:pt idx="463">
                  <c:v>-8.7849629829999998E-2</c:v>
                </c:pt>
                <c:pt idx="464">
                  <c:v>0.27105720971000002</c:v>
                </c:pt>
                <c:pt idx="465">
                  <c:v>-7.7276541439999999E-2</c:v>
                </c:pt>
                <c:pt idx="466">
                  <c:v>0.28031829972</c:v>
                </c:pt>
                <c:pt idx="467">
                  <c:v>-5.7171429779999998E-2</c:v>
                </c:pt>
                <c:pt idx="468">
                  <c:v>1.2914864749999999E-2</c:v>
                </c:pt>
                <c:pt idx="469">
                  <c:v>5.2963897439999998E-2</c:v>
                </c:pt>
                <c:pt idx="470">
                  <c:v>-1.951692734E-2</c:v>
                </c:pt>
                <c:pt idx="471">
                  <c:v>0.2259920711</c:v>
                </c:pt>
                <c:pt idx="472">
                  <c:v>-2.403856138E-2</c:v>
                </c:pt>
                <c:pt idx="473">
                  <c:v>0.56053803258000001</c:v>
                </c:pt>
                <c:pt idx="474">
                  <c:v>2.2672967450000001E-2</c:v>
                </c:pt>
                <c:pt idx="475">
                  <c:v>0.86847989208999998</c:v>
                </c:pt>
                <c:pt idx="476">
                  <c:v>8.7968456560000005E-2</c:v>
                </c:pt>
                <c:pt idx="477">
                  <c:v>0.68834937724</c:v>
                </c:pt>
                <c:pt idx="478">
                  <c:v>8.3362004059999995E-2</c:v>
                </c:pt>
                <c:pt idx="479">
                  <c:v>0.45864495862999999</c:v>
                </c:pt>
                <c:pt idx="480">
                  <c:v>6.3922758240000002E-2</c:v>
                </c:pt>
                <c:pt idx="481">
                  <c:v>0.30399929976000001</c:v>
                </c:pt>
                <c:pt idx="482">
                  <c:v>6.4137553900000003E-3</c:v>
                </c:pt>
                <c:pt idx="483">
                  <c:v>1.62051535E-2</c:v>
                </c:pt>
                <c:pt idx="484">
                  <c:v>0.36365485087999999</c:v>
                </c:pt>
                <c:pt idx="485">
                  <c:v>-6.81666727E-2</c:v>
                </c:pt>
                <c:pt idx="486">
                  <c:v>0.67007223719999998</c:v>
                </c:pt>
                <c:pt idx="487">
                  <c:v>-2.4418456259999999E-2</c:v>
                </c:pt>
                <c:pt idx="488">
                  <c:v>0.57051821913</c:v>
                </c:pt>
                <c:pt idx="489">
                  <c:v>-0.15377137715</c:v>
                </c:pt>
                <c:pt idx="490">
                  <c:v>0.73237178152000004</c:v>
                </c:pt>
                <c:pt idx="491">
                  <c:v>-9.1866286999999999E-4</c:v>
                </c:pt>
                <c:pt idx="492">
                  <c:v>0.32490184842999997</c:v>
                </c:pt>
                <c:pt idx="493">
                  <c:v>3.2696212349999997E-2</c:v>
                </c:pt>
                <c:pt idx="494">
                  <c:v>0.18026785847999999</c:v>
                </c:pt>
                <c:pt idx="495">
                  <c:v>9.4589012789999996E-2</c:v>
                </c:pt>
                <c:pt idx="496">
                  <c:v>6.9571358149999998E-2</c:v>
                </c:pt>
                <c:pt idx="497">
                  <c:v>8.8442693150000001E-2</c:v>
                </c:pt>
                <c:pt idx="498">
                  <c:v>-8.2259061080000001E-2</c:v>
                </c:pt>
                <c:pt idx="499">
                  <c:v>-5.5206109939999998E-2</c:v>
                </c:pt>
                <c:pt idx="500">
                  <c:v>9.4775523459999997E-2</c:v>
                </c:pt>
                <c:pt idx="501">
                  <c:v>-0.25874927647000001</c:v>
                </c:pt>
                <c:pt idx="502">
                  <c:v>0.18351896645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JIP_v_den_pozitivity_7dni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</c:formatCode>
                <c:ptCount val="504"/>
                <c:pt idx="0">
                  <c:v>7.4753899999999998E-2</c:v>
                </c:pt>
                <c:pt idx="1">
                  <c:v>8.4098099999999995E-2</c:v>
                </c:pt>
                <c:pt idx="2">
                  <c:v>0.10278660000000001</c:v>
                </c:pt>
                <c:pt idx="3">
                  <c:v>0.1308193</c:v>
                </c:pt>
                <c:pt idx="4">
                  <c:v>0.1401636</c:v>
                </c:pt>
                <c:pt idx="5">
                  <c:v>0.1588521</c:v>
                </c:pt>
                <c:pt idx="6">
                  <c:v>0.16819629999999999</c:v>
                </c:pt>
                <c:pt idx="7">
                  <c:v>0.1401636</c:v>
                </c:pt>
                <c:pt idx="8">
                  <c:v>0.1495078</c:v>
                </c:pt>
                <c:pt idx="9">
                  <c:v>0.17754059999999999</c:v>
                </c:pt>
                <c:pt idx="10">
                  <c:v>0.18688479999999999</c:v>
                </c:pt>
                <c:pt idx="11">
                  <c:v>0.16819629999999999</c:v>
                </c:pt>
                <c:pt idx="12">
                  <c:v>0.17754059999999999</c:v>
                </c:pt>
                <c:pt idx="13">
                  <c:v>0.16819629999999999</c:v>
                </c:pt>
                <c:pt idx="14">
                  <c:v>0.25229449999999998</c:v>
                </c:pt>
                <c:pt idx="15">
                  <c:v>0.24295030000000001</c:v>
                </c:pt>
                <c:pt idx="16">
                  <c:v>0.2803272</c:v>
                </c:pt>
                <c:pt idx="17">
                  <c:v>0.2803272</c:v>
                </c:pt>
                <c:pt idx="18">
                  <c:v>0.2990157</c:v>
                </c:pt>
                <c:pt idx="19">
                  <c:v>0.35508119999999999</c:v>
                </c:pt>
                <c:pt idx="20">
                  <c:v>0.41114659999999997</c:v>
                </c:pt>
                <c:pt idx="21">
                  <c:v>0.39245809999999998</c:v>
                </c:pt>
                <c:pt idx="22">
                  <c:v>0.49524479999999999</c:v>
                </c:pt>
                <c:pt idx="23">
                  <c:v>0.55131030000000003</c:v>
                </c:pt>
                <c:pt idx="24">
                  <c:v>0.59803150000000005</c:v>
                </c:pt>
                <c:pt idx="25">
                  <c:v>0.61672000000000005</c:v>
                </c:pt>
                <c:pt idx="26">
                  <c:v>0.59803150000000005</c:v>
                </c:pt>
                <c:pt idx="27">
                  <c:v>0.62606419999999996</c:v>
                </c:pt>
                <c:pt idx="28">
                  <c:v>0.66344119999999995</c:v>
                </c:pt>
                <c:pt idx="29">
                  <c:v>0.65409689999999998</c:v>
                </c:pt>
                <c:pt idx="30">
                  <c:v>0.63540839999999998</c:v>
                </c:pt>
                <c:pt idx="31">
                  <c:v>0.7195066</c:v>
                </c:pt>
                <c:pt idx="32">
                  <c:v>0.75688359999999999</c:v>
                </c:pt>
                <c:pt idx="33">
                  <c:v>0.78491630000000001</c:v>
                </c:pt>
                <c:pt idx="34">
                  <c:v>1.0372109</c:v>
                </c:pt>
                <c:pt idx="35">
                  <c:v>1.1399975</c:v>
                </c:pt>
                <c:pt idx="36">
                  <c:v>1.2895053999999999</c:v>
                </c:pt>
                <c:pt idx="37">
                  <c:v>1.3736036</c:v>
                </c:pt>
                <c:pt idx="38">
                  <c:v>1.5137672</c:v>
                </c:pt>
                <c:pt idx="39">
                  <c:v>1.6258982</c:v>
                </c:pt>
                <c:pt idx="40">
                  <c:v>1.7286847999999999</c:v>
                </c:pt>
                <c:pt idx="41">
                  <c:v>1.6352424000000001</c:v>
                </c:pt>
                <c:pt idx="42">
                  <c:v>1.6632750999999999</c:v>
                </c:pt>
                <c:pt idx="43">
                  <c:v>1.7099963</c:v>
                </c:pt>
                <c:pt idx="44">
                  <c:v>1.8221271999999999</c:v>
                </c:pt>
                <c:pt idx="45">
                  <c:v>1.9249139</c:v>
                </c:pt>
                <c:pt idx="46">
                  <c:v>1.8595041999999999</c:v>
                </c:pt>
                <c:pt idx="47">
                  <c:v>1.9716351000000001</c:v>
                </c:pt>
                <c:pt idx="48">
                  <c:v>2.2052412000000001</c:v>
                </c:pt>
                <c:pt idx="49">
                  <c:v>2.2893393999999998</c:v>
                </c:pt>
                <c:pt idx="50">
                  <c:v>2.4388472999999999</c:v>
                </c:pt>
                <c:pt idx="51">
                  <c:v>2.5696667</c:v>
                </c:pt>
                <c:pt idx="52">
                  <c:v>2.5322897000000002</c:v>
                </c:pt>
                <c:pt idx="53">
                  <c:v>2.8126169999999999</c:v>
                </c:pt>
                <c:pt idx="54">
                  <c:v>2.9154035999999999</c:v>
                </c:pt>
                <c:pt idx="55">
                  <c:v>3.0742557000000001</c:v>
                </c:pt>
                <c:pt idx="56">
                  <c:v>3.3545829999999999</c:v>
                </c:pt>
                <c:pt idx="57">
                  <c:v>3.2424520999999999</c:v>
                </c:pt>
                <c:pt idx="58">
                  <c:v>3.3265503000000001</c:v>
                </c:pt>
                <c:pt idx="59">
                  <c:v>3.4106485000000002</c:v>
                </c:pt>
                <c:pt idx="60">
                  <c:v>3.4199926999999999</c:v>
                </c:pt>
                <c:pt idx="61">
                  <c:v>3.3078618</c:v>
                </c:pt>
                <c:pt idx="62">
                  <c:v>3.4106485000000002</c:v>
                </c:pt>
                <c:pt idx="63">
                  <c:v>3.2424520999999999</c:v>
                </c:pt>
                <c:pt idx="64">
                  <c:v>3.3265503000000001</c:v>
                </c:pt>
                <c:pt idx="65">
                  <c:v>3.3265503000000001</c:v>
                </c:pt>
                <c:pt idx="66">
                  <c:v>3.4199926999999999</c:v>
                </c:pt>
                <c:pt idx="67">
                  <c:v>3.3358945000000002</c:v>
                </c:pt>
                <c:pt idx="68">
                  <c:v>3.2517963999999999</c:v>
                </c:pt>
                <c:pt idx="69">
                  <c:v>2.9060594000000002</c:v>
                </c:pt>
                <c:pt idx="70">
                  <c:v>2.8967151000000002</c:v>
                </c:pt>
                <c:pt idx="71">
                  <c:v>2.8686824</c:v>
                </c:pt>
                <c:pt idx="72">
                  <c:v>2.6350763000000001</c:v>
                </c:pt>
                <c:pt idx="73">
                  <c:v>2.3640933</c:v>
                </c:pt>
                <c:pt idx="74">
                  <c:v>2.2706509000000001</c:v>
                </c:pt>
                <c:pt idx="75">
                  <c:v>2.1958969000000002</c:v>
                </c:pt>
                <c:pt idx="76">
                  <c:v>2.2613066000000002</c:v>
                </c:pt>
                <c:pt idx="77">
                  <c:v>1.9996678999999999</c:v>
                </c:pt>
                <c:pt idx="78">
                  <c:v>1.8781927</c:v>
                </c:pt>
                <c:pt idx="79">
                  <c:v>1.9155697</c:v>
                </c:pt>
                <c:pt idx="80">
                  <c:v>1.8034387999999999</c:v>
                </c:pt>
                <c:pt idx="81">
                  <c:v>1.8314714999999999</c:v>
                </c:pt>
                <c:pt idx="82">
                  <c:v>1.8314714999999999</c:v>
                </c:pt>
                <c:pt idx="83">
                  <c:v>1.5604884999999999</c:v>
                </c:pt>
                <c:pt idx="84">
                  <c:v>1.6165539</c:v>
                </c:pt>
                <c:pt idx="85">
                  <c:v>1.5698327000000001</c:v>
                </c:pt>
                <c:pt idx="86">
                  <c:v>1.4670460000000001</c:v>
                </c:pt>
                <c:pt idx="87">
                  <c:v>1.4950787999999999</c:v>
                </c:pt>
                <c:pt idx="88">
                  <c:v>1.3736036</c:v>
                </c:pt>
                <c:pt idx="89">
                  <c:v>1.3362266</c:v>
                </c:pt>
                <c:pt idx="90">
                  <c:v>1.4016363000000001</c:v>
                </c:pt>
                <c:pt idx="91">
                  <c:v>1.3736036</c:v>
                </c:pt>
                <c:pt idx="92">
                  <c:v>1.3642593999999999</c:v>
                </c:pt>
                <c:pt idx="93">
                  <c:v>1.4203247999999999</c:v>
                </c:pt>
                <c:pt idx="94">
                  <c:v>1.4670460000000001</c:v>
                </c:pt>
                <c:pt idx="95">
                  <c:v>1.4483575</c:v>
                </c:pt>
                <c:pt idx="96">
                  <c:v>1.4857345</c:v>
                </c:pt>
                <c:pt idx="97">
                  <c:v>1.4577017999999999</c:v>
                </c:pt>
                <c:pt idx="98">
                  <c:v>1.5324557000000001</c:v>
                </c:pt>
                <c:pt idx="99">
                  <c:v>1.4950787999999999</c:v>
                </c:pt>
                <c:pt idx="100">
                  <c:v>1.4577017999999999</c:v>
                </c:pt>
                <c:pt idx="101">
                  <c:v>1.3455709</c:v>
                </c:pt>
                <c:pt idx="102">
                  <c:v>1.3922920999999999</c:v>
                </c:pt>
                <c:pt idx="103">
                  <c:v>1.4109806</c:v>
                </c:pt>
                <c:pt idx="104">
                  <c:v>1.5231115</c:v>
                </c:pt>
                <c:pt idx="105">
                  <c:v>1.4577017999999999</c:v>
                </c:pt>
                <c:pt idx="106">
                  <c:v>1.4483575</c:v>
                </c:pt>
                <c:pt idx="107">
                  <c:v>1.4203247999999999</c:v>
                </c:pt>
                <c:pt idx="108">
                  <c:v>1.4763903</c:v>
                </c:pt>
                <c:pt idx="109">
                  <c:v>1.4483575</c:v>
                </c:pt>
                <c:pt idx="110">
                  <c:v>1.4763903</c:v>
                </c:pt>
                <c:pt idx="111">
                  <c:v>1.4296690999999999</c:v>
                </c:pt>
                <c:pt idx="112">
                  <c:v>1.4109806</c:v>
                </c:pt>
                <c:pt idx="113">
                  <c:v>1.5885212</c:v>
                </c:pt>
                <c:pt idx="114">
                  <c:v>1.5137672</c:v>
                </c:pt>
                <c:pt idx="115">
                  <c:v>1.5418000000000001</c:v>
                </c:pt>
                <c:pt idx="116">
                  <c:v>1.5791769</c:v>
                </c:pt>
                <c:pt idx="117">
                  <c:v>1.7099963</c:v>
                </c:pt>
                <c:pt idx="118">
                  <c:v>1.9529466</c:v>
                </c:pt>
                <c:pt idx="119">
                  <c:v>2.2332738999999999</c:v>
                </c:pt>
                <c:pt idx="120">
                  <c:v>2.2799950999999998</c:v>
                </c:pt>
                <c:pt idx="121">
                  <c:v>2.4388472999999999</c:v>
                </c:pt>
                <c:pt idx="122">
                  <c:v>2.4014703000000002</c:v>
                </c:pt>
                <c:pt idx="123">
                  <c:v>2.4668800000000002</c:v>
                </c:pt>
                <c:pt idx="124">
                  <c:v>2.4855684999999998</c:v>
                </c:pt>
                <c:pt idx="125">
                  <c:v>2.3360606000000002</c:v>
                </c:pt>
                <c:pt idx="126">
                  <c:v>2.3640933</c:v>
                </c:pt>
                <c:pt idx="127">
                  <c:v>2.3454047999999998</c:v>
                </c:pt>
                <c:pt idx="128">
                  <c:v>2.3454047999999998</c:v>
                </c:pt>
                <c:pt idx="129">
                  <c:v>2.5229453999999998</c:v>
                </c:pt>
                <c:pt idx="130">
                  <c:v>2.6070435999999999</c:v>
                </c:pt>
                <c:pt idx="131">
                  <c:v>2.4949127</c:v>
                </c:pt>
                <c:pt idx="132">
                  <c:v>2.4481915000000001</c:v>
                </c:pt>
                <c:pt idx="133">
                  <c:v>2.2145853999999998</c:v>
                </c:pt>
                <c:pt idx="134">
                  <c:v>2.121143</c:v>
                </c:pt>
                <c:pt idx="135">
                  <c:v>2.2145853999999998</c:v>
                </c:pt>
                <c:pt idx="136">
                  <c:v>2.1865527</c:v>
                </c:pt>
                <c:pt idx="137">
                  <c:v>1.9996678999999999</c:v>
                </c:pt>
                <c:pt idx="138">
                  <c:v>1.9249139</c:v>
                </c:pt>
                <c:pt idx="139">
                  <c:v>1.9529466</c:v>
                </c:pt>
                <c:pt idx="140">
                  <c:v>2.0090121000000001</c:v>
                </c:pt>
                <c:pt idx="141">
                  <c:v>2.0277006000000002</c:v>
                </c:pt>
                <c:pt idx="142">
                  <c:v>1.7847503</c:v>
                </c:pt>
                <c:pt idx="143">
                  <c:v>1.7567174999999999</c:v>
                </c:pt>
                <c:pt idx="144">
                  <c:v>1.812783</c:v>
                </c:pt>
                <c:pt idx="145">
                  <c:v>1.7940944999999999</c:v>
                </c:pt>
                <c:pt idx="146">
                  <c:v>1.7660617999999999</c:v>
                </c:pt>
                <c:pt idx="147">
                  <c:v>1.8034387999999999</c:v>
                </c:pt>
                <c:pt idx="148">
                  <c:v>1.6726194000000001</c:v>
                </c:pt>
                <c:pt idx="149">
                  <c:v>1.7567174999999999</c:v>
                </c:pt>
                <c:pt idx="150">
                  <c:v>1.7473733</c:v>
                </c:pt>
                <c:pt idx="151">
                  <c:v>1.7660617999999999</c:v>
                </c:pt>
                <c:pt idx="152">
                  <c:v>1.8034387999999999</c:v>
                </c:pt>
                <c:pt idx="153">
                  <c:v>1.8688484999999999</c:v>
                </c:pt>
                <c:pt idx="154">
                  <c:v>1.7193406</c:v>
                </c:pt>
                <c:pt idx="155">
                  <c:v>1.7567174999999999</c:v>
                </c:pt>
                <c:pt idx="156">
                  <c:v>1.9436024000000001</c:v>
                </c:pt>
                <c:pt idx="157">
                  <c:v>1.9716351000000001</c:v>
                </c:pt>
                <c:pt idx="158">
                  <c:v>1.9622908999999999</c:v>
                </c:pt>
                <c:pt idx="159">
                  <c:v>1.9062254000000001</c:v>
                </c:pt>
                <c:pt idx="160">
                  <c:v>1.812783</c:v>
                </c:pt>
                <c:pt idx="161">
                  <c:v>2.0370447999999999</c:v>
                </c:pt>
                <c:pt idx="162">
                  <c:v>2.121143</c:v>
                </c:pt>
                <c:pt idx="163">
                  <c:v>1.9436024000000001</c:v>
                </c:pt>
                <c:pt idx="164">
                  <c:v>1.8781927</c:v>
                </c:pt>
                <c:pt idx="165">
                  <c:v>1.7473733</c:v>
                </c:pt>
                <c:pt idx="166">
                  <c:v>1.8595041999999999</c:v>
                </c:pt>
                <c:pt idx="167">
                  <c:v>1.8408157000000001</c:v>
                </c:pt>
                <c:pt idx="168">
                  <c:v>1.8314714999999999</c:v>
                </c:pt>
                <c:pt idx="169">
                  <c:v>1.9529466</c:v>
                </c:pt>
                <c:pt idx="170">
                  <c:v>2.0557333</c:v>
                </c:pt>
                <c:pt idx="171">
                  <c:v>2.0183563000000002</c:v>
                </c:pt>
                <c:pt idx="172">
                  <c:v>2.2706509000000001</c:v>
                </c:pt>
                <c:pt idx="173">
                  <c:v>2.3360606000000002</c:v>
                </c:pt>
                <c:pt idx="174">
                  <c:v>2.429503</c:v>
                </c:pt>
                <c:pt idx="175">
                  <c:v>2.4014703000000002</c:v>
                </c:pt>
                <c:pt idx="176">
                  <c:v>2.3734375999999999</c:v>
                </c:pt>
                <c:pt idx="177">
                  <c:v>2.4014703000000002</c:v>
                </c:pt>
                <c:pt idx="178">
                  <c:v>2.4762241999999999</c:v>
                </c:pt>
                <c:pt idx="179">
                  <c:v>2.3547490999999998</c:v>
                </c:pt>
                <c:pt idx="180">
                  <c:v>2.3827818000000001</c:v>
                </c:pt>
                <c:pt idx="181">
                  <c:v>2.4014703000000002</c:v>
                </c:pt>
                <c:pt idx="182">
                  <c:v>2.4108144999999999</c:v>
                </c:pt>
                <c:pt idx="183">
                  <c:v>2.3827818000000001</c:v>
                </c:pt>
                <c:pt idx="184">
                  <c:v>2.3454047999999998</c:v>
                </c:pt>
                <c:pt idx="185">
                  <c:v>2.5416338999999999</c:v>
                </c:pt>
                <c:pt idx="186">
                  <c:v>2.6163878999999999</c:v>
                </c:pt>
                <c:pt idx="187">
                  <c:v>2.4481915000000001</c:v>
                </c:pt>
                <c:pt idx="188">
                  <c:v>2.6257321</c:v>
                </c:pt>
                <c:pt idx="189">
                  <c:v>2.5136012000000001</c:v>
                </c:pt>
                <c:pt idx="190">
                  <c:v>2.4949127</c:v>
                </c:pt>
                <c:pt idx="191">
                  <c:v>2.5976994000000002</c:v>
                </c:pt>
                <c:pt idx="192">
                  <c:v>2.7098303000000001</c:v>
                </c:pt>
                <c:pt idx="193">
                  <c:v>2.6070435999999999</c:v>
                </c:pt>
                <c:pt idx="194">
                  <c:v>2.6444206000000001</c:v>
                </c:pt>
                <c:pt idx="195">
                  <c:v>2.5603224</c:v>
                </c:pt>
                <c:pt idx="196">
                  <c:v>2.4949127</c:v>
                </c:pt>
                <c:pt idx="197">
                  <c:v>2.5229453999999998</c:v>
                </c:pt>
                <c:pt idx="198">
                  <c:v>2.3734375999999999</c:v>
                </c:pt>
                <c:pt idx="199">
                  <c:v>2.0837659999999998</c:v>
                </c:pt>
                <c:pt idx="200">
                  <c:v>2.1024544999999999</c:v>
                </c:pt>
                <c:pt idx="201">
                  <c:v>2.0183563000000002</c:v>
                </c:pt>
                <c:pt idx="202">
                  <c:v>1.9716351000000001</c:v>
                </c:pt>
                <c:pt idx="203">
                  <c:v>2.1398315000000001</c:v>
                </c:pt>
                <c:pt idx="204">
                  <c:v>2.0183563000000002</c:v>
                </c:pt>
                <c:pt idx="205">
                  <c:v>2.0650776</c:v>
                </c:pt>
                <c:pt idx="206">
                  <c:v>1.9996678999999999</c:v>
                </c:pt>
                <c:pt idx="207">
                  <c:v>1.9529466</c:v>
                </c:pt>
                <c:pt idx="208">
                  <c:v>2.0090121000000001</c:v>
                </c:pt>
                <c:pt idx="209">
                  <c:v>1.9436024000000001</c:v>
                </c:pt>
                <c:pt idx="210">
                  <c:v>1.7380291000000001</c:v>
                </c:pt>
                <c:pt idx="211">
                  <c:v>1.7286847999999999</c:v>
                </c:pt>
                <c:pt idx="212">
                  <c:v>1.6539309</c:v>
                </c:pt>
                <c:pt idx="213">
                  <c:v>1.5978654000000001</c:v>
                </c:pt>
                <c:pt idx="214">
                  <c:v>1.5978654000000001</c:v>
                </c:pt>
                <c:pt idx="215">
                  <c:v>1.6165539</c:v>
                </c:pt>
                <c:pt idx="216">
                  <c:v>1.3549150999999999</c:v>
                </c:pt>
                <c:pt idx="217">
                  <c:v>1.4390133000000001</c:v>
                </c:pt>
                <c:pt idx="218">
                  <c:v>1.4390133000000001</c:v>
                </c:pt>
                <c:pt idx="219">
                  <c:v>1.3829477999999999</c:v>
                </c:pt>
                <c:pt idx="220">
                  <c:v>1.3922920999999999</c:v>
                </c:pt>
                <c:pt idx="221">
                  <c:v>1.4390133000000001</c:v>
                </c:pt>
                <c:pt idx="222">
                  <c:v>1.4109806</c:v>
                </c:pt>
                <c:pt idx="223">
                  <c:v>1.6165539</c:v>
                </c:pt>
                <c:pt idx="224">
                  <c:v>1.4483575</c:v>
                </c:pt>
                <c:pt idx="225">
                  <c:v>1.3736036</c:v>
                </c:pt>
                <c:pt idx="226">
                  <c:v>1.3175380999999999</c:v>
                </c:pt>
                <c:pt idx="227">
                  <c:v>1.2614726999999999</c:v>
                </c:pt>
                <c:pt idx="228">
                  <c:v>1.2054072</c:v>
                </c:pt>
                <c:pt idx="229">
                  <c:v>1.1493418</c:v>
                </c:pt>
                <c:pt idx="230">
                  <c:v>1.0558993999999999</c:v>
                </c:pt>
                <c:pt idx="231">
                  <c:v>1.1026206000000001</c:v>
                </c:pt>
                <c:pt idx="232">
                  <c:v>1.0558993999999999</c:v>
                </c:pt>
                <c:pt idx="233">
                  <c:v>1.0652436000000001</c:v>
                </c:pt>
                <c:pt idx="234">
                  <c:v>1.0839321</c:v>
                </c:pt>
                <c:pt idx="235">
                  <c:v>1.0278666000000001</c:v>
                </c:pt>
                <c:pt idx="236">
                  <c:v>1.0278666000000001</c:v>
                </c:pt>
                <c:pt idx="237">
                  <c:v>0.94376839999999995</c:v>
                </c:pt>
                <c:pt idx="238">
                  <c:v>0.88770300000000002</c:v>
                </c:pt>
                <c:pt idx="239">
                  <c:v>0.92508000000000001</c:v>
                </c:pt>
                <c:pt idx="240">
                  <c:v>0.86901450000000002</c:v>
                </c:pt>
                <c:pt idx="241">
                  <c:v>0.77557209999999999</c:v>
                </c:pt>
                <c:pt idx="242">
                  <c:v>0.71016239999999997</c:v>
                </c:pt>
                <c:pt idx="243">
                  <c:v>0.67278539999999998</c:v>
                </c:pt>
                <c:pt idx="244">
                  <c:v>0.62606419999999996</c:v>
                </c:pt>
                <c:pt idx="245">
                  <c:v>0.63540839999999998</c:v>
                </c:pt>
                <c:pt idx="246">
                  <c:v>0.54196599999999995</c:v>
                </c:pt>
                <c:pt idx="247">
                  <c:v>0.50458899999999995</c:v>
                </c:pt>
                <c:pt idx="248">
                  <c:v>0.53262180000000003</c:v>
                </c:pt>
                <c:pt idx="249">
                  <c:v>0.56065449999999994</c:v>
                </c:pt>
                <c:pt idx="250">
                  <c:v>0.56999869999999997</c:v>
                </c:pt>
                <c:pt idx="251">
                  <c:v>0.53262180000000003</c:v>
                </c:pt>
                <c:pt idx="252">
                  <c:v>0.47655629999999999</c:v>
                </c:pt>
                <c:pt idx="253">
                  <c:v>0.50458899999999995</c:v>
                </c:pt>
                <c:pt idx="254">
                  <c:v>0.50458899999999995</c:v>
                </c:pt>
                <c:pt idx="255">
                  <c:v>0.44852360000000002</c:v>
                </c:pt>
                <c:pt idx="256">
                  <c:v>0.4204909</c:v>
                </c:pt>
                <c:pt idx="257">
                  <c:v>0.36442540000000001</c:v>
                </c:pt>
                <c:pt idx="258">
                  <c:v>0.32704840000000002</c:v>
                </c:pt>
                <c:pt idx="259">
                  <c:v>0.31770419999999999</c:v>
                </c:pt>
                <c:pt idx="260">
                  <c:v>0.2803272</c:v>
                </c:pt>
                <c:pt idx="261">
                  <c:v>0.24295030000000001</c:v>
                </c:pt>
                <c:pt idx="262">
                  <c:v>0.25229449999999998</c:v>
                </c:pt>
                <c:pt idx="263">
                  <c:v>0.27098299999999997</c:v>
                </c:pt>
                <c:pt idx="264">
                  <c:v>0.27098299999999997</c:v>
                </c:pt>
                <c:pt idx="265">
                  <c:v>0.25229449999999998</c:v>
                </c:pt>
                <c:pt idx="266">
                  <c:v>0.21491750000000001</c:v>
                </c:pt>
                <c:pt idx="267">
                  <c:v>0.20557329999999999</c:v>
                </c:pt>
                <c:pt idx="268">
                  <c:v>0.18688479999999999</c:v>
                </c:pt>
                <c:pt idx="269">
                  <c:v>0.1495078</c:v>
                </c:pt>
                <c:pt idx="270">
                  <c:v>0.11213090000000001</c:v>
                </c:pt>
                <c:pt idx="271">
                  <c:v>0.1214751</c:v>
                </c:pt>
                <c:pt idx="272">
                  <c:v>0.1401636</c:v>
                </c:pt>
                <c:pt idx="273">
                  <c:v>0.1401636</c:v>
                </c:pt>
                <c:pt idx="274">
                  <c:v>0.11213090000000001</c:v>
                </c:pt>
                <c:pt idx="275">
                  <c:v>0.1308193</c:v>
                </c:pt>
                <c:pt idx="276">
                  <c:v>0.1308193</c:v>
                </c:pt>
                <c:pt idx="277">
                  <c:v>0.1214751</c:v>
                </c:pt>
                <c:pt idx="278">
                  <c:v>0.11213090000000001</c:v>
                </c:pt>
                <c:pt idx="279">
                  <c:v>9.3442399999999995E-2</c:v>
                </c:pt>
                <c:pt idx="280">
                  <c:v>8.4098099999999995E-2</c:v>
                </c:pt>
                <c:pt idx="281">
                  <c:v>9.3442399999999995E-2</c:v>
                </c:pt>
                <c:pt idx="282">
                  <c:v>7.4753899999999998E-2</c:v>
                </c:pt>
                <c:pt idx="283">
                  <c:v>8.4098099999999995E-2</c:v>
                </c:pt>
                <c:pt idx="284">
                  <c:v>8.4098099999999995E-2</c:v>
                </c:pt>
                <c:pt idx="285">
                  <c:v>7.4753899999999998E-2</c:v>
                </c:pt>
                <c:pt idx="286">
                  <c:v>7.4753899999999998E-2</c:v>
                </c:pt>
                <c:pt idx="287">
                  <c:v>8.4098099999999995E-2</c:v>
                </c:pt>
                <c:pt idx="288">
                  <c:v>8.4098099999999995E-2</c:v>
                </c:pt>
                <c:pt idx="289">
                  <c:v>6.5409599999999998E-2</c:v>
                </c:pt>
                <c:pt idx="290">
                  <c:v>7.4753899999999998E-2</c:v>
                </c:pt>
                <c:pt idx="291">
                  <c:v>8.4098099999999995E-2</c:v>
                </c:pt>
                <c:pt idx="292">
                  <c:v>9.3442399999999995E-2</c:v>
                </c:pt>
                <c:pt idx="293">
                  <c:v>7.4753899999999998E-2</c:v>
                </c:pt>
                <c:pt idx="294">
                  <c:v>6.5409599999999998E-2</c:v>
                </c:pt>
                <c:pt idx="295">
                  <c:v>4.6721199999999997E-2</c:v>
                </c:pt>
                <c:pt idx="296">
                  <c:v>5.6065400000000001E-2</c:v>
                </c:pt>
                <c:pt idx="297">
                  <c:v>2.8032700000000001E-2</c:v>
                </c:pt>
                <c:pt idx="298">
                  <c:v>1.8688400000000001E-2</c:v>
                </c:pt>
                <c:pt idx="299">
                  <c:v>9.3442000000000004E-3</c:v>
                </c:pt>
                <c:pt idx="300">
                  <c:v>1.8688400000000001E-2</c:v>
                </c:pt>
                <c:pt idx="301">
                  <c:v>1.8688400000000001E-2</c:v>
                </c:pt>
                <c:pt idx="302">
                  <c:v>2.8032700000000001E-2</c:v>
                </c:pt>
                <c:pt idx="303">
                  <c:v>3.7376899999999998E-2</c:v>
                </c:pt>
                <c:pt idx="304">
                  <c:v>4.6721199999999997E-2</c:v>
                </c:pt>
                <c:pt idx="305">
                  <c:v>4.6721199999999997E-2</c:v>
                </c:pt>
                <c:pt idx="306">
                  <c:v>4.6721199999999997E-2</c:v>
                </c:pt>
                <c:pt idx="307">
                  <c:v>3.7376899999999998E-2</c:v>
                </c:pt>
                <c:pt idx="308">
                  <c:v>3.7376899999999998E-2</c:v>
                </c:pt>
                <c:pt idx="309">
                  <c:v>3.7376899999999998E-2</c:v>
                </c:pt>
                <c:pt idx="310">
                  <c:v>1.8688400000000001E-2</c:v>
                </c:pt>
                <c:pt idx="311">
                  <c:v>9.3442000000000004E-3</c:v>
                </c:pt>
                <c:pt idx="312">
                  <c:v>9.3442000000000004E-3</c:v>
                </c:pt>
                <c:pt idx="313">
                  <c:v>9.3442000000000004E-3</c:v>
                </c:pt>
                <c:pt idx="314">
                  <c:v>1.8688400000000001E-2</c:v>
                </c:pt>
                <c:pt idx="315">
                  <c:v>1.8688400000000001E-2</c:v>
                </c:pt>
                <c:pt idx="316">
                  <c:v>1.8688400000000001E-2</c:v>
                </c:pt>
                <c:pt idx="317">
                  <c:v>3.7376899999999998E-2</c:v>
                </c:pt>
                <c:pt idx="318">
                  <c:v>3.7376899999999998E-2</c:v>
                </c:pt>
                <c:pt idx="319">
                  <c:v>3.7376899999999998E-2</c:v>
                </c:pt>
                <c:pt idx="320">
                  <c:v>4.6721199999999997E-2</c:v>
                </c:pt>
                <c:pt idx="321">
                  <c:v>4.6721199999999997E-2</c:v>
                </c:pt>
                <c:pt idx="322">
                  <c:v>4.6721199999999997E-2</c:v>
                </c:pt>
                <c:pt idx="323">
                  <c:v>3.7376899999999998E-2</c:v>
                </c:pt>
                <c:pt idx="324">
                  <c:v>2.8032700000000001E-2</c:v>
                </c:pt>
                <c:pt idx="325">
                  <c:v>3.7376899999999998E-2</c:v>
                </c:pt>
                <c:pt idx="326">
                  <c:v>3.7376899999999998E-2</c:v>
                </c:pt>
                <c:pt idx="327">
                  <c:v>2.8032700000000001E-2</c:v>
                </c:pt>
                <c:pt idx="328">
                  <c:v>2.8032700000000001E-2</c:v>
                </c:pt>
                <c:pt idx="329">
                  <c:v>3.7376899999999998E-2</c:v>
                </c:pt>
                <c:pt idx="330">
                  <c:v>3.7376899999999998E-2</c:v>
                </c:pt>
                <c:pt idx="331">
                  <c:v>3.7376899999999998E-2</c:v>
                </c:pt>
                <c:pt idx="332">
                  <c:v>4.6721199999999997E-2</c:v>
                </c:pt>
                <c:pt idx="333">
                  <c:v>5.6065400000000001E-2</c:v>
                </c:pt>
                <c:pt idx="334">
                  <c:v>5.6065400000000001E-2</c:v>
                </c:pt>
                <c:pt idx="335">
                  <c:v>4.6721199999999997E-2</c:v>
                </c:pt>
                <c:pt idx="336">
                  <c:v>5.6065400000000001E-2</c:v>
                </c:pt>
                <c:pt idx="337">
                  <c:v>6.5409599999999998E-2</c:v>
                </c:pt>
                <c:pt idx="338">
                  <c:v>5.6065400000000001E-2</c:v>
                </c:pt>
                <c:pt idx="339">
                  <c:v>4.6721199999999997E-2</c:v>
                </c:pt>
                <c:pt idx="340">
                  <c:v>3.7376899999999998E-2</c:v>
                </c:pt>
                <c:pt idx="341">
                  <c:v>3.7376899999999998E-2</c:v>
                </c:pt>
                <c:pt idx="342">
                  <c:v>4.6721199999999997E-2</c:v>
                </c:pt>
                <c:pt idx="343">
                  <c:v>2.8032700000000001E-2</c:v>
                </c:pt>
                <c:pt idx="344">
                  <c:v>3.7376899999999998E-2</c:v>
                </c:pt>
                <c:pt idx="345">
                  <c:v>3.7376899999999998E-2</c:v>
                </c:pt>
                <c:pt idx="346">
                  <c:v>3.7376899999999998E-2</c:v>
                </c:pt>
                <c:pt idx="347">
                  <c:v>3.7376899999999998E-2</c:v>
                </c:pt>
                <c:pt idx="348">
                  <c:v>4.6721199999999997E-2</c:v>
                </c:pt>
                <c:pt idx="349">
                  <c:v>4.6721199999999997E-2</c:v>
                </c:pt>
                <c:pt idx="350">
                  <c:v>4.6721199999999997E-2</c:v>
                </c:pt>
                <c:pt idx="351">
                  <c:v>2.8032700000000001E-2</c:v>
                </c:pt>
                <c:pt idx="352">
                  <c:v>2.8032700000000001E-2</c:v>
                </c:pt>
                <c:pt idx="353">
                  <c:v>4.6721199999999997E-2</c:v>
                </c:pt>
                <c:pt idx="354">
                  <c:v>5.6065400000000001E-2</c:v>
                </c:pt>
                <c:pt idx="355">
                  <c:v>4.6721199999999997E-2</c:v>
                </c:pt>
                <c:pt idx="356">
                  <c:v>4.6721199999999997E-2</c:v>
                </c:pt>
                <c:pt idx="357">
                  <c:v>5.6065400000000001E-2</c:v>
                </c:pt>
                <c:pt idx="358">
                  <c:v>6.5409599999999998E-2</c:v>
                </c:pt>
                <c:pt idx="359">
                  <c:v>6.5409599999999998E-2</c:v>
                </c:pt>
                <c:pt idx="360">
                  <c:v>3.7376899999999998E-2</c:v>
                </c:pt>
                <c:pt idx="361">
                  <c:v>2.8032700000000001E-2</c:v>
                </c:pt>
                <c:pt idx="362">
                  <c:v>2.8032700000000001E-2</c:v>
                </c:pt>
                <c:pt idx="363">
                  <c:v>1.8688400000000001E-2</c:v>
                </c:pt>
                <c:pt idx="364">
                  <c:v>9.3442000000000004E-3</c:v>
                </c:pt>
                <c:pt idx="365">
                  <c:v>9.3442000000000004E-3</c:v>
                </c:pt>
                <c:pt idx="366">
                  <c:v>9.3442000000000004E-3</c:v>
                </c:pt>
                <c:pt idx="367">
                  <c:v>5.6065400000000001E-2</c:v>
                </c:pt>
                <c:pt idx="368">
                  <c:v>5.6065400000000001E-2</c:v>
                </c:pt>
                <c:pt idx="369">
                  <c:v>6.5409599999999998E-2</c:v>
                </c:pt>
                <c:pt idx="370">
                  <c:v>7.4753899999999998E-2</c:v>
                </c:pt>
                <c:pt idx="371">
                  <c:v>9.3442399999999995E-2</c:v>
                </c:pt>
                <c:pt idx="372">
                  <c:v>9.3442399999999995E-2</c:v>
                </c:pt>
                <c:pt idx="373">
                  <c:v>9.3442399999999995E-2</c:v>
                </c:pt>
                <c:pt idx="374">
                  <c:v>7.4753899999999998E-2</c:v>
                </c:pt>
                <c:pt idx="375">
                  <c:v>7.4753899999999998E-2</c:v>
                </c:pt>
                <c:pt idx="376">
                  <c:v>6.5409599999999998E-2</c:v>
                </c:pt>
                <c:pt idx="377">
                  <c:v>9.3442399999999995E-2</c:v>
                </c:pt>
                <c:pt idx="378">
                  <c:v>0.10278660000000001</c:v>
                </c:pt>
                <c:pt idx="379">
                  <c:v>9.3442399999999995E-2</c:v>
                </c:pt>
                <c:pt idx="380">
                  <c:v>0.11213090000000001</c:v>
                </c:pt>
                <c:pt idx="381">
                  <c:v>9.3442399999999995E-2</c:v>
                </c:pt>
                <c:pt idx="382">
                  <c:v>9.3442399999999995E-2</c:v>
                </c:pt>
                <c:pt idx="383">
                  <c:v>0.10278660000000001</c:v>
                </c:pt>
                <c:pt idx="384">
                  <c:v>7.4753899999999998E-2</c:v>
                </c:pt>
                <c:pt idx="385">
                  <c:v>4.6721199999999997E-2</c:v>
                </c:pt>
                <c:pt idx="386">
                  <c:v>5.6065400000000001E-2</c:v>
                </c:pt>
                <c:pt idx="387">
                  <c:v>5.6065400000000001E-2</c:v>
                </c:pt>
                <c:pt idx="388">
                  <c:v>6.5409599999999998E-2</c:v>
                </c:pt>
                <c:pt idx="389">
                  <c:v>8.4098099999999995E-2</c:v>
                </c:pt>
                <c:pt idx="390">
                  <c:v>9.3442399999999995E-2</c:v>
                </c:pt>
                <c:pt idx="391">
                  <c:v>0.11213090000000001</c:v>
                </c:pt>
                <c:pt idx="392">
                  <c:v>0.1214751</c:v>
                </c:pt>
                <c:pt idx="393">
                  <c:v>0.1495078</c:v>
                </c:pt>
                <c:pt idx="394">
                  <c:v>0.1401636</c:v>
                </c:pt>
                <c:pt idx="395">
                  <c:v>0.1588521</c:v>
                </c:pt>
                <c:pt idx="396">
                  <c:v>0.1401636</c:v>
                </c:pt>
                <c:pt idx="397">
                  <c:v>0.1401636</c:v>
                </c:pt>
                <c:pt idx="398">
                  <c:v>0.1588521</c:v>
                </c:pt>
                <c:pt idx="399">
                  <c:v>0.25229449999999998</c:v>
                </c:pt>
                <c:pt idx="400">
                  <c:v>0.30836000000000002</c:v>
                </c:pt>
                <c:pt idx="401">
                  <c:v>0.33639269999999999</c:v>
                </c:pt>
                <c:pt idx="402">
                  <c:v>0.31770419999999999</c:v>
                </c:pt>
                <c:pt idx="403">
                  <c:v>0.32704840000000002</c:v>
                </c:pt>
                <c:pt idx="404">
                  <c:v>0.32704840000000002</c:v>
                </c:pt>
                <c:pt idx="405">
                  <c:v>0.37376969999999998</c:v>
                </c:pt>
                <c:pt idx="406">
                  <c:v>0.28967150000000003</c:v>
                </c:pt>
                <c:pt idx="407">
                  <c:v>0.25229449999999998</c:v>
                </c:pt>
                <c:pt idx="408">
                  <c:v>0.2803272</c:v>
                </c:pt>
                <c:pt idx="409">
                  <c:v>0.2990157</c:v>
                </c:pt>
                <c:pt idx="410">
                  <c:v>0.30836000000000002</c:v>
                </c:pt>
                <c:pt idx="411">
                  <c:v>0.32704840000000002</c:v>
                </c:pt>
                <c:pt idx="412">
                  <c:v>0.2990157</c:v>
                </c:pt>
                <c:pt idx="413">
                  <c:v>0.30836000000000002</c:v>
                </c:pt>
                <c:pt idx="414">
                  <c:v>0.31770419999999999</c:v>
                </c:pt>
                <c:pt idx="415">
                  <c:v>0.28967150000000003</c:v>
                </c:pt>
                <c:pt idx="416">
                  <c:v>0.31770419999999999</c:v>
                </c:pt>
                <c:pt idx="417">
                  <c:v>0.34573690000000001</c:v>
                </c:pt>
                <c:pt idx="418">
                  <c:v>0.4018024</c:v>
                </c:pt>
                <c:pt idx="419">
                  <c:v>0.54196599999999995</c:v>
                </c:pt>
                <c:pt idx="420">
                  <c:v>0.56065449999999994</c:v>
                </c:pt>
                <c:pt idx="421">
                  <c:v>0.57934300000000005</c:v>
                </c:pt>
                <c:pt idx="422">
                  <c:v>0.63540839999999998</c:v>
                </c:pt>
                <c:pt idx="423">
                  <c:v>0.65409689999999998</c:v>
                </c:pt>
                <c:pt idx="424">
                  <c:v>0.66344119999999995</c:v>
                </c:pt>
                <c:pt idx="425">
                  <c:v>0.63540839999999998</c:v>
                </c:pt>
                <c:pt idx="426">
                  <c:v>0.67278539999999998</c:v>
                </c:pt>
                <c:pt idx="427">
                  <c:v>0.85032600000000003</c:v>
                </c:pt>
                <c:pt idx="428">
                  <c:v>0.92508000000000001</c:v>
                </c:pt>
                <c:pt idx="429">
                  <c:v>0.95311270000000003</c:v>
                </c:pt>
                <c:pt idx="430">
                  <c:v>1.0839321</c:v>
                </c:pt>
                <c:pt idx="431">
                  <c:v>1.2054072</c:v>
                </c:pt>
                <c:pt idx="432">
                  <c:v>1.3081939</c:v>
                </c:pt>
                <c:pt idx="433">
                  <c:v>1.3362266</c:v>
                </c:pt>
                <c:pt idx="434">
                  <c:v>1.3642593999999999</c:v>
                </c:pt>
                <c:pt idx="435">
                  <c:v>1.4670460000000001</c:v>
                </c:pt>
                <c:pt idx="436">
                  <c:v>1.5604884999999999</c:v>
                </c:pt>
                <c:pt idx="437">
                  <c:v>1.5137672</c:v>
                </c:pt>
                <c:pt idx="438">
                  <c:v>1.4950787999999999</c:v>
                </c:pt>
                <c:pt idx="439">
                  <c:v>1.5044230000000001</c:v>
                </c:pt>
                <c:pt idx="440">
                  <c:v>1.5324557000000001</c:v>
                </c:pt>
                <c:pt idx="441">
                  <c:v>1.5044230000000001</c:v>
                </c:pt>
                <c:pt idx="442">
                  <c:v>1.4390133000000001</c:v>
                </c:pt>
                <c:pt idx="443">
                  <c:v>1.5604884999999999</c:v>
                </c:pt>
                <c:pt idx="444">
                  <c:v>1.6913079</c:v>
                </c:pt>
                <c:pt idx="445">
                  <c:v>1.7193406</c:v>
                </c:pt>
                <c:pt idx="446">
                  <c:v>1.8314714999999999</c:v>
                </c:pt>
                <c:pt idx="447">
                  <c:v>1.9155697</c:v>
                </c:pt>
                <c:pt idx="448">
                  <c:v>2.1304873</c:v>
                </c:pt>
                <c:pt idx="449">
                  <c:v>2.1024544999999999</c:v>
                </c:pt>
                <c:pt idx="450">
                  <c:v>2.2145853999999998</c:v>
                </c:pt>
                <c:pt idx="451">
                  <c:v>2.2332738999999999</c:v>
                </c:pt>
                <c:pt idx="452">
                  <c:v>2.2986835999999999</c:v>
                </c:pt>
                <c:pt idx="453">
                  <c:v>2.2052412000000001</c:v>
                </c:pt>
                <c:pt idx="454">
                  <c:v>2.1491756999999998</c:v>
                </c:pt>
                <c:pt idx="455">
                  <c:v>1.9903236</c:v>
                </c:pt>
                <c:pt idx="456">
                  <c:v>2.1398315000000001</c:v>
                </c:pt>
                <c:pt idx="457">
                  <c:v>1.9342581999999999</c:v>
                </c:pt>
                <c:pt idx="458">
                  <c:v>1.7940944999999999</c:v>
                </c:pt>
                <c:pt idx="459">
                  <c:v>1.7380291000000001</c:v>
                </c:pt>
                <c:pt idx="460">
                  <c:v>1.7006521000000001</c:v>
                </c:pt>
                <c:pt idx="461">
                  <c:v>1.7660617999999999</c:v>
                </c:pt>
                <c:pt idx="462">
                  <c:v>1.7193406</c:v>
                </c:pt>
                <c:pt idx="463">
                  <c:v>1.5511442</c:v>
                </c:pt>
                <c:pt idx="464">
                  <c:v>1.5137672</c:v>
                </c:pt>
                <c:pt idx="465">
                  <c:v>1.5231115</c:v>
                </c:pt>
                <c:pt idx="466">
                  <c:v>1.4670460000000001</c:v>
                </c:pt>
                <c:pt idx="467">
                  <c:v>1.4577017999999999</c:v>
                </c:pt>
                <c:pt idx="468">
                  <c:v>1.2895053999999999</c:v>
                </c:pt>
                <c:pt idx="469">
                  <c:v>1.3175380999999999</c:v>
                </c:pt>
                <c:pt idx="470">
                  <c:v>1.3922920999999999</c:v>
                </c:pt>
                <c:pt idx="471">
                  <c:v>1.3642593999999999</c:v>
                </c:pt>
                <c:pt idx="472">
                  <c:v>1.3081939</c:v>
                </c:pt>
                <c:pt idx="473">
                  <c:v>1.2240956999999999</c:v>
                </c:pt>
                <c:pt idx="474">
                  <c:v>1.1773745</c:v>
                </c:pt>
                <c:pt idx="475">
                  <c:v>1.2334400000000001</c:v>
                </c:pt>
                <c:pt idx="476">
                  <c:v>1.1960630000000001</c:v>
                </c:pt>
                <c:pt idx="477">
                  <c:v>1.1119648</c:v>
                </c:pt>
                <c:pt idx="478">
                  <c:v>1.1119648</c:v>
                </c:pt>
                <c:pt idx="479">
                  <c:v>1.0745878</c:v>
                </c:pt>
                <c:pt idx="480">
                  <c:v>1.1213090999999999</c:v>
                </c:pt>
                <c:pt idx="481">
                  <c:v>1.1213090999999999</c:v>
                </c:pt>
                <c:pt idx="482">
                  <c:v>1.0745878</c:v>
                </c:pt>
                <c:pt idx="483">
                  <c:v>1.1213090999999999</c:v>
                </c:pt>
                <c:pt idx="484">
                  <c:v>1.5885212</c:v>
                </c:pt>
                <c:pt idx="485">
                  <c:v>1.5324557000000001</c:v>
                </c:pt>
                <c:pt idx="486">
                  <c:v>1.5604884999999999</c:v>
                </c:pt>
                <c:pt idx="487">
                  <c:v>1.5885212</c:v>
                </c:pt>
                <c:pt idx="488">
                  <c:v>1.5885212</c:v>
                </c:pt>
                <c:pt idx="489">
                  <c:v>1.4950787999999999</c:v>
                </c:pt>
                <c:pt idx="490">
                  <c:v>1.3455709</c:v>
                </c:pt>
                <c:pt idx="491">
                  <c:v>0.81294909999999998</c:v>
                </c:pt>
                <c:pt idx="492">
                  <c:v>0.75688359999999999</c:v>
                </c:pt>
                <c:pt idx="493">
                  <c:v>0.76622780000000001</c:v>
                </c:pt>
                <c:pt idx="494">
                  <c:v>0.7195066</c:v>
                </c:pt>
                <c:pt idx="495">
                  <c:v>0.7008181</c:v>
                </c:pt>
                <c:pt idx="496">
                  <c:v>0.69147389999999997</c:v>
                </c:pt>
                <c:pt idx="497">
                  <c:v>0.68212969999999995</c:v>
                </c:pt>
                <c:pt idx="498">
                  <c:v>0.67278539999999998</c:v>
                </c:pt>
                <c:pt idx="499">
                  <c:v>0.65409689999999998</c:v>
                </c:pt>
                <c:pt idx="500">
                  <c:v>0.63540839999999998</c:v>
                </c:pt>
                <c:pt idx="501">
                  <c:v>0.56999869999999997</c:v>
                </c:pt>
                <c:pt idx="502">
                  <c:v>0.5139333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DC-463D-8531-AEA8D7694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JIP_v_den_pozitivity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0</c:v>
                </c:pt>
                <c:pt idx="1">
                  <c:v>-0.60810299999999995</c:v>
                </c:pt>
                <c:pt idx="2">
                  <c:v>0</c:v>
                </c:pt>
                <c:pt idx="3">
                  <c:v>-0.39038299999999998</c:v>
                </c:pt>
                <c:pt idx="4">
                  <c:v>-6.4349000000000003E-2</c:v>
                </c:pt>
                <c:pt idx="5">
                  <c:v>-0.44481300000000001</c:v>
                </c:pt>
                <c:pt idx="6">
                  <c:v>-0.25147900000000001</c:v>
                </c:pt>
                <c:pt idx="7">
                  <c:v>-0.60810299999999995</c:v>
                </c:pt>
                <c:pt idx="8">
                  <c:v>-0.334648</c:v>
                </c:pt>
                <c:pt idx="9">
                  <c:v>-0.50359699999999996</c:v>
                </c:pt>
                <c:pt idx="10">
                  <c:v>-0.16830999999999999</c:v>
                </c:pt>
                <c:pt idx="11">
                  <c:v>0</c:v>
                </c:pt>
                <c:pt idx="12">
                  <c:v>1.370317</c:v>
                </c:pt>
                <c:pt idx="13">
                  <c:v>-0.41215499999999999</c:v>
                </c:pt>
                <c:pt idx="14">
                  <c:v>0.122781</c:v>
                </c:pt>
                <c:pt idx="15">
                  <c:v>0.13214600000000001</c:v>
                </c:pt>
                <c:pt idx="16">
                  <c:v>0.247534</c:v>
                </c:pt>
                <c:pt idx="17">
                  <c:v>0.30632199999999998</c:v>
                </c:pt>
                <c:pt idx="18">
                  <c:v>-1.9719999999999998E-3</c:v>
                </c:pt>
                <c:pt idx="19">
                  <c:v>-7.1939999999999999E-3</c:v>
                </c:pt>
                <c:pt idx="20">
                  <c:v>-0.215835</c:v>
                </c:pt>
                <c:pt idx="21">
                  <c:v>-0.31418000000000001</c:v>
                </c:pt>
                <c:pt idx="22">
                  <c:v>0.65298299999999998</c:v>
                </c:pt>
                <c:pt idx="23">
                  <c:v>-0.35772399999999999</c:v>
                </c:pt>
                <c:pt idx="24">
                  <c:v>0.14060300000000001</c:v>
                </c:pt>
                <c:pt idx="25">
                  <c:v>-0.21620600000000001</c:v>
                </c:pt>
                <c:pt idx="26">
                  <c:v>0.33070300000000002</c:v>
                </c:pt>
                <c:pt idx="27">
                  <c:v>-0.124764</c:v>
                </c:pt>
                <c:pt idx="28">
                  <c:v>0.26535599999999998</c:v>
                </c:pt>
                <c:pt idx="29">
                  <c:v>0.14303199999999999</c:v>
                </c:pt>
                <c:pt idx="30">
                  <c:v>0.41387200000000002</c:v>
                </c:pt>
                <c:pt idx="31">
                  <c:v>-8.5573999999999997E-2</c:v>
                </c:pt>
                <c:pt idx="32">
                  <c:v>1.5262579999999999</c:v>
                </c:pt>
                <c:pt idx="33">
                  <c:v>-0.31418000000000001</c:v>
                </c:pt>
                <c:pt idx="34">
                  <c:v>0.97823400000000005</c:v>
                </c:pt>
                <c:pt idx="35">
                  <c:v>-0.16120300000000001</c:v>
                </c:pt>
                <c:pt idx="36">
                  <c:v>0.72159799999999996</c:v>
                </c:pt>
                <c:pt idx="37">
                  <c:v>-0.127139</c:v>
                </c:pt>
                <c:pt idx="38">
                  <c:v>0.684172</c:v>
                </c:pt>
                <c:pt idx="39">
                  <c:v>8.2380999999999996E-2</c:v>
                </c:pt>
                <c:pt idx="40">
                  <c:v>0.64852799999999999</c:v>
                </c:pt>
                <c:pt idx="41">
                  <c:v>-4.7473000000000001E-2</c:v>
                </c:pt>
                <c:pt idx="42">
                  <c:v>0.387882</c:v>
                </c:pt>
                <c:pt idx="43">
                  <c:v>0.328094</c:v>
                </c:pt>
                <c:pt idx="44">
                  <c:v>0.43099500000000002</c:v>
                </c:pt>
                <c:pt idx="45">
                  <c:v>0.41632799999999998</c:v>
                </c:pt>
                <c:pt idx="46">
                  <c:v>0.46034900000000001</c:v>
                </c:pt>
                <c:pt idx="47">
                  <c:v>0.31254199999999999</c:v>
                </c:pt>
                <c:pt idx="48">
                  <c:v>0.47209099999999998</c:v>
                </c:pt>
                <c:pt idx="49">
                  <c:v>0.28019500000000003</c:v>
                </c:pt>
                <c:pt idx="50">
                  <c:v>1.0350410000000001</c:v>
                </c:pt>
                <c:pt idx="51">
                  <c:v>0.56190700000000005</c:v>
                </c:pt>
                <c:pt idx="52">
                  <c:v>1.253879</c:v>
                </c:pt>
                <c:pt idx="53">
                  <c:v>0.87239500000000003</c:v>
                </c:pt>
                <c:pt idx="54">
                  <c:v>0.769231</c:v>
                </c:pt>
                <c:pt idx="55">
                  <c:v>0.79074999999999995</c:v>
                </c:pt>
                <c:pt idx="56">
                  <c:v>0.94723900000000005</c:v>
                </c:pt>
                <c:pt idx="57">
                  <c:v>0.25914900000000002</c:v>
                </c:pt>
                <c:pt idx="58">
                  <c:v>0.13517299999999999</c:v>
                </c:pt>
                <c:pt idx="59">
                  <c:v>8.3653000000000005E-2</c:v>
                </c:pt>
                <c:pt idx="60">
                  <c:v>0.32266800000000001</c:v>
                </c:pt>
                <c:pt idx="61">
                  <c:v>0.10104299999999999</c:v>
                </c:pt>
                <c:pt idx="62">
                  <c:v>-0.33654400000000001</c:v>
                </c:pt>
                <c:pt idx="63">
                  <c:v>0.16229099999999999</c:v>
                </c:pt>
                <c:pt idx="64">
                  <c:v>-0.39604299999999998</c:v>
                </c:pt>
                <c:pt idx="65">
                  <c:v>0.409244</c:v>
                </c:pt>
                <c:pt idx="66">
                  <c:v>-0.24482400000000001</c:v>
                </c:pt>
                <c:pt idx="67">
                  <c:v>0.79368000000000005</c:v>
                </c:pt>
                <c:pt idx="68">
                  <c:v>-8.3885000000000001E-2</c:v>
                </c:pt>
                <c:pt idx="69">
                  <c:v>0.69277599999999995</c:v>
                </c:pt>
                <c:pt idx="70">
                  <c:v>-1.3905000000000001E-2</c:v>
                </c:pt>
                <c:pt idx="71">
                  <c:v>0.74365599999999998</c:v>
                </c:pt>
                <c:pt idx="72">
                  <c:v>2.5174999999999999E-2</c:v>
                </c:pt>
                <c:pt idx="73">
                  <c:v>0.22407199999999999</c:v>
                </c:pt>
                <c:pt idx="74">
                  <c:v>9.1253000000000001E-2</c:v>
                </c:pt>
                <c:pt idx="75">
                  <c:v>-0.116698</c:v>
                </c:pt>
                <c:pt idx="76">
                  <c:v>2.6387000000000001E-2</c:v>
                </c:pt>
                <c:pt idx="77">
                  <c:v>0.118211</c:v>
                </c:pt>
                <c:pt idx="78">
                  <c:v>2.2993E-2</c:v>
                </c:pt>
                <c:pt idx="79">
                  <c:v>0.57527099999999998</c:v>
                </c:pt>
                <c:pt idx="80">
                  <c:v>-0.33026499999999998</c:v>
                </c:pt>
                <c:pt idx="81">
                  <c:v>0.50611200000000001</c:v>
                </c:pt>
                <c:pt idx="82">
                  <c:v>-0.31985400000000003</c:v>
                </c:pt>
                <c:pt idx="83">
                  <c:v>3.8837000000000003E-2</c:v>
                </c:pt>
                <c:pt idx="84">
                  <c:v>-0.44969500000000001</c:v>
                </c:pt>
                <c:pt idx="85">
                  <c:v>4.5057E-2</c:v>
                </c:pt>
                <c:pt idx="86">
                  <c:v>-0.55608000000000002</c:v>
                </c:pt>
                <c:pt idx="87">
                  <c:v>0.30632199999999998</c:v>
                </c:pt>
                <c:pt idx="88">
                  <c:v>-0.53239999999999998</c:v>
                </c:pt>
                <c:pt idx="89">
                  <c:v>0.43695400000000001</c:v>
                </c:pt>
                <c:pt idx="90">
                  <c:v>-0.54194299999999995</c:v>
                </c:pt>
                <c:pt idx="91">
                  <c:v>0.28019500000000003</c:v>
                </c:pt>
                <c:pt idx="92">
                  <c:v>-0.49336099999999999</c:v>
                </c:pt>
                <c:pt idx="93">
                  <c:v>0.418292</c:v>
                </c:pt>
                <c:pt idx="94">
                  <c:v>-0.42924600000000002</c:v>
                </c:pt>
                <c:pt idx="95">
                  <c:v>1.2399E-2</c:v>
                </c:pt>
                <c:pt idx="96">
                  <c:v>-0.44824900000000001</c:v>
                </c:pt>
                <c:pt idx="97">
                  <c:v>-2.9589000000000001E-2</c:v>
                </c:pt>
                <c:pt idx="98">
                  <c:v>-0.40379799999999999</c:v>
                </c:pt>
                <c:pt idx="99">
                  <c:v>-9.1254000000000002E-2</c:v>
                </c:pt>
                <c:pt idx="100">
                  <c:v>-0.338362</c:v>
                </c:pt>
                <c:pt idx="101">
                  <c:v>4.5057E-2</c:v>
                </c:pt>
                <c:pt idx="102">
                  <c:v>-0.33087699999999998</c:v>
                </c:pt>
                <c:pt idx="103">
                  <c:v>0.16032099999999999</c:v>
                </c:pt>
                <c:pt idx="104">
                  <c:v>-0.40743400000000002</c:v>
                </c:pt>
                <c:pt idx="105">
                  <c:v>0.45561600000000002</c:v>
                </c:pt>
                <c:pt idx="106">
                  <c:v>-0.34260299999999999</c:v>
                </c:pt>
                <c:pt idx="107">
                  <c:v>0.80509900000000001</c:v>
                </c:pt>
                <c:pt idx="108">
                  <c:v>-0.29046</c:v>
                </c:pt>
                <c:pt idx="109">
                  <c:v>0.55753799999999998</c:v>
                </c:pt>
                <c:pt idx="110">
                  <c:v>-0.195855</c:v>
                </c:pt>
                <c:pt idx="111">
                  <c:v>0.110373</c:v>
                </c:pt>
                <c:pt idx="112">
                  <c:v>0.28086299999999997</c:v>
                </c:pt>
                <c:pt idx="113">
                  <c:v>0.30632199999999998</c:v>
                </c:pt>
                <c:pt idx="114">
                  <c:v>-4.8649999999999999E-2</c:v>
                </c:pt>
                <c:pt idx="115">
                  <c:v>7.7715000000000006E-2</c:v>
                </c:pt>
                <c:pt idx="116">
                  <c:v>-0.13986999999999999</c:v>
                </c:pt>
                <c:pt idx="117">
                  <c:v>0.89158000000000004</c:v>
                </c:pt>
                <c:pt idx="118">
                  <c:v>-0.27474300000000001</c:v>
                </c:pt>
                <c:pt idx="119">
                  <c:v>0.20081099999999999</c:v>
                </c:pt>
                <c:pt idx="120">
                  <c:v>-0.25489299999999998</c:v>
                </c:pt>
                <c:pt idx="121">
                  <c:v>0.17569000000000001</c:v>
                </c:pt>
                <c:pt idx="122">
                  <c:v>-0.34599600000000003</c:v>
                </c:pt>
                <c:pt idx="123">
                  <c:v>-7.6949999999999996E-3</c:v>
                </c:pt>
                <c:pt idx="124">
                  <c:v>0.59958999999999996</c:v>
                </c:pt>
                <c:pt idx="125">
                  <c:v>-0.26167800000000002</c:v>
                </c:pt>
                <c:pt idx="126">
                  <c:v>0.90176800000000001</c:v>
                </c:pt>
                <c:pt idx="127">
                  <c:v>-0.20170299999999999</c:v>
                </c:pt>
                <c:pt idx="128">
                  <c:v>2.0187750000000002</c:v>
                </c:pt>
                <c:pt idx="129">
                  <c:v>-0.41245100000000001</c:v>
                </c:pt>
                <c:pt idx="130">
                  <c:v>1.396808</c:v>
                </c:pt>
                <c:pt idx="131">
                  <c:v>-0.31003799999999998</c:v>
                </c:pt>
                <c:pt idx="132">
                  <c:v>1.625893</c:v>
                </c:pt>
                <c:pt idx="133">
                  <c:v>-0.10918</c:v>
                </c:pt>
                <c:pt idx="134">
                  <c:v>1.2751060000000001</c:v>
                </c:pt>
                <c:pt idx="135">
                  <c:v>0.95980100000000002</c:v>
                </c:pt>
                <c:pt idx="136">
                  <c:v>1.0102260000000001</c:v>
                </c:pt>
                <c:pt idx="137">
                  <c:v>0.26400699999999999</c:v>
                </c:pt>
                <c:pt idx="138">
                  <c:v>0.76968599999999998</c:v>
                </c:pt>
                <c:pt idx="139">
                  <c:v>0.44022</c:v>
                </c:pt>
                <c:pt idx="140">
                  <c:v>0.43655699999999997</c:v>
                </c:pt>
                <c:pt idx="141">
                  <c:v>-0.35913600000000001</c:v>
                </c:pt>
                <c:pt idx="142">
                  <c:v>0.435722</c:v>
                </c:pt>
                <c:pt idx="143">
                  <c:v>-0.40207199999999998</c:v>
                </c:pt>
                <c:pt idx="144">
                  <c:v>0.45827200000000001</c:v>
                </c:pt>
                <c:pt idx="145">
                  <c:v>-0.38934999999999997</c:v>
                </c:pt>
                <c:pt idx="146">
                  <c:v>0.62364399999999998</c:v>
                </c:pt>
                <c:pt idx="147">
                  <c:v>-0.38617000000000001</c:v>
                </c:pt>
                <c:pt idx="148">
                  <c:v>0.79402600000000001</c:v>
                </c:pt>
                <c:pt idx="149">
                  <c:v>-0.35224499999999997</c:v>
                </c:pt>
                <c:pt idx="150">
                  <c:v>0.87420600000000004</c:v>
                </c:pt>
                <c:pt idx="151">
                  <c:v>-0.28960000000000002</c:v>
                </c:pt>
                <c:pt idx="152">
                  <c:v>1.3212090000000001</c:v>
                </c:pt>
                <c:pt idx="153">
                  <c:v>-0.248253</c:v>
                </c:pt>
                <c:pt idx="154">
                  <c:v>1.766208</c:v>
                </c:pt>
                <c:pt idx="155">
                  <c:v>0.29550799999999999</c:v>
                </c:pt>
                <c:pt idx="156">
                  <c:v>3.1693570000000002</c:v>
                </c:pt>
                <c:pt idx="157">
                  <c:v>9.0500999999999998E-2</c:v>
                </c:pt>
                <c:pt idx="158">
                  <c:v>2.1570849999999999</c:v>
                </c:pt>
                <c:pt idx="159">
                  <c:v>-6.2823000000000004E-2</c:v>
                </c:pt>
                <c:pt idx="160">
                  <c:v>-0.17582300000000001</c:v>
                </c:pt>
                <c:pt idx="161">
                  <c:v>0.12667900000000001</c:v>
                </c:pt>
                <c:pt idx="162">
                  <c:v>-0.164211</c:v>
                </c:pt>
                <c:pt idx="163">
                  <c:v>-0.14000199999999999</c:v>
                </c:pt>
                <c:pt idx="164">
                  <c:v>9.1710000000000003E-3</c:v>
                </c:pt>
                <c:pt idx="165">
                  <c:v>0.104529</c:v>
                </c:pt>
                <c:pt idx="166">
                  <c:v>-8.4129999999999996E-2</c:v>
                </c:pt>
                <c:pt idx="167">
                  <c:v>0.16359499999999999</c:v>
                </c:pt>
                <c:pt idx="168">
                  <c:v>-0.32345299999999999</c:v>
                </c:pt>
                <c:pt idx="169">
                  <c:v>8.0165E-2</c:v>
                </c:pt>
                <c:pt idx="170">
                  <c:v>-0.49374000000000001</c:v>
                </c:pt>
                <c:pt idx="171">
                  <c:v>-0.10692500000000001</c:v>
                </c:pt>
                <c:pt idx="172">
                  <c:v>-0.55264999999999997</c:v>
                </c:pt>
                <c:pt idx="173">
                  <c:v>-0.138624</c:v>
                </c:pt>
                <c:pt idx="174">
                  <c:v>-0.52135399999999998</c:v>
                </c:pt>
                <c:pt idx="175">
                  <c:v>-0.18262</c:v>
                </c:pt>
                <c:pt idx="176">
                  <c:v>-0.43887999999999999</c:v>
                </c:pt>
                <c:pt idx="177">
                  <c:v>-0.29160399999999997</c:v>
                </c:pt>
                <c:pt idx="178">
                  <c:v>-0.39018700000000001</c:v>
                </c:pt>
                <c:pt idx="179">
                  <c:v>-0.30538599999999999</c:v>
                </c:pt>
                <c:pt idx="180">
                  <c:v>-0.35985299999999998</c:v>
                </c:pt>
                <c:pt idx="181">
                  <c:v>-0.29160399999999997</c:v>
                </c:pt>
                <c:pt idx="182">
                  <c:v>-0.40629500000000002</c:v>
                </c:pt>
                <c:pt idx="183">
                  <c:v>-0.37980900000000001</c:v>
                </c:pt>
                <c:pt idx="184">
                  <c:v>-0.36989499999999997</c:v>
                </c:pt>
                <c:pt idx="185">
                  <c:v>-0.19670499999999999</c:v>
                </c:pt>
                <c:pt idx="186">
                  <c:v>-0.40523300000000001</c:v>
                </c:pt>
                <c:pt idx="187">
                  <c:v>-0.27782200000000001</c:v>
                </c:pt>
                <c:pt idx="188">
                  <c:v>-0.44574399999999997</c:v>
                </c:pt>
                <c:pt idx="189">
                  <c:v>1.1098E-2</c:v>
                </c:pt>
                <c:pt idx="190">
                  <c:v>-0.49151800000000001</c:v>
                </c:pt>
                <c:pt idx="191">
                  <c:v>-4.215E-2</c:v>
                </c:pt>
                <c:pt idx="192">
                  <c:v>-0.40680699999999997</c:v>
                </c:pt>
                <c:pt idx="193">
                  <c:v>-0.230963</c:v>
                </c:pt>
                <c:pt idx="194">
                  <c:v>-0.37481500000000001</c:v>
                </c:pt>
                <c:pt idx="195">
                  <c:v>-0.33359899999999998</c:v>
                </c:pt>
                <c:pt idx="196">
                  <c:v>-0.43284699999999998</c:v>
                </c:pt>
                <c:pt idx="197">
                  <c:v>-0.46840799999999999</c:v>
                </c:pt>
                <c:pt idx="198">
                  <c:v>-0.39008700000000002</c:v>
                </c:pt>
                <c:pt idx="199">
                  <c:v>-0.45763700000000002</c:v>
                </c:pt>
                <c:pt idx="200">
                  <c:v>-0.45972299999999999</c:v>
                </c:pt>
                <c:pt idx="201">
                  <c:v>-0.404617</c:v>
                </c:pt>
                <c:pt idx="202">
                  <c:v>-0.44508700000000001</c:v>
                </c:pt>
                <c:pt idx="203">
                  <c:v>0.18353</c:v>
                </c:pt>
                <c:pt idx="204">
                  <c:v>-0.457758</c:v>
                </c:pt>
                <c:pt idx="205">
                  <c:v>-8.6251999999999995E-2</c:v>
                </c:pt>
                <c:pt idx="206">
                  <c:v>-0.409057</c:v>
                </c:pt>
                <c:pt idx="207">
                  <c:v>-0.214425</c:v>
                </c:pt>
                <c:pt idx="208">
                  <c:v>0.198208</c:v>
                </c:pt>
                <c:pt idx="209">
                  <c:v>-0.33846300000000001</c:v>
                </c:pt>
                <c:pt idx="210">
                  <c:v>0.59787199999999996</c:v>
                </c:pt>
                <c:pt idx="211">
                  <c:v>-0.36258200000000002</c:v>
                </c:pt>
                <c:pt idx="212">
                  <c:v>0.330486</c:v>
                </c:pt>
                <c:pt idx="213">
                  <c:v>0.17836099999999999</c:v>
                </c:pt>
                <c:pt idx="214">
                  <c:v>0.46901100000000001</c:v>
                </c:pt>
                <c:pt idx="215">
                  <c:v>-0.105892</c:v>
                </c:pt>
                <c:pt idx="216">
                  <c:v>-0.34883999999999998</c:v>
                </c:pt>
                <c:pt idx="217">
                  <c:v>1.011736</c:v>
                </c:pt>
                <c:pt idx="218">
                  <c:v>-0.308423</c:v>
                </c:pt>
                <c:pt idx="219">
                  <c:v>2.222261</c:v>
                </c:pt>
                <c:pt idx="220">
                  <c:v>-0.24166099999999999</c:v>
                </c:pt>
                <c:pt idx="221">
                  <c:v>4.0293409999999996</c:v>
                </c:pt>
                <c:pt idx="222">
                  <c:v>-0.45105800000000001</c:v>
                </c:pt>
                <c:pt idx="223">
                  <c:v>-0.105892</c:v>
                </c:pt>
                <c:pt idx="224">
                  <c:v>-0.22325600000000001</c:v>
                </c:pt>
                <c:pt idx="225">
                  <c:v>-0.13173299999999999</c:v>
                </c:pt>
                <c:pt idx="226">
                  <c:v>-5.7884999999999999E-2</c:v>
                </c:pt>
                <c:pt idx="227">
                  <c:v>0.116342</c:v>
                </c:pt>
                <c:pt idx="228">
                  <c:v>-0.13806499999999999</c:v>
                </c:pt>
                <c:pt idx="229">
                  <c:v>0.27139000000000002</c:v>
                </c:pt>
                <c:pt idx="230">
                  <c:v>0.13254099999999999</c:v>
                </c:pt>
                <c:pt idx="231">
                  <c:v>0.21970700000000001</c:v>
                </c:pt>
                <c:pt idx="232">
                  <c:v>-2.9249000000000001E-2</c:v>
                </c:pt>
                <c:pt idx="233">
                  <c:v>0.57114900000000002</c:v>
                </c:pt>
                <c:pt idx="234">
                  <c:v>-0.30243399999999998</c:v>
                </c:pt>
                <c:pt idx="235">
                  <c:v>0.137015</c:v>
                </c:pt>
                <c:pt idx="236">
                  <c:v>-0.47514299999999998</c:v>
                </c:pt>
                <c:pt idx="237">
                  <c:v>4.3986999999999998E-2</c:v>
                </c:pt>
                <c:pt idx="238">
                  <c:v>-0.42871700000000001</c:v>
                </c:pt>
                <c:pt idx="239">
                  <c:v>0.36441899999999999</c:v>
                </c:pt>
                <c:pt idx="240">
                  <c:v>-0.44074400000000002</c:v>
                </c:pt>
                <c:pt idx="241">
                  <c:v>0.14390600000000001</c:v>
                </c:pt>
                <c:pt idx="242">
                  <c:v>-0.42871700000000001</c:v>
                </c:pt>
                <c:pt idx="243">
                  <c:v>0.48845699999999997</c:v>
                </c:pt>
                <c:pt idx="244">
                  <c:v>-0.55232800000000004</c:v>
                </c:pt>
                <c:pt idx="245">
                  <c:v>-6.2823000000000004E-2</c:v>
                </c:pt>
                <c:pt idx="246">
                  <c:v>-0.41869499999999998</c:v>
                </c:pt>
                <c:pt idx="247">
                  <c:v>0.116342</c:v>
                </c:pt>
                <c:pt idx="248">
                  <c:v>-0.51649500000000004</c:v>
                </c:pt>
                <c:pt idx="249">
                  <c:v>-0.37980900000000001</c:v>
                </c:pt>
                <c:pt idx="250">
                  <c:v>-0.41788500000000001</c:v>
                </c:pt>
                <c:pt idx="251">
                  <c:v>-0.52865499999999999</c:v>
                </c:pt>
                <c:pt idx="252">
                  <c:v>-0.48885200000000001</c:v>
                </c:pt>
                <c:pt idx="253">
                  <c:v>-0.441828</c:v>
                </c:pt>
                <c:pt idx="254">
                  <c:v>-0.18817800000000001</c:v>
                </c:pt>
                <c:pt idx="255">
                  <c:v>-0.33846300000000001</c:v>
                </c:pt>
                <c:pt idx="256">
                  <c:v>-0.31291400000000003</c:v>
                </c:pt>
                <c:pt idx="257">
                  <c:v>0</c:v>
                </c:pt>
                <c:pt idx="258">
                  <c:v>-0.33200000000000002</c:v>
                </c:pt>
                <c:pt idx="259">
                  <c:v>0</c:v>
                </c:pt>
                <c:pt idx="260">
                  <c:v>0</c:v>
                </c:pt>
                <c:pt idx="261">
                  <c:v>7.4996999999999994E-2</c:v>
                </c:pt>
                <c:pt idx="262">
                  <c:v>3.0627999999999999E-2</c:v>
                </c:pt>
                <c:pt idx="263">
                  <c:v>0</c:v>
                </c:pt>
                <c:pt idx="264">
                  <c:v>1.2139420000000001</c:v>
                </c:pt>
                <c:pt idx="265">
                  <c:v>-0.441828</c:v>
                </c:pt>
                <c:pt idx="266">
                  <c:v>0</c:v>
                </c:pt>
                <c:pt idx="267">
                  <c:v>-0.69679500000000005</c:v>
                </c:pt>
                <c:pt idx="268">
                  <c:v>0</c:v>
                </c:pt>
                <c:pt idx="269">
                  <c:v>-0.66923100000000002</c:v>
                </c:pt>
                <c:pt idx="270">
                  <c:v>-8.3885000000000001E-2</c:v>
                </c:pt>
                <c:pt idx="271">
                  <c:v>-0.36485899999999999</c:v>
                </c:pt>
                <c:pt idx="272">
                  <c:v>-0.61828499999999997</c:v>
                </c:pt>
                <c:pt idx="273">
                  <c:v>0</c:v>
                </c:pt>
                <c:pt idx="274">
                  <c:v>-0.77097099999999996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.34033099999999999</c:v>
                </c:pt>
                <c:pt idx="279">
                  <c:v>0</c:v>
                </c:pt>
                <c:pt idx="280">
                  <c:v>-0.312915</c:v>
                </c:pt>
                <c:pt idx="281">
                  <c:v>0</c:v>
                </c:pt>
                <c:pt idx="282">
                  <c:v>-0.69462800000000002</c:v>
                </c:pt>
                <c:pt idx="283">
                  <c:v>0</c:v>
                </c:pt>
                <c:pt idx="284">
                  <c:v>0</c:v>
                </c:pt>
                <c:pt idx="285">
                  <c:v>-0.11111</c:v>
                </c:pt>
                <c:pt idx="286">
                  <c:v>-0.84731400000000001</c:v>
                </c:pt>
                <c:pt idx="287">
                  <c:v>0</c:v>
                </c:pt>
                <c:pt idx="288">
                  <c:v>-0.82822799999999996</c:v>
                </c:pt>
                <c:pt idx="289">
                  <c:v>0</c:v>
                </c:pt>
                <c:pt idx="290">
                  <c:v>-0.38925700000000002</c:v>
                </c:pt>
                <c:pt idx="291">
                  <c:v>0</c:v>
                </c:pt>
                <c:pt idx="292">
                  <c:v>-0.457922</c:v>
                </c:pt>
                <c:pt idx="293">
                  <c:v>0</c:v>
                </c:pt>
                <c:pt idx="294">
                  <c:v>-0.62054600000000004</c:v>
                </c:pt>
                <c:pt idx="295">
                  <c:v>0</c:v>
                </c:pt>
                <c:pt idx="296">
                  <c:v>-0.67475300000000005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-0.77661199999999997</c:v>
                </c:pt>
                <c:pt idx="301">
                  <c:v>-0.73873599999999995</c:v>
                </c:pt>
                <c:pt idx="302">
                  <c:v>0</c:v>
                </c:pt>
                <c:pt idx="303">
                  <c:v>0</c:v>
                </c:pt>
                <c:pt idx="304">
                  <c:v>-0.44152799999999998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-0.77707800000000005</c:v>
                </c:pt>
                <c:pt idx="311">
                  <c:v>0</c:v>
                </c:pt>
                <c:pt idx="312">
                  <c:v>-0.88853899999999997</c:v>
                </c:pt>
                <c:pt idx="313">
                  <c:v>0</c:v>
                </c:pt>
                <c:pt idx="314">
                  <c:v>-0.77707800000000005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-0.67341899999999999</c:v>
                </c:pt>
                <c:pt idx="322">
                  <c:v>0</c:v>
                </c:pt>
                <c:pt idx="323">
                  <c:v>-0.73873500000000003</c:v>
                </c:pt>
                <c:pt idx="324">
                  <c:v>0</c:v>
                </c:pt>
                <c:pt idx="325">
                  <c:v>-0.47747099999999998</c:v>
                </c:pt>
                <c:pt idx="326">
                  <c:v>0</c:v>
                </c:pt>
                <c:pt idx="327">
                  <c:v>-0.60810299999999995</c:v>
                </c:pt>
                <c:pt idx="328">
                  <c:v>0</c:v>
                </c:pt>
                <c:pt idx="329">
                  <c:v>0</c:v>
                </c:pt>
                <c:pt idx="330">
                  <c:v>-0.794126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-0.33123200000000003</c:v>
                </c:pt>
                <c:pt idx="337">
                  <c:v>0</c:v>
                </c:pt>
                <c:pt idx="338">
                  <c:v>-0.66561599999999999</c:v>
                </c:pt>
                <c:pt idx="339">
                  <c:v>0</c:v>
                </c:pt>
                <c:pt idx="340">
                  <c:v>-0.77707700000000002</c:v>
                </c:pt>
                <c:pt idx="341">
                  <c:v>0</c:v>
                </c:pt>
                <c:pt idx="342">
                  <c:v>-0.72134600000000004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-0.84966200000000003</c:v>
                </c:pt>
                <c:pt idx="354">
                  <c:v>0</c:v>
                </c:pt>
                <c:pt idx="355">
                  <c:v>-0.69932499999999997</c:v>
                </c:pt>
                <c:pt idx="356">
                  <c:v>0</c:v>
                </c:pt>
                <c:pt idx="357">
                  <c:v>-0.63919000000000004</c:v>
                </c:pt>
                <c:pt idx="358">
                  <c:v>-0.12672600000000001</c:v>
                </c:pt>
                <c:pt idx="359">
                  <c:v>-0.57905499999999999</c:v>
                </c:pt>
                <c:pt idx="360">
                  <c:v>-0.75049299999999997</c:v>
                </c:pt>
                <c:pt idx="361">
                  <c:v>0</c:v>
                </c:pt>
                <c:pt idx="362">
                  <c:v>-0.81286899999999995</c:v>
                </c:pt>
                <c:pt idx="363">
                  <c:v>0</c:v>
                </c:pt>
                <c:pt idx="364">
                  <c:v>-0.93762299999999998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-0.62573900000000005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-0.66923100000000002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-0.457922</c:v>
                </c:pt>
                <c:pt idx="391">
                  <c:v>-0.27838000000000002</c:v>
                </c:pt>
                <c:pt idx="392">
                  <c:v>-0.29529899999999998</c:v>
                </c:pt>
                <c:pt idx="393">
                  <c:v>-0.51892000000000005</c:v>
                </c:pt>
                <c:pt idx="394">
                  <c:v>-0.18688399999999999</c:v>
                </c:pt>
                <c:pt idx="395">
                  <c:v>-0.48885200000000001</c:v>
                </c:pt>
                <c:pt idx="396">
                  <c:v>0</c:v>
                </c:pt>
                <c:pt idx="397">
                  <c:v>-0.548987</c:v>
                </c:pt>
                <c:pt idx="398">
                  <c:v>0</c:v>
                </c:pt>
                <c:pt idx="399">
                  <c:v>-0.18817700000000001</c:v>
                </c:pt>
                <c:pt idx="400">
                  <c:v>0</c:v>
                </c:pt>
                <c:pt idx="401">
                  <c:v>1.1648590000000001</c:v>
                </c:pt>
                <c:pt idx="402">
                  <c:v>-0.53923399999999999</c:v>
                </c:pt>
                <c:pt idx="403">
                  <c:v>1.1047229999999999</c:v>
                </c:pt>
                <c:pt idx="404">
                  <c:v>-0.52568199999999998</c:v>
                </c:pt>
                <c:pt idx="405">
                  <c:v>0.20269899999999999</c:v>
                </c:pt>
                <c:pt idx="406">
                  <c:v>-0.75993699999999997</c:v>
                </c:pt>
                <c:pt idx="407">
                  <c:v>0.62364399999999998</c:v>
                </c:pt>
                <c:pt idx="408">
                  <c:v>-0.67475300000000005</c:v>
                </c:pt>
                <c:pt idx="409">
                  <c:v>0.924319</c:v>
                </c:pt>
                <c:pt idx="410">
                  <c:v>-0.552786</c:v>
                </c:pt>
                <c:pt idx="411">
                  <c:v>0</c:v>
                </c:pt>
                <c:pt idx="412">
                  <c:v>-0.65307000000000004</c:v>
                </c:pt>
                <c:pt idx="413">
                  <c:v>0</c:v>
                </c:pt>
                <c:pt idx="414">
                  <c:v>-7.8467999999999996E-2</c:v>
                </c:pt>
                <c:pt idx="415">
                  <c:v>0.86418399999999995</c:v>
                </c:pt>
                <c:pt idx="416">
                  <c:v>-7.8467999999999996E-2</c:v>
                </c:pt>
                <c:pt idx="417">
                  <c:v>0.112496</c:v>
                </c:pt>
                <c:pt idx="418">
                  <c:v>0.165466</c:v>
                </c:pt>
                <c:pt idx="419">
                  <c:v>-0.41869499999999998</c:v>
                </c:pt>
                <c:pt idx="420">
                  <c:v>0.62623099999999998</c:v>
                </c:pt>
                <c:pt idx="421">
                  <c:v>-0.37860500000000002</c:v>
                </c:pt>
                <c:pt idx="422">
                  <c:v>-7.8467999999999996E-2</c:v>
                </c:pt>
                <c:pt idx="423">
                  <c:v>-0.298425</c:v>
                </c:pt>
                <c:pt idx="424">
                  <c:v>-0.23025000000000001</c:v>
                </c:pt>
                <c:pt idx="425">
                  <c:v>-0.31846999999999998</c:v>
                </c:pt>
                <c:pt idx="426">
                  <c:v>-0.21940799999999999</c:v>
                </c:pt>
                <c:pt idx="427">
                  <c:v>1.7361409999999999</c:v>
                </c:pt>
                <c:pt idx="428">
                  <c:v>-0.105572</c:v>
                </c:pt>
                <c:pt idx="429">
                  <c:v>2.0668829999999998</c:v>
                </c:pt>
                <c:pt idx="430">
                  <c:v>4.8016000000000003E-2</c:v>
                </c:pt>
                <c:pt idx="431">
                  <c:v>0.10820100000000001</c:v>
                </c:pt>
                <c:pt idx="432">
                  <c:v>-5.1364E-2</c:v>
                </c:pt>
                <c:pt idx="433">
                  <c:v>-0.21824499999999999</c:v>
                </c:pt>
                <c:pt idx="434">
                  <c:v>0.13061800000000001</c:v>
                </c:pt>
                <c:pt idx="435">
                  <c:v>-0.40992499999999998</c:v>
                </c:pt>
                <c:pt idx="436">
                  <c:v>-0.43420599999999998</c:v>
                </c:pt>
                <c:pt idx="437">
                  <c:v>-0.35054200000000002</c:v>
                </c:pt>
                <c:pt idx="438">
                  <c:v>-0.457922</c:v>
                </c:pt>
                <c:pt idx="439">
                  <c:v>-0.39489099999999999</c:v>
                </c:pt>
                <c:pt idx="440">
                  <c:v>-0.36499500000000001</c:v>
                </c:pt>
                <c:pt idx="441">
                  <c:v>-0.193189</c:v>
                </c:pt>
                <c:pt idx="442">
                  <c:v>-0.241091</c:v>
                </c:pt>
                <c:pt idx="443">
                  <c:v>-0.16312099999999999</c:v>
                </c:pt>
                <c:pt idx="444">
                  <c:v>0.40165699999999999</c:v>
                </c:pt>
                <c:pt idx="445">
                  <c:v>-6.3527E-2</c:v>
                </c:pt>
                <c:pt idx="446">
                  <c:v>0.32808900000000002</c:v>
                </c:pt>
                <c:pt idx="447">
                  <c:v>-7.9394999999999993E-2</c:v>
                </c:pt>
                <c:pt idx="448">
                  <c:v>0.37326199999999998</c:v>
                </c:pt>
                <c:pt idx="449">
                  <c:v>7.3570999999999998E-2</c:v>
                </c:pt>
                <c:pt idx="450">
                  <c:v>-0.197048</c:v>
                </c:pt>
                <c:pt idx="451">
                  <c:v>0.30328100000000002</c:v>
                </c:pt>
                <c:pt idx="452">
                  <c:v>-0.215582</c:v>
                </c:pt>
                <c:pt idx="453">
                  <c:v>1.001878</c:v>
                </c:pt>
                <c:pt idx="454">
                  <c:v>-0.16881399999999999</c:v>
                </c:pt>
                <c:pt idx="455">
                  <c:v>1.3230029999999999</c:v>
                </c:pt>
                <c:pt idx="456">
                  <c:v>0.246449</c:v>
                </c:pt>
                <c:pt idx="457">
                  <c:v>0.75588500000000003</c:v>
                </c:pt>
                <c:pt idx="458">
                  <c:v>0.14006299999999999</c:v>
                </c:pt>
                <c:pt idx="459">
                  <c:v>0.77497099999999997</c:v>
                </c:pt>
                <c:pt idx="460">
                  <c:v>0.32083600000000001</c:v>
                </c:pt>
                <c:pt idx="461">
                  <c:v>0.31170799999999999</c:v>
                </c:pt>
                <c:pt idx="462">
                  <c:v>0.41390100000000002</c:v>
                </c:pt>
                <c:pt idx="463">
                  <c:v>0.58411299999999999</c:v>
                </c:pt>
                <c:pt idx="464">
                  <c:v>5.8120999999999999E-2</c:v>
                </c:pt>
                <c:pt idx="465">
                  <c:v>0.55548500000000001</c:v>
                </c:pt>
                <c:pt idx="466">
                  <c:v>-0.14544699999999999</c:v>
                </c:pt>
                <c:pt idx="467">
                  <c:v>0.32327499999999998</c:v>
                </c:pt>
                <c:pt idx="468">
                  <c:v>-5.1196999999999999E-2</c:v>
                </c:pt>
                <c:pt idx="469">
                  <c:v>0.79405599999999998</c:v>
                </c:pt>
                <c:pt idx="470">
                  <c:v>-2.6789E-2</c:v>
                </c:pt>
                <c:pt idx="471">
                  <c:v>1.2292099999999999</c:v>
                </c:pt>
                <c:pt idx="472">
                  <c:v>-8.5573999999999997E-2</c:v>
                </c:pt>
                <c:pt idx="473">
                  <c:v>0.428701</c:v>
                </c:pt>
                <c:pt idx="474">
                  <c:v>-8.5573999999999997E-2</c:v>
                </c:pt>
                <c:pt idx="475">
                  <c:v>-8.3885000000000001E-2</c:v>
                </c:pt>
                <c:pt idx="476">
                  <c:v>4.5057E-2</c:v>
                </c:pt>
                <c:pt idx="477">
                  <c:v>-0.35108499999999998</c:v>
                </c:pt>
                <c:pt idx="478">
                  <c:v>0.19578699999999999</c:v>
                </c:pt>
                <c:pt idx="479">
                  <c:v>-0.37289800000000001</c:v>
                </c:pt>
                <c:pt idx="480">
                  <c:v>4.5057E-2</c:v>
                </c:pt>
                <c:pt idx="481">
                  <c:v>1.7904E-2</c:v>
                </c:pt>
                <c:pt idx="482">
                  <c:v>-0.116311</c:v>
                </c:pt>
                <c:pt idx="483">
                  <c:v>1.7904E-2</c:v>
                </c:pt>
                <c:pt idx="484">
                  <c:v>0.23374800000000001</c:v>
                </c:pt>
                <c:pt idx="485">
                  <c:v>0.25202200000000002</c:v>
                </c:pt>
                <c:pt idx="486">
                  <c:v>-8.3820000000000006E-3</c:v>
                </c:pt>
                <c:pt idx="487">
                  <c:v>0.179843</c:v>
                </c:pt>
                <c:pt idx="488">
                  <c:v>9.4299999999999991E-3</c:v>
                </c:pt>
                <c:pt idx="489">
                  <c:v>1.7904E-2</c:v>
                </c:pt>
                <c:pt idx="490">
                  <c:v>4.5057E-2</c:v>
                </c:pt>
                <c:pt idx="491">
                  <c:v>-0.262019</c:v>
                </c:pt>
                <c:pt idx="492">
                  <c:v>-0.118232</c:v>
                </c:pt>
                <c:pt idx="493">
                  <c:v>-0.30443100000000001</c:v>
                </c:pt>
                <c:pt idx="494">
                  <c:v>0.43695400000000001</c:v>
                </c:pt>
                <c:pt idx="495">
                  <c:v>-0.52285700000000002</c:v>
                </c:pt>
                <c:pt idx="496">
                  <c:v>0.380969</c:v>
                </c:pt>
                <c:pt idx="497">
                  <c:v>-0.380774</c:v>
                </c:pt>
                <c:pt idx="498">
                  <c:v>0.17569000000000001</c:v>
                </c:pt>
                <c:pt idx="499">
                  <c:v>-0.33200000000000002</c:v>
                </c:pt>
                <c:pt idx="500">
                  <c:v>-0.11169999999999999</c:v>
                </c:pt>
                <c:pt idx="501">
                  <c:v>-6.8616999999999997E-2</c:v>
                </c:pt>
                <c:pt idx="502">
                  <c:v>-0.346837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92-4723-A6DD-F9006463A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v_den_pozitivity_7dni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3.1019775099999998E-3</c:v>
                </c:pt>
                <c:pt idx="1">
                  <c:v>3.1824611030000002E-3</c:v>
                </c:pt>
                <c:pt idx="2">
                  <c:v>3.4887408810000001E-3</c:v>
                </c:pt>
                <c:pt idx="3">
                  <c:v>4.0404040399999999E-3</c:v>
                </c:pt>
                <c:pt idx="4">
                  <c:v>4.1107152639999998E-3</c:v>
                </c:pt>
                <c:pt idx="5">
                  <c:v>4.4926004220000003E-3</c:v>
                </c:pt>
                <c:pt idx="6">
                  <c:v>4.4020542920000004E-3</c:v>
                </c:pt>
                <c:pt idx="7">
                  <c:v>3.155901535E-3</c:v>
                </c:pt>
                <c:pt idx="8">
                  <c:v>3.0383592850000002E-3</c:v>
                </c:pt>
                <c:pt idx="9">
                  <c:v>3.1804486099999999E-3</c:v>
                </c:pt>
                <c:pt idx="10">
                  <c:v>3.0216044710000001E-3</c:v>
                </c:pt>
                <c:pt idx="11">
                  <c:v>2.3523261890000002E-3</c:v>
                </c:pt>
                <c:pt idx="12">
                  <c:v>2.3652433710000002E-3</c:v>
                </c:pt>
                <c:pt idx="13">
                  <c:v>2.117647058E-3</c:v>
                </c:pt>
                <c:pt idx="14">
                  <c:v>2.995008319E-3</c:v>
                </c:pt>
                <c:pt idx="15">
                  <c:v>2.6026026020000001E-3</c:v>
                </c:pt>
                <c:pt idx="16">
                  <c:v>2.5571087620000002E-3</c:v>
                </c:pt>
                <c:pt idx="17">
                  <c:v>2.41974512E-3</c:v>
                </c:pt>
                <c:pt idx="18">
                  <c:v>2.4794669139999999E-3</c:v>
                </c:pt>
                <c:pt idx="19">
                  <c:v>2.9009848079999999E-3</c:v>
                </c:pt>
                <c:pt idx="20">
                  <c:v>3.247711839E-3</c:v>
                </c:pt>
                <c:pt idx="21">
                  <c:v>2.9455080999999999E-3</c:v>
                </c:pt>
                <c:pt idx="22">
                  <c:v>3.6726491579999999E-3</c:v>
                </c:pt>
                <c:pt idx="23">
                  <c:v>4.1514213340000002E-3</c:v>
                </c:pt>
                <c:pt idx="24">
                  <c:v>4.2527742699999998E-3</c:v>
                </c:pt>
                <c:pt idx="25">
                  <c:v>4.4044044039999999E-3</c:v>
                </c:pt>
                <c:pt idx="26">
                  <c:v>4.1813667840000001E-3</c:v>
                </c:pt>
                <c:pt idx="27">
                  <c:v>4.4332693700000004E-3</c:v>
                </c:pt>
                <c:pt idx="28">
                  <c:v>4.8338779950000002E-3</c:v>
                </c:pt>
                <c:pt idx="29">
                  <c:v>4.5727724060000002E-3</c:v>
                </c:pt>
                <c:pt idx="30">
                  <c:v>4.2753850989999996E-3</c:v>
                </c:pt>
                <c:pt idx="31">
                  <c:v>4.595643091E-3</c:v>
                </c:pt>
                <c:pt idx="32">
                  <c:v>4.6745152350000001E-3</c:v>
                </c:pt>
                <c:pt idx="33">
                  <c:v>4.7021943569999997E-3</c:v>
                </c:pt>
                <c:pt idx="34">
                  <c:v>5.6350898560000003E-3</c:v>
                </c:pt>
                <c:pt idx="35">
                  <c:v>5.4969811659999999E-3</c:v>
                </c:pt>
                <c:pt idx="36">
                  <c:v>5.6086161339999998E-3</c:v>
                </c:pt>
                <c:pt idx="37">
                  <c:v>5.5480072459999996E-3</c:v>
                </c:pt>
                <c:pt idx="38">
                  <c:v>5.1725789449999999E-3</c:v>
                </c:pt>
                <c:pt idx="39">
                  <c:v>5.2092689060000003E-3</c:v>
                </c:pt>
                <c:pt idx="40">
                  <c:v>5.3367950379999999E-3</c:v>
                </c:pt>
                <c:pt idx="41">
                  <c:v>4.8809058960000004E-3</c:v>
                </c:pt>
                <c:pt idx="42">
                  <c:v>4.4813695869999996E-3</c:v>
                </c:pt>
                <c:pt idx="43">
                  <c:v>4.1659078489999996E-3</c:v>
                </c:pt>
                <c:pt idx="44">
                  <c:v>4.0407808029999997E-3</c:v>
                </c:pt>
                <c:pt idx="45">
                  <c:v>4.0595932520000001E-3</c:v>
                </c:pt>
                <c:pt idx="46">
                  <c:v>3.6300620209999998E-3</c:v>
                </c:pt>
                <c:pt idx="47">
                  <c:v>3.7164244820000001E-3</c:v>
                </c:pt>
                <c:pt idx="48">
                  <c:v>3.8978627820000001E-3</c:v>
                </c:pt>
                <c:pt idx="49">
                  <c:v>3.8157833250000001E-3</c:v>
                </c:pt>
                <c:pt idx="50">
                  <c:v>3.748168997E-3</c:v>
                </c:pt>
                <c:pt idx="51">
                  <c:v>3.712804449E-3</c:v>
                </c:pt>
                <c:pt idx="52">
                  <c:v>3.464941441E-3</c:v>
                </c:pt>
                <c:pt idx="53">
                  <c:v>3.671985556E-3</c:v>
                </c:pt>
                <c:pt idx="54">
                  <c:v>3.7048911679999998E-3</c:v>
                </c:pt>
                <c:pt idx="55">
                  <c:v>3.807517822E-3</c:v>
                </c:pt>
                <c:pt idx="56">
                  <c:v>3.9849039840000001E-3</c:v>
                </c:pt>
                <c:pt idx="57">
                  <c:v>3.9388848520000002E-3</c:v>
                </c:pt>
                <c:pt idx="58">
                  <c:v>4.0925185080000004E-3</c:v>
                </c:pt>
                <c:pt idx="59">
                  <c:v>4.2768091479999997E-3</c:v>
                </c:pt>
                <c:pt idx="60">
                  <c:v>4.3416885129999999E-3</c:v>
                </c:pt>
                <c:pt idx="61">
                  <c:v>4.2369838419999998E-3</c:v>
                </c:pt>
                <c:pt idx="62">
                  <c:v>4.4232773449999997E-3</c:v>
                </c:pt>
                <c:pt idx="63">
                  <c:v>4.3956879180000004E-3</c:v>
                </c:pt>
                <c:pt idx="64">
                  <c:v>4.357938548E-3</c:v>
                </c:pt>
                <c:pt idx="65">
                  <c:v>4.3479853919999997E-3</c:v>
                </c:pt>
                <c:pt idx="66">
                  <c:v>4.5853744090000002E-3</c:v>
                </c:pt>
                <c:pt idx="67">
                  <c:v>4.6904561689999997E-3</c:v>
                </c:pt>
                <c:pt idx="68">
                  <c:v>4.7559175639999996E-3</c:v>
                </c:pt>
                <c:pt idx="69">
                  <c:v>4.4441903990000003E-3</c:v>
                </c:pt>
                <c:pt idx="70">
                  <c:v>4.630597795E-3</c:v>
                </c:pt>
                <c:pt idx="71">
                  <c:v>5.1048404520000002E-3</c:v>
                </c:pt>
                <c:pt idx="72">
                  <c:v>5.1482401050000001E-3</c:v>
                </c:pt>
                <c:pt idx="73">
                  <c:v>5.0011860520000001E-3</c:v>
                </c:pt>
                <c:pt idx="74">
                  <c:v>5.1632917570000004E-3</c:v>
                </c:pt>
                <c:pt idx="75">
                  <c:v>5.1827183900000004E-3</c:v>
                </c:pt>
                <c:pt idx="76">
                  <c:v>5.4122961999999997E-3</c:v>
                </c:pt>
                <c:pt idx="77">
                  <c:v>5.3631396920000001E-3</c:v>
                </c:pt>
                <c:pt idx="78">
                  <c:v>5.5073019699999996E-3</c:v>
                </c:pt>
                <c:pt idx="79">
                  <c:v>5.8416208359999998E-3</c:v>
                </c:pt>
                <c:pt idx="80">
                  <c:v>5.7536370139999998E-3</c:v>
                </c:pt>
                <c:pt idx="81">
                  <c:v>6.023540981E-3</c:v>
                </c:pt>
                <c:pt idx="82">
                  <c:v>6.095285483E-3</c:v>
                </c:pt>
                <c:pt idx="83">
                  <c:v>5.3668412760000004E-3</c:v>
                </c:pt>
                <c:pt idx="84">
                  <c:v>5.2853476720000001E-3</c:v>
                </c:pt>
                <c:pt idx="85">
                  <c:v>5.2259930939999996E-3</c:v>
                </c:pt>
                <c:pt idx="86">
                  <c:v>5.2817493690000003E-3</c:v>
                </c:pt>
                <c:pt idx="87">
                  <c:v>5.6379717390000004E-3</c:v>
                </c:pt>
                <c:pt idx="88">
                  <c:v>5.2771395739999996E-3</c:v>
                </c:pt>
                <c:pt idx="89">
                  <c:v>5.2147910430000001E-3</c:v>
                </c:pt>
                <c:pt idx="90">
                  <c:v>5.6359195939999999E-3</c:v>
                </c:pt>
                <c:pt idx="91">
                  <c:v>5.6682347490000003E-3</c:v>
                </c:pt>
                <c:pt idx="92">
                  <c:v>5.710709536E-3</c:v>
                </c:pt>
                <c:pt idx="93">
                  <c:v>5.8143982859999999E-3</c:v>
                </c:pt>
                <c:pt idx="94">
                  <c:v>5.9411185950000002E-3</c:v>
                </c:pt>
                <c:pt idx="95">
                  <c:v>5.725684311E-3</c:v>
                </c:pt>
                <c:pt idx="96">
                  <c:v>5.8652108149999998E-3</c:v>
                </c:pt>
                <c:pt idx="97">
                  <c:v>5.6139340719999998E-3</c:v>
                </c:pt>
                <c:pt idx="98">
                  <c:v>5.7618662819999998E-3</c:v>
                </c:pt>
                <c:pt idx="99">
                  <c:v>5.2772189049999996E-3</c:v>
                </c:pt>
                <c:pt idx="100">
                  <c:v>4.94155659E-3</c:v>
                </c:pt>
                <c:pt idx="101">
                  <c:v>4.3594090570000001E-3</c:v>
                </c:pt>
                <c:pt idx="102">
                  <c:v>4.4645532449999999E-3</c:v>
                </c:pt>
                <c:pt idx="103">
                  <c:v>4.4074722699999997E-3</c:v>
                </c:pt>
                <c:pt idx="104">
                  <c:v>4.6323926450000004E-3</c:v>
                </c:pt>
                <c:pt idx="105">
                  <c:v>4.1885941350000002E-3</c:v>
                </c:pt>
                <c:pt idx="106">
                  <c:v>3.9656142859999998E-3</c:v>
                </c:pt>
                <c:pt idx="107">
                  <c:v>3.7231176209999999E-3</c:v>
                </c:pt>
                <c:pt idx="108">
                  <c:v>3.6351087079999999E-3</c:v>
                </c:pt>
                <c:pt idx="109">
                  <c:v>3.433685563E-3</c:v>
                </c:pt>
                <c:pt idx="110">
                  <c:v>3.3941268709999999E-3</c:v>
                </c:pt>
                <c:pt idx="111">
                  <c:v>3.1012465790000001E-3</c:v>
                </c:pt>
                <c:pt idx="112">
                  <c:v>2.884431709E-3</c:v>
                </c:pt>
                <c:pt idx="113">
                  <c:v>2.9186553579999999E-3</c:v>
                </c:pt>
                <c:pt idx="114">
                  <c:v>2.9449191049999998E-3</c:v>
                </c:pt>
                <c:pt idx="115">
                  <c:v>3.37865509E-3</c:v>
                </c:pt>
                <c:pt idx="116">
                  <c:v>3.6313629420000001E-3</c:v>
                </c:pt>
                <c:pt idx="117">
                  <c:v>3.9000895099999999E-3</c:v>
                </c:pt>
                <c:pt idx="118">
                  <c:v>4.1868664599999999E-3</c:v>
                </c:pt>
                <c:pt idx="119">
                  <c:v>4.3071599769999996E-3</c:v>
                </c:pt>
                <c:pt idx="120">
                  <c:v>4.1770808359999998E-3</c:v>
                </c:pt>
                <c:pt idx="121">
                  <c:v>3.8747030869999998E-3</c:v>
                </c:pt>
                <c:pt idx="122">
                  <c:v>3.7719233870000001E-3</c:v>
                </c:pt>
                <c:pt idx="123">
                  <c:v>3.7665320790000001E-3</c:v>
                </c:pt>
                <c:pt idx="124">
                  <c:v>3.6654769939999999E-3</c:v>
                </c:pt>
                <c:pt idx="125">
                  <c:v>3.3518354649999999E-3</c:v>
                </c:pt>
                <c:pt idx="126">
                  <c:v>3.3507714720000001E-3</c:v>
                </c:pt>
                <c:pt idx="127">
                  <c:v>3.2927533179999999E-3</c:v>
                </c:pt>
                <c:pt idx="128">
                  <c:v>3.2253504829999999E-3</c:v>
                </c:pt>
                <c:pt idx="129">
                  <c:v>3.0862433560000001E-3</c:v>
                </c:pt>
                <c:pt idx="130">
                  <c:v>3.0675183880000002E-3</c:v>
                </c:pt>
                <c:pt idx="131">
                  <c:v>2.9999325850000001E-3</c:v>
                </c:pt>
                <c:pt idx="132">
                  <c:v>3.0669101459999998E-3</c:v>
                </c:pt>
                <c:pt idx="133">
                  <c:v>3.0065077569999999E-3</c:v>
                </c:pt>
                <c:pt idx="134">
                  <c:v>3.1543549549999999E-3</c:v>
                </c:pt>
                <c:pt idx="135">
                  <c:v>3.6372007359999998E-3</c:v>
                </c:pt>
                <c:pt idx="136">
                  <c:v>3.8120682910000002E-3</c:v>
                </c:pt>
                <c:pt idx="137">
                  <c:v>3.6786825499999999E-3</c:v>
                </c:pt>
                <c:pt idx="138">
                  <c:v>3.6458886409999999E-3</c:v>
                </c:pt>
                <c:pt idx="139">
                  <c:v>3.8148432080000001E-3</c:v>
                </c:pt>
                <c:pt idx="140">
                  <c:v>4.0115682430000004E-3</c:v>
                </c:pt>
                <c:pt idx="141">
                  <c:v>4.2642666240000002E-3</c:v>
                </c:pt>
                <c:pt idx="142">
                  <c:v>3.7949533079999999E-3</c:v>
                </c:pt>
                <c:pt idx="143">
                  <c:v>3.800129366E-3</c:v>
                </c:pt>
                <c:pt idx="144">
                  <c:v>4.0027235020000003E-3</c:v>
                </c:pt>
                <c:pt idx="145">
                  <c:v>3.9817503110000001E-3</c:v>
                </c:pt>
                <c:pt idx="146">
                  <c:v>3.9771890319999998E-3</c:v>
                </c:pt>
                <c:pt idx="147">
                  <c:v>4.0981866049999999E-3</c:v>
                </c:pt>
                <c:pt idx="148">
                  <c:v>3.777247884E-3</c:v>
                </c:pt>
                <c:pt idx="149">
                  <c:v>3.9286983049999996E-3</c:v>
                </c:pt>
                <c:pt idx="150">
                  <c:v>3.9420705349999998E-3</c:v>
                </c:pt>
                <c:pt idx="151">
                  <c:v>3.9994921270000003E-3</c:v>
                </c:pt>
                <c:pt idx="152">
                  <c:v>4.068811401E-3</c:v>
                </c:pt>
                <c:pt idx="153">
                  <c:v>4.1935754419999997E-3</c:v>
                </c:pt>
                <c:pt idx="154">
                  <c:v>3.861165904E-3</c:v>
                </c:pt>
                <c:pt idx="155">
                  <c:v>3.8522221989999998E-3</c:v>
                </c:pt>
                <c:pt idx="156">
                  <c:v>4.2537527089999997E-3</c:v>
                </c:pt>
                <c:pt idx="157">
                  <c:v>4.2653836820000001E-3</c:v>
                </c:pt>
                <c:pt idx="158">
                  <c:v>4.1807684649999999E-3</c:v>
                </c:pt>
                <c:pt idx="159">
                  <c:v>4.0712874439999998E-3</c:v>
                </c:pt>
                <c:pt idx="160">
                  <c:v>3.8295268359999999E-3</c:v>
                </c:pt>
                <c:pt idx="161">
                  <c:v>4.2089004730000001E-3</c:v>
                </c:pt>
                <c:pt idx="162">
                  <c:v>4.3923298689999999E-3</c:v>
                </c:pt>
                <c:pt idx="163">
                  <c:v>3.9543726229999999E-3</c:v>
                </c:pt>
                <c:pt idx="164">
                  <c:v>3.8065298080000001E-3</c:v>
                </c:pt>
                <c:pt idx="165">
                  <c:v>3.5198674870000001E-3</c:v>
                </c:pt>
                <c:pt idx="166">
                  <c:v>3.71580618E-3</c:v>
                </c:pt>
                <c:pt idx="167">
                  <c:v>3.6033729029999999E-3</c:v>
                </c:pt>
                <c:pt idx="168">
                  <c:v>3.439139513E-3</c:v>
                </c:pt>
                <c:pt idx="169">
                  <c:v>3.5798705079999999E-3</c:v>
                </c:pt>
                <c:pt idx="170">
                  <c:v>3.602836414E-3</c:v>
                </c:pt>
                <c:pt idx="171">
                  <c:v>3.4004502440000001E-3</c:v>
                </c:pt>
                <c:pt idx="172">
                  <c:v>3.7296824390000002E-3</c:v>
                </c:pt>
                <c:pt idx="173">
                  <c:v>3.7682950720000002E-3</c:v>
                </c:pt>
                <c:pt idx="174">
                  <c:v>3.7754479709999999E-3</c:v>
                </c:pt>
                <c:pt idx="175">
                  <c:v>3.5640488700000002E-3</c:v>
                </c:pt>
                <c:pt idx="176">
                  <c:v>3.3878863050000002E-3</c:v>
                </c:pt>
                <c:pt idx="177">
                  <c:v>3.3007115150000001E-3</c:v>
                </c:pt>
                <c:pt idx="178">
                  <c:v>3.2565284169999999E-3</c:v>
                </c:pt>
                <c:pt idx="179">
                  <c:v>3.055953045E-3</c:v>
                </c:pt>
                <c:pt idx="180">
                  <c:v>3.0728074610000002E-3</c:v>
                </c:pt>
                <c:pt idx="181">
                  <c:v>3.0630244079999998E-3</c:v>
                </c:pt>
                <c:pt idx="182">
                  <c:v>3.040552484E-3</c:v>
                </c:pt>
                <c:pt idx="183">
                  <c:v>2.9549800099999998E-3</c:v>
                </c:pt>
                <c:pt idx="184">
                  <c:v>2.9064718210000001E-3</c:v>
                </c:pt>
                <c:pt idx="185">
                  <c:v>3.2102349840000001E-3</c:v>
                </c:pt>
                <c:pt idx="186">
                  <c:v>3.2559275320000001E-3</c:v>
                </c:pt>
                <c:pt idx="187">
                  <c:v>3.0682031099999998E-3</c:v>
                </c:pt>
                <c:pt idx="188">
                  <c:v>3.3564261820000002E-3</c:v>
                </c:pt>
                <c:pt idx="189">
                  <c:v>3.2689666900000002E-3</c:v>
                </c:pt>
                <c:pt idx="190">
                  <c:v>3.2722192259999998E-3</c:v>
                </c:pt>
                <c:pt idx="191">
                  <c:v>3.5553509309999998E-3</c:v>
                </c:pt>
                <c:pt idx="192">
                  <c:v>3.6250000000000002E-3</c:v>
                </c:pt>
                <c:pt idx="193">
                  <c:v>3.5811469929999998E-3</c:v>
                </c:pt>
                <c:pt idx="194">
                  <c:v>3.6629562510000001E-3</c:v>
                </c:pt>
                <c:pt idx="195">
                  <c:v>3.5481657010000001E-3</c:v>
                </c:pt>
                <c:pt idx="196">
                  <c:v>3.5177865610000001E-3</c:v>
                </c:pt>
                <c:pt idx="197">
                  <c:v>3.678925208E-3</c:v>
                </c:pt>
                <c:pt idx="198">
                  <c:v>3.4881006330000001E-3</c:v>
                </c:pt>
                <c:pt idx="199">
                  <c:v>3.3001835070000001E-3</c:v>
                </c:pt>
                <c:pt idx="200">
                  <c:v>3.4076452409999998E-3</c:v>
                </c:pt>
                <c:pt idx="201">
                  <c:v>3.3191450119999999E-3</c:v>
                </c:pt>
                <c:pt idx="202">
                  <c:v>3.3658754459999999E-3</c:v>
                </c:pt>
                <c:pt idx="203">
                  <c:v>3.8410573809999999E-3</c:v>
                </c:pt>
                <c:pt idx="204">
                  <c:v>3.827954702E-3</c:v>
                </c:pt>
                <c:pt idx="205">
                  <c:v>4.1170662639999998E-3</c:v>
                </c:pt>
                <c:pt idx="206">
                  <c:v>4.1417484370000002E-3</c:v>
                </c:pt>
                <c:pt idx="207">
                  <c:v>4.1673313120000003E-3</c:v>
                </c:pt>
                <c:pt idx="208">
                  <c:v>4.3429079299999998E-3</c:v>
                </c:pt>
                <c:pt idx="209">
                  <c:v>4.315352697E-3</c:v>
                </c:pt>
                <c:pt idx="210">
                  <c:v>4.055998953E-3</c:v>
                </c:pt>
                <c:pt idx="211">
                  <c:v>4.1790909909999998E-3</c:v>
                </c:pt>
                <c:pt idx="212">
                  <c:v>4.1568811639999996E-3</c:v>
                </c:pt>
                <c:pt idx="213">
                  <c:v>4.4189472049999999E-3</c:v>
                </c:pt>
                <c:pt idx="214">
                  <c:v>4.6370366350000003E-3</c:v>
                </c:pt>
                <c:pt idx="215">
                  <c:v>4.6679798169999998E-3</c:v>
                </c:pt>
                <c:pt idx="216">
                  <c:v>4.5970452089999997E-3</c:v>
                </c:pt>
                <c:pt idx="217">
                  <c:v>5.4046465920000002E-3</c:v>
                </c:pt>
                <c:pt idx="218">
                  <c:v>5.4453520030000001E-3</c:v>
                </c:pt>
                <c:pt idx="219">
                  <c:v>5.4170784370000001E-3</c:v>
                </c:pt>
                <c:pt idx="220">
                  <c:v>5.2635297439999999E-3</c:v>
                </c:pt>
                <c:pt idx="221">
                  <c:v>5.4290347590000001E-3</c:v>
                </c:pt>
                <c:pt idx="222">
                  <c:v>5.5065276050000004E-3</c:v>
                </c:pt>
                <c:pt idx="223">
                  <c:v>5.7927339689999996E-3</c:v>
                </c:pt>
                <c:pt idx="224">
                  <c:v>5.2812702300000002E-3</c:v>
                </c:pt>
                <c:pt idx="225">
                  <c:v>5.6516724330000004E-3</c:v>
                </c:pt>
                <c:pt idx="226">
                  <c:v>5.8769589860000002E-3</c:v>
                </c:pt>
                <c:pt idx="227">
                  <c:v>6.0313630880000002E-3</c:v>
                </c:pt>
                <c:pt idx="228">
                  <c:v>5.9427834329999997E-3</c:v>
                </c:pt>
                <c:pt idx="229">
                  <c:v>5.7055385470000004E-3</c:v>
                </c:pt>
                <c:pt idx="230">
                  <c:v>5.3725098649999997E-3</c:v>
                </c:pt>
                <c:pt idx="231">
                  <c:v>5.9689412710000004E-3</c:v>
                </c:pt>
                <c:pt idx="232">
                  <c:v>5.9458037349999996E-3</c:v>
                </c:pt>
                <c:pt idx="233">
                  <c:v>6.2088121560000004E-3</c:v>
                </c:pt>
                <c:pt idx="234">
                  <c:v>6.5366843230000001E-3</c:v>
                </c:pt>
                <c:pt idx="235">
                  <c:v>6.2799725960000002E-3</c:v>
                </c:pt>
                <c:pt idx="236">
                  <c:v>6.2828421290000002E-3</c:v>
                </c:pt>
                <c:pt idx="237">
                  <c:v>6.027331861E-3</c:v>
                </c:pt>
                <c:pt idx="238">
                  <c:v>5.8678196410000003E-3</c:v>
                </c:pt>
                <c:pt idx="239">
                  <c:v>6.2953071340000003E-3</c:v>
                </c:pt>
                <c:pt idx="240">
                  <c:v>6.0677236239999998E-3</c:v>
                </c:pt>
                <c:pt idx="241">
                  <c:v>5.5723397110000001E-3</c:v>
                </c:pt>
                <c:pt idx="242">
                  <c:v>5.150447275E-3</c:v>
                </c:pt>
                <c:pt idx="243">
                  <c:v>4.9871857030000001E-3</c:v>
                </c:pt>
                <c:pt idx="244">
                  <c:v>4.7635975819999999E-3</c:v>
                </c:pt>
                <c:pt idx="245">
                  <c:v>5.1378919530000004E-3</c:v>
                </c:pt>
                <c:pt idx="246">
                  <c:v>4.5955154099999998E-3</c:v>
                </c:pt>
                <c:pt idx="247">
                  <c:v>4.5127862269999999E-3</c:v>
                </c:pt>
                <c:pt idx="248">
                  <c:v>4.9868766400000004E-3</c:v>
                </c:pt>
                <c:pt idx="249">
                  <c:v>5.4609993619999997E-3</c:v>
                </c:pt>
                <c:pt idx="250">
                  <c:v>5.6164257429999996E-3</c:v>
                </c:pt>
                <c:pt idx="251">
                  <c:v>5.5964653900000003E-3</c:v>
                </c:pt>
                <c:pt idx="252">
                  <c:v>5.3894113909999999E-3</c:v>
                </c:pt>
                <c:pt idx="253">
                  <c:v>6.0996272450000001E-3</c:v>
                </c:pt>
                <c:pt idx="254">
                  <c:v>6.3492063490000004E-3</c:v>
                </c:pt>
                <c:pt idx="255">
                  <c:v>6.0621369030000004E-3</c:v>
                </c:pt>
                <c:pt idx="256">
                  <c:v>5.7803468199999998E-3</c:v>
                </c:pt>
                <c:pt idx="257">
                  <c:v>5.0933786069999997E-3</c:v>
                </c:pt>
                <c:pt idx="258">
                  <c:v>4.829584655E-3</c:v>
                </c:pt>
                <c:pt idx="259">
                  <c:v>5.0340538929999996E-3</c:v>
                </c:pt>
                <c:pt idx="260">
                  <c:v>4.7885075809999999E-3</c:v>
                </c:pt>
                <c:pt idx="261">
                  <c:v>4.546249344E-3</c:v>
                </c:pt>
                <c:pt idx="262">
                  <c:v>5.0571268019999997E-3</c:v>
                </c:pt>
                <c:pt idx="263">
                  <c:v>5.7109098069999999E-3</c:v>
                </c:pt>
                <c:pt idx="264">
                  <c:v>5.7780434340000001E-3</c:v>
                </c:pt>
                <c:pt idx="265">
                  <c:v>5.8926233080000001E-3</c:v>
                </c:pt>
                <c:pt idx="266">
                  <c:v>5.6902523500000001E-3</c:v>
                </c:pt>
                <c:pt idx="267">
                  <c:v>5.7849066520000002E-3</c:v>
                </c:pt>
                <c:pt idx="268">
                  <c:v>5.5126791619999997E-3</c:v>
                </c:pt>
                <c:pt idx="269">
                  <c:v>4.6920821110000002E-3</c:v>
                </c:pt>
                <c:pt idx="270">
                  <c:v>3.6407766989999999E-3</c:v>
                </c:pt>
                <c:pt idx="271">
                  <c:v>4.0485829950000001E-3</c:v>
                </c:pt>
                <c:pt idx="272">
                  <c:v>4.9570389950000003E-3</c:v>
                </c:pt>
                <c:pt idx="273">
                  <c:v>5.2779732579999999E-3</c:v>
                </c:pt>
                <c:pt idx="274">
                  <c:v>4.5197740110000002E-3</c:v>
                </c:pt>
                <c:pt idx="275">
                  <c:v>5.4390054389999998E-3</c:v>
                </c:pt>
                <c:pt idx="276">
                  <c:v>5.7330057330000003E-3</c:v>
                </c:pt>
                <c:pt idx="277">
                  <c:v>5.4782975130000001E-3</c:v>
                </c:pt>
                <c:pt idx="278">
                  <c:v>5.086901229E-3</c:v>
                </c:pt>
                <c:pt idx="279">
                  <c:v>4.6728971959999997E-3</c:v>
                </c:pt>
                <c:pt idx="280">
                  <c:v>4.4009779950000003E-3</c:v>
                </c:pt>
                <c:pt idx="281">
                  <c:v>5.1413881740000004E-3</c:v>
                </c:pt>
                <c:pt idx="282">
                  <c:v>4.6865846510000001E-3</c:v>
                </c:pt>
                <c:pt idx="283">
                  <c:v>5.7618437900000003E-3</c:v>
                </c:pt>
                <c:pt idx="284">
                  <c:v>6.0565275900000002E-3</c:v>
                </c:pt>
                <c:pt idx="285">
                  <c:v>5.5983205029999997E-3</c:v>
                </c:pt>
                <c:pt idx="286">
                  <c:v>6.1162079510000003E-3</c:v>
                </c:pt>
                <c:pt idx="287">
                  <c:v>7.9505300350000002E-3</c:v>
                </c:pt>
                <c:pt idx="288">
                  <c:v>8.9374379340000001E-3</c:v>
                </c:pt>
                <c:pt idx="289">
                  <c:v>7.1794871789999997E-3</c:v>
                </c:pt>
                <c:pt idx="290">
                  <c:v>8.5106382970000002E-3</c:v>
                </c:pt>
                <c:pt idx="291">
                  <c:v>9.7192224620000003E-3</c:v>
                </c:pt>
                <c:pt idx="292">
                  <c:v>1.0615711252000001E-2</c:v>
                </c:pt>
                <c:pt idx="293">
                  <c:v>9.0395480220000005E-3</c:v>
                </c:pt>
                <c:pt idx="294">
                  <c:v>8.8832487299999995E-3</c:v>
                </c:pt>
                <c:pt idx="295">
                  <c:v>6.5189048229999996E-3</c:v>
                </c:pt>
                <c:pt idx="296">
                  <c:v>8.4985835690000004E-3</c:v>
                </c:pt>
                <c:pt idx="297">
                  <c:v>4.329004329E-3</c:v>
                </c:pt>
                <c:pt idx="298">
                  <c:v>2.8653295119999999E-3</c:v>
                </c:pt>
                <c:pt idx="299">
                  <c:v>1.432664756E-3</c:v>
                </c:pt>
                <c:pt idx="300">
                  <c:v>2.7397260269999999E-3</c:v>
                </c:pt>
                <c:pt idx="301">
                  <c:v>2.5806451610000001E-3</c:v>
                </c:pt>
                <c:pt idx="302">
                  <c:v>3.731343283E-3</c:v>
                </c:pt>
                <c:pt idx="303">
                  <c:v>4.5819014890000004E-3</c:v>
                </c:pt>
                <c:pt idx="304">
                  <c:v>5.5066079290000004E-3</c:v>
                </c:pt>
                <c:pt idx="305">
                  <c:v>5.1759834360000003E-3</c:v>
                </c:pt>
                <c:pt idx="306">
                  <c:v>4.916420845E-3</c:v>
                </c:pt>
                <c:pt idx="307">
                  <c:v>4.0201005020000001E-3</c:v>
                </c:pt>
                <c:pt idx="308">
                  <c:v>4.223864836E-3</c:v>
                </c:pt>
                <c:pt idx="309">
                  <c:v>3.66972477E-3</c:v>
                </c:pt>
                <c:pt idx="310">
                  <c:v>1.7035775120000001E-3</c:v>
                </c:pt>
                <c:pt idx="311">
                  <c:v>7.7399380799999997E-4</c:v>
                </c:pt>
                <c:pt idx="312">
                  <c:v>7.5585789799999996E-4</c:v>
                </c:pt>
                <c:pt idx="313">
                  <c:v>7.3421439000000003E-4</c:v>
                </c:pt>
                <c:pt idx="314">
                  <c:v>1.3550135499999999E-3</c:v>
                </c:pt>
                <c:pt idx="315">
                  <c:v>1.184834123E-3</c:v>
                </c:pt>
                <c:pt idx="316">
                  <c:v>1.1983223480000001E-3</c:v>
                </c:pt>
                <c:pt idx="317">
                  <c:v>2.431610942E-3</c:v>
                </c:pt>
                <c:pt idx="318">
                  <c:v>2.4953212720000002E-3</c:v>
                </c:pt>
                <c:pt idx="319">
                  <c:v>2.4345709059999999E-3</c:v>
                </c:pt>
                <c:pt idx="320">
                  <c:v>3.1036623210000001E-3</c:v>
                </c:pt>
                <c:pt idx="321">
                  <c:v>3.1505986129999998E-3</c:v>
                </c:pt>
                <c:pt idx="322">
                  <c:v>3.1948881780000001E-3</c:v>
                </c:pt>
                <c:pt idx="323">
                  <c:v>2.6041666660000001E-3</c:v>
                </c:pt>
                <c:pt idx="324">
                  <c:v>1.982815598E-3</c:v>
                </c:pt>
                <c:pt idx="325">
                  <c:v>2.7416038380000001E-3</c:v>
                </c:pt>
                <c:pt idx="326">
                  <c:v>2.8818443799999999E-3</c:v>
                </c:pt>
                <c:pt idx="327">
                  <c:v>2.2172949000000002E-3</c:v>
                </c:pt>
                <c:pt idx="328">
                  <c:v>2.253944402E-3</c:v>
                </c:pt>
                <c:pt idx="329">
                  <c:v>3.1080031079999998E-3</c:v>
                </c:pt>
                <c:pt idx="330">
                  <c:v>3.1948881780000001E-3</c:v>
                </c:pt>
                <c:pt idx="331">
                  <c:v>3.1872509959999999E-3</c:v>
                </c:pt>
                <c:pt idx="332">
                  <c:v>4.1493775929999999E-3</c:v>
                </c:pt>
                <c:pt idx="333">
                  <c:v>5.0209205019999996E-3</c:v>
                </c:pt>
                <c:pt idx="334">
                  <c:v>5.0377833750000003E-3</c:v>
                </c:pt>
                <c:pt idx="335">
                  <c:v>4.3630017450000001E-3</c:v>
                </c:pt>
                <c:pt idx="336">
                  <c:v>5.3191489359999998E-3</c:v>
                </c:pt>
                <c:pt idx="337">
                  <c:v>6.1457418779999997E-3</c:v>
                </c:pt>
                <c:pt idx="338">
                  <c:v>5.4744525539999998E-3</c:v>
                </c:pt>
                <c:pt idx="339">
                  <c:v>4.4091710750000001E-3</c:v>
                </c:pt>
                <c:pt idx="340">
                  <c:v>3.4129692829999998E-3</c:v>
                </c:pt>
                <c:pt idx="341">
                  <c:v>3.3277870209999999E-3</c:v>
                </c:pt>
                <c:pt idx="342">
                  <c:v>4.0950040950000002E-3</c:v>
                </c:pt>
                <c:pt idx="343">
                  <c:v>2.413515687E-3</c:v>
                </c:pt>
                <c:pt idx="344">
                  <c:v>3.192338387E-3</c:v>
                </c:pt>
                <c:pt idx="345">
                  <c:v>3.1274433150000002E-3</c:v>
                </c:pt>
                <c:pt idx="346">
                  <c:v>3.0211480359999998E-3</c:v>
                </c:pt>
                <c:pt idx="347">
                  <c:v>3.0487804869999999E-3</c:v>
                </c:pt>
                <c:pt idx="348">
                  <c:v>3.9001560060000001E-3</c:v>
                </c:pt>
                <c:pt idx="349">
                  <c:v>3.7707390640000001E-3</c:v>
                </c:pt>
                <c:pt idx="350">
                  <c:v>3.6603221080000001E-3</c:v>
                </c:pt>
                <c:pt idx="351">
                  <c:v>2.2140221399999998E-3</c:v>
                </c:pt>
                <c:pt idx="352">
                  <c:v>2.253944402E-3</c:v>
                </c:pt>
                <c:pt idx="353">
                  <c:v>3.90625E-3</c:v>
                </c:pt>
                <c:pt idx="354">
                  <c:v>4.713275726E-3</c:v>
                </c:pt>
                <c:pt idx="355">
                  <c:v>3.8372985409999998E-3</c:v>
                </c:pt>
                <c:pt idx="356">
                  <c:v>3.8461538459999998E-3</c:v>
                </c:pt>
                <c:pt idx="357">
                  <c:v>4.7999999999999996E-3</c:v>
                </c:pt>
                <c:pt idx="358">
                  <c:v>5.4305663299999999E-3</c:v>
                </c:pt>
                <c:pt idx="359">
                  <c:v>5.2395209579999998E-3</c:v>
                </c:pt>
                <c:pt idx="360">
                  <c:v>2.9673590499999999E-3</c:v>
                </c:pt>
                <c:pt idx="361">
                  <c:v>2.228826151E-3</c:v>
                </c:pt>
                <c:pt idx="362">
                  <c:v>2.2727272720000002E-3</c:v>
                </c:pt>
                <c:pt idx="363">
                  <c:v>1.483679525E-3</c:v>
                </c:pt>
                <c:pt idx="364">
                  <c:v>7.1994240400000001E-4</c:v>
                </c:pt>
                <c:pt idx="365">
                  <c:v>7.1225071199999997E-4</c:v>
                </c:pt>
                <c:pt idx="366">
                  <c:v>6.6800267200000003E-4</c:v>
                </c:pt>
                <c:pt idx="367">
                  <c:v>3.6968576699999999E-3</c:v>
                </c:pt>
                <c:pt idx="368">
                  <c:v>3.5356511490000002E-3</c:v>
                </c:pt>
                <c:pt idx="369">
                  <c:v>3.9840637450000004E-3</c:v>
                </c:pt>
                <c:pt idx="370">
                  <c:v>4.1906757460000001E-3</c:v>
                </c:pt>
                <c:pt idx="371">
                  <c:v>4.5433893680000004E-3</c:v>
                </c:pt>
                <c:pt idx="372">
                  <c:v>4.3084877200000003E-3</c:v>
                </c:pt>
                <c:pt idx="373">
                  <c:v>4.1067761799999996E-3</c:v>
                </c:pt>
                <c:pt idx="374">
                  <c:v>3.1128404659999998E-3</c:v>
                </c:pt>
                <c:pt idx="375">
                  <c:v>3.0616150010000002E-3</c:v>
                </c:pt>
                <c:pt idx="376">
                  <c:v>2.6840490790000001E-3</c:v>
                </c:pt>
                <c:pt idx="377">
                  <c:v>3.69139904E-3</c:v>
                </c:pt>
                <c:pt idx="378">
                  <c:v>4.0998881839999996E-3</c:v>
                </c:pt>
                <c:pt idx="379">
                  <c:v>3.541076487E-3</c:v>
                </c:pt>
                <c:pt idx="380">
                  <c:v>4.0458530000000003E-3</c:v>
                </c:pt>
                <c:pt idx="381">
                  <c:v>3.371544167E-3</c:v>
                </c:pt>
                <c:pt idx="382">
                  <c:v>3.3134526169999999E-3</c:v>
                </c:pt>
                <c:pt idx="383">
                  <c:v>3.5830618890000001E-3</c:v>
                </c:pt>
                <c:pt idx="384">
                  <c:v>2.6169447170000001E-3</c:v>
                </c:pt>
                <c:pt idx="385">
                  <c:v>1.6149870799999999E-3</c:v>
                </c:pt>
                <c:pt idx="386">
                  <c:v>1.937984496E-3</c:v>
                </c:pt>
                <c:pt idx="387">
                  <c:v>1.98807157E-3</c:v>
                </c:pt>
                <c:pt idx="388">
                  <c:v>2.2617124389999999E-3</c:v>
                </c:pt>
                <c:pt idx="389">
                  <c:v>2.8046120280000001E-3</c:v>
                </c:pt>
                <c:pt idx="390">
                  <c:v>3.057169061E-3</c:v>
                </c:pt>
                <c:pt idx="391">
                  <c:v>3.4622042700000002E-3</c:v>
                </c:pt>
                <c:pt idx="392">
                  <c:v>3.8875598079999999E-3</c:v>
                </c:pt>
                <c:pt idx="393">
                  <c:v>4.5019696110000004E-3</c:v>
                </c:pt>
                <c:pt idx="394">
                  <c:v>3.7575150300000002E-3</c:v>
                </c:pt>
                <c:pt idx="395">
                  <c:v>3.954408001E-3</c:v>
                </c:pt>
                <c:pt idx="396">
                  <c:v>3.3821871469999999E-3</c:v>
                </c:pt>
                <c:pt idx="397">
                  <c:v>3.331112591E-3</c:v>
                </c:pt>
                <c:pt idx="398">
                  <c:v>3.6645828839999999E-3</c:v>
                </c:pt>
                <c:pt idx="399">
                  <c:v>5.1107325380000002E-3</c:v>
                </c:pt>
                <c:pt idx="400">
                  <c:v>5.8949624859999999E-3</c:v>
                </c:pt>
                <c:pt idx="401">
                  <c:v>6.3514467179999999E-3</c:v>
                </c:pt>
                <c:pt idx="402">
                  <c:v>5.804028678E-3</c:v>
                </c:pt>
                <c:pt idx="403">
                  <c:v>5.8597019919999997E-3</c:v>
                </c:pt>
                <c:pt idx="404">
                  <c:v>5.8420964779999996E-3</c:v>
                </c:pt>
                <c:pt idx="405">
                  <c:v>6.1321477839999996E-3</c:v>
                </c:pt>
                <c:pt idx="406">
                  <c:v>4.4849537030000001E-3</c:v>
                </c:pt>
                <c:pt idx="407">
                  <c:v>3.6664856049999999E-3</c:v>
                </c:pt>
                <c:pt idx="408">
                  <c:v>3.7917087959999998E-3</c:v>
                </c:pt>
                <c:pt idx="409">
                  <c:v>3.6887608059999999E-3</c:v>
                </c:pt>
                <c:pt idx="410">
                  <c:v>3.6002618370000001E-3</c:v>
                </c:pt>
                <c:pt idx="411">
                  <c:v>3.635985871E-3</c:v>
                </c:pt>
                <c:pt idx="412">
                  <c:v>2.9574861359999999E-3</c:v>
                </c:pt>
                <c:pt idx="413">
                  <c:v>2.6269702270000001E-3</c:v>
                </c:pt>
                <c:pt idx="414">
                  <c:v>2.3709902369999998E-3</c:v>
                </c:pt>
                <c:pt idx="415">
                  <c:v>1.8851860859999999E-3</c:v>
                </c:pt>
                <c:pt idx="416">
                  <c:v>1.7988466209999999E-3</c:v>
                </c:pt>
                <c:pt idx="417">
                  <c:v>1.8049660949999999E-3</c:v>
                </c:pt>
                <c:pt idx="418">
                  <c:v>1.9961006399999998E-3</c:v>
                </c:pt>
                <c:pt idx="419">
                  <c:v>2.490232278E-3</c:v>
                </c:pt>
                <c:pt idx="420">
                  <c:v>2.2785098539999998E-3</c:v>
                </c:pt>
                <c:pt idx="421">
                  <c:v>2.1438450890000002E-3</c:v>
                </c:pt>
                <c:pt idx="422">
                  <c:v>2.2947389730000002E-3</c:v>
                </c:pt>
                <c:pt idx="423">
                  <c:v>2.247046738E-3</c:v>
                </c:pt>
                <c:pt idx="424">
                  <c:v>2.1223172109999999E-3</c:v>
                </c:pt>
                <c:pt idx="425">
                  <c:v>1.9763420230000002E-3</c:v>
                </c:pt>
                <c:pt idx="426">
                  <c:v>1.90804293E-3</c:v>
                </c:pt>
                <c:pt idx="427">
                  <c:v>2.1989174559999998E-3</c:v>
                </c:pt>
                <c:pt idx="428">
                  <c:v>2.1999022260000001E-3</c:v>
                </c:pt>
                <c:pt idx="429">
                  <c:v>2.0758288049999999E-3</c:v>
                </c:pt>
                <c:pt idx="430">
                  <c:v>2.2038567490000002E-3</c:v>
                </c:pt>
                <c:pt idx="431">
                  <c:v>2.419309465E-3</c:v>
                </c:pt>
                <c:pt idx="432">
                  <c:v>2.6148673880000001E-3</c:v>
                </c:pt>
                <c:pt idx="433">
                  <c:v>2.5899697530000002E-3</c:v>
                </c:pt>
                <c:pt idx="434">
                  <c:v>2.439187383E-3</c:v>
                </c:pt>
                <c:pt idx="435">
                  <c:v>2.4554269620000002E-3</c:v>
                </c:pt>
                <c:pt idx="436">
                  <c:v>2.534181095E-3</c:v>
                </c:pt>
                <c:pt idx="437">
                  <c:v>2.2848116439999999E-3</c:v>
                </c:pt>
                <c:pt idx="438">
                  <c:v>2.1523022900000002E-3</c:v>
                </c:pt>
                <c:pt idx="439">
                  <c:v>2.0902575820000002E-3</c:v>
                </c:pt>
                <c:pt idx="440">
                  <c:v>2.0681479980000001E-3</c:v>
                </c:pt>
                <c:pt idx="441">
                  <c:v>1.8452722060000001E-3</c:v>
                </c:pt>
                <c:pt idx="442">
                  <c:v>1.7526289429999999E-3</c:v>
                </c:pt>
                <c:pt idx="443">
                  <c:v>1.836597785E-3</c:v>
                </c:pt>
                <c:pt idx="444">
                  <c:v>1.816539542E-3</c:v>
                </c:pt>
                <c:pt idx="445">
                  <c:v>1.7544863349999999E-3</c:v>
                </c:pt>
                <c:pt idx="446">
                  <c:v>1.824019356E-3</c:v>
                </c:pt>
                <c:pt idx="447">
                  <c:v>1.8567663279999999E-3</c:v>
                </c:pt>
                <c:pt idx="448">
                  <c:v>2.0038142779999998E-3</c:v>
                </c:pt>
                <c:pt idx="449">
                  <c:v>1.912582241E-3</c:v>
                </c:pt>
                <c:pt idx="450">
                  <c:v>1.7945436779999999E-3</c:v>
                </c:pt>
                <c:pt idx="451">
                  <c:v>1.8459162E-3</c:v>
                </c:pt>
                <c:pt idx="452">
                  <c:v>1.928065899E-3</c:v>
                </c:pt>
                <c:pt idx="453">
                  <c:v>1.8349051830000001E-3</c:v>
                </c:pt>
                <c:pt idx="454">
                  <c:v>1.746181177E-3</c:v>
                </c:pt>
                <c:pt idx="455">
                  <c:v>1.6663406999999999E-3</c:v>
                </c:pt>
                <c:pt idx="456">
                  <c:v>1.7489861220000001E-3</c:v>
                </c:pt>
                <c:pt idx="457">
                  <c:v>1.702106665E-3</c:v>
                </c:pt>
                <c:pt idx="458">
                  <c:v>1.614544353E-3</c:v>
                </c:pt>
                <c:pt idx="459">
                  <c:v>1.5846915380000001E-3</c:v>
                </c:pt>
                <c:pt idx="460">
                  <c:v>1.5908951840000001E-3</c:v>
                </c:pt>
                <c:pt idx="461">
                  <c:v>1.682123213E-3</c:v>
                </c:pt>
                <c:pt idx="462">
                  <c:v>1.6747674429999999E-3</c:v>
                </c:pt>
                <c:pt idx="463">
                  <c:v>1.5822181550000001E-3</c:v>
                </c:pt>
                <c:pt idx="464">
                  <c:v>1.6109464800000001E-3</c:v>
                </c:pt>
                <c:pt idx="465">
                  <c:v>1.7107831809999999E-3</c:v>
                </c:pt>
                <c:pt idx="466">
                  <c:v>1.681302206E-3</c:v>
                </c:pt>
                <c:pt idx="467">
                  <c:v>1.7110516379999999E-3</c:v>
                </c:pt>
                <c:pt idx="468">
                  <c:v>1.5770527390000001E-3</c:v>
                </c:pt>
                <c:pt idx="469">
                  <c:v>1.665072448E-3</c:v>
                </c:pt>
                <c:pt idx="470">
                  <c:v>1.860267678E-3</c:v>
                </c:pt>
                <c:pt idx="471">
                  <c:v>1.9381645840000001E-3</c:v>
                </c:pt>
                <c:pt idx="472">
                  <c:v>1.9473654919999999E-3</c:v>
                </c:pt>
                <c:pt idx="473">
                  <c:v>1.9042911960000001E-3</c:v>
                </c:pt>
                <c:pt idx="474">
                  <c:v>1.8418898370000001E-3</c:v>
                </c:pt>
                <c:pt idx="475">
                  <c:v>2.0275251900000002E-3</c:v>
                </c:pt>
                <c:pt idx="476">
                  <c:v>2.1248339969999999E-3</c:v>
                </c:pt>
                <c:pt idx="477">
                  <c:v>2.1131137349999999E-3</c:v>
                </c:pt>
                <c:pt idx="478">
                  <c:v>2.196504051E-3</c:v>
                </c:pt>
                <c:pt idx="479">
                  <c:v>2.4333474390000002E-3</c:v>
                </c:pt>
                <c:pt idx="480">
                  <c:v>2.8325268489999998E-3</c:v>
                </c:pt>
                <c:pt idx="481">
                  <c:v>2.9529012249999999E-3</c:v>
                </c:pt>
                <c:pt idx="482">
                  <c:v>2.9565262100000001E-3</c:v>
                </c:pt>
                <c:pt idx="483">
                  <c:v>3.3208800329999999E-3</c:v>
                </c:pt>
                <c:pt idx="484">
                  <c:v>4.913720842E-3</c:v>
                </c:pt>
                <c:pt idx="485">
                  <c:v>4.970902036E-3</c:v>
                </c:pt>
                <c:pt idx="486">
                  <c:v>4.6463747139999997E-3</c:v>
                </c:pt>
                <c:pt idx="487">
                  <c:v>4.729974124E-3</c:v>
                </c:pt>
                <c:pt idx="488">
                  <c:v>4.7417159429999998E-3</c:v>
                </c:pt>
                <c:pt idx="489">
                  <c:v>4.1738404539999998E-3</c:v>
                </c:pt>
                <c:pt idx="490">
                  <c:v>3.6520415920000002E-3</c:v>
                </c:pt>
                <c:pt idx="491">
                  <c:v>2.1398529150000001E-3</c:v>
                </c:pt>
                <c:pt idx="492">
                  <c:v>1.9499747220000001E-3</c:v>
                </c:pt>
                <c:pt idx="493">
                  <c:v>1.8977088629999999E-3</c:v>
                </c:pt>
                <c:pt idx="494">
                  <c:v>1.670970682E-3</c:v>
                </c:pt>
                <c:pt idx="495">
                  <c:v>1.598533611E-3</c:v>
                </c:pt>
                <c:pt idx="496">
                  <c:v>1.6473731069999999E-3</c:v>
                </c:pt>
                <c:pt idx="497">
                  <c:v>1.5493346349999999E-3</c:v>
                </c:pt>
                <c:pt idx="498">
                  <c:v>1.4066071460000001E-3</c:v>
                </c:pt>
                <c:pt idx="499">
                  <c:v>1.24479852E-3</c:v>
                </c:pt>
                <c:pt idx="500">
                  <c:v>1.0830784909999999E-3</c:v>
                </c:pt>
                <c:pt idx="501">
                  <c:v>8.9557059499999995E-4</c:v>
                </c:pt>
                <c:pt idx="502">
                  <c:v>7.5772187400000002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AE-45A0-9B3E-567818B4F0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.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v_den_pozitivity_7dni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0</c:v>
                </c:pt>
                <c:pt idx="1">
                  <c:v>-0.56082036773999999</c:v>
                </c:pt>
                <c:pt idx="2">
                  <c:v>0</c:v>
                </c:pt>
                <c:pt idx="3">
                  <c:v>-0.32929292928999998</c:v>
                </c:pt>
                <c:pt idx="4">
                  <c:v>1.08002192461</c:v>
                </c:pt>
                <c:pt idx="5">
                  <c:v>-0.30252378442</c:v>
                </c:pt>
                <c:pt idx="6">
                  <c:v>0.64930300863000001</c:v>
                </c:pt>
                <c:pt idx="7">
                  <c:v>-0.57079739120999995</c:v>
                </c:pt>
                <c:pt idx="8">
                  <c:v>0.50905177880999997</c:v>
                </c:pt>
                <c:pt idx="9">
                  <c:v>-0.41288918657000001</c:v>
                </c:pt>
                <c:pt idx="10">
                  <c:v>0.73842977265999998</c:v>
                </c:pt>
                <c:pt idx="11">
                  <c:v>0</c:v>
                </c:pt>
                <c:pt idx="12">
                  <c:v>4.0119507065400004</c:v>
                </c:pt>
                <c:pt idx="13">
                  <c:v>-0.24400000023999999</c:v>
                </c:pt>
                <c:pt idx="14">
                  <c:v>1.22628951848</c:v>
                </c:pt>
                <c:pt idx="15">
                  <c:v>0.33166499811</c:v>
                </c:pt>
                <c:pt idx="16">
                  <c:v>1.4275485859099999</c:v>
                </c:pt>
                <c:pt idx="17">
                  <c:v>0.56638167444999998</c:v>
                </c:pt>
                <c:pt idx="18">
                  <c:v>0.91724779174000004</c:v>
                </c:pt>
                <c:pt idx="19">
                  <c:v>0.22247499815999999</c:v>
                </c:pt>
                <c:pt idx="20">
                  <c:v>0.46982158695999998</c:v>
                </c:pt>
                <c:pt idx="21">
                  <c:v>-0.19477172302000001</c:v>
                </c:pt>
                <c:pt idx="22">
                  <c:v>2.0804344827599999</c:v>
                </c:pt>
                <c:pt idx="23">
                  <c:v>-0.19877568248999999</c:v>
                </c:pt>
                <c:pt idx="24">
                  <c:v>0.95445354671000004</c:v>
                </c:pt>
                <c:pt idx="25">
                  <c:v>-5.3453453400000003E-2</c:v>
                </c:pt>
                <c:pt idx="26">
                  <c:v>1.22309334127</c:v>
                </c:pt>
                <c:pt idx="27">
                  <c:v>8.7924303420000002E-2</c:v>
                </c:pt>
                <c:pt idx="28">
                  <c:v>1.0516359320399999</c:v>
                </c:pt>
                <c:pt idx="29">
                  <c:v>0.36382937018</c:v>
                </c:pt>
                <c:pt idx="30">
                  <c:v>1.18400922182</c:v>
                </c:pt>
                <c:pt idx="31">
                  <c:v>6.9113697429999996E-2</c:v>
                </c:pt>
                <c:pt idx="32">
                  <c:v>2.56782375476</c:v>
                </c:pt>
                <c:pt idx="33">
                  <c:v>-0.21972962383</c:v>
                </c:pt>
                <c:pt idx="34">
                  <c:v>1.7636090690499999</c:v>
                </c:pt>
                <c:pt idx="35">
                  <c:v>-0.17661008421999999</c:v>
                </c:pt>
                <c:pt idx="36">
                  <c:v>1.35730136169</c:v>
                </c:pt>
                <c:pt idx="37">
                  <c:v>-0.10450119394</c:v>
                </c:pt>
                <c:pt idx="38">
                  <c:v>1.1862767010899999</c:v>
                </c:pt>
                <c:pt idx="39">
                  <c:v>6.0458313159999999E-2</c:v>
                </c:pt>
                <c:pt idx="40">
                  <c:v>0.97995095965000001</c:v>
                </c:pt>
                <c:pt idx="41">
                  <c:v>-2.5649160479999999E-2</c:v>
                </c:pt>
                <c:pt idx="42">
                  <c:v>0.59900868631000004</c:v>
                </c:pt>
                <c:pt idx="43">
                  <c:v>0.29999468822000003</c:v>
                </c:pt>
                <c:pt idx="44">
                  <c:v>0.56877372397000003</c:v>
                </c:pt>
                <c:pt idx="45">
                  <c:v>0.38496228776000002</c:v>
                </c:pt>
                <c:pt idx="46">
                  <c:v>0.50668927187000001</c:v>
                </c:pt>
                <c:pt idx="47">
                  <c:v>0.26588496795</c:v>
                </c:pt>
                <c:pt idx="48">
                  <c:v>0.49541505658000001</c:v>
                </c:pt>
                <c:pt idx="49">
                  <c:v>0.22593486696000001</c:v>
                </c:pt>
                <c:pt idx="50">
                  <c:v>0.97317671695999997</c:v>
                </c:pt>
                <c:pt idx="51">
                  <c:v>0.48609033777999999</c:v>
                </c:pt>
                <c:pt idx="52">
                  <c:v>1.11915818646</c:v>
                </c:pt>
                <c:pt idx="53">
                  <c:v>0.76605019664999996</c:v>
                </c:pt>
                <c:pt idx="54">
                  <c:v>0.58384097468999996</c:v>
                </c:pt>
                <c:pt idx="55">
                  <c:v>0.74527098224999999</c:v>
                </c:pt>
                <c:pt idx="56">
                  <c:v>0.66083867832999998</c:v>
                </c:pt>
                <c:pt idx="57">
                  <c:v>0.27127508637999997</c:v>
                </c:pt>
                <c:pt idx="58">
                  <c:v>0.56695311627</c:v>
                </c:pt>
                <c:pt idx="59">
                  <c:v>9.3016338109999999E-2</c:v>
                </c:pt>
                <c:pt idx="60">
                  <c:v>0.77343503464999996</c:v>
                </c:pt>
                <c:pt idx="61">
                  <c:v>0.10847567762</c:v>
                </c:pt>
                <c:pt idx="62">
                  <c:v>-0.30386039877999999</c:v>
                </c:pt>
                <c:pt idx="63">
                  <c:v>0.21027940678000001</c:v>
                </c:pt>
                <c:pt idx="64">
                  <c:v>-0.35802723031</c:v>
                </c:pt>
                <c:pt idx="65">
                  <c:v>0.35380454254999999</c:v>
                </c:pt>
                <c:pt idx="66">
                  <c:v>-0.25035324860000002</c:v>
                </c:pt>
                <c:pt idx="67">
                  <c:v>0.80528441865</c:v>
                </c:pt>
                <c:pt idx="68">
                  <c:v>-0.11425135291000001</c:v>
                </c:pt>
                <c:pt idx="69">
                  <c:v>0.59342743294</c:v>
                </c:pt>
                <c:pt idx="70">
                  <c:v>-2.4487397840000001E-2</c:v>
                </c:pt>
                <c:pt idx="71">
                  <c:v>0.71544834157000003</c:v>
                </c:pt>
                <c:pt idx="72">
                  <c:v>6.4950239000000007E-2</c:v>
                </c:pt>
                <c:pt idx="73">
                  <c:v>0.14397500212</c:v>
                </c:pt>
                <c:pt idx="74">
                  <c:v>7.4875854790000002E-2</c:v>
                </c:pt>
                <c:pt idx="75">
                  <c:v>0.17459244988</c:v>
                </c:pt>
                <c:pt idx="76">
                  <c:v>3.01403768E-2</c:v>
                </c:pt>
                <c:pt idx="77">
                  <c:v>6.2759761489999996E-2</c:v>
                </c:pt>
                <c:pt idx="78">
                  <c:v>7.5025344679999995E-2</c:v>
                </c:pt>
                <c:pt idx="79">
                  <c:v>0.37106277269999999</c:v>
                </c:pt>
                <c:pt idx="80">
                  <c:v>-0.28864124189000001</c:v>
                </c:pt>
                <c:pt idx="81">
                  <c:v>0.35954863211999999</c:v>
                </c:pt>
                <c:pt idx="82">
                  <c:v>-0.26357869021000002</c:v>
                </c:pt>
                <c:pt idx="83">
                  <c:v>-3.4224134160000003E-2</c:v>
                </c:pt>
                <c:pt idx="84">
                  <c:v>-0.43424757625999999</c:v>
                </c:pt>
                <c:pt idx="85">
                  <c:v>4.1372445900000002E-3</c:v>
                </c:pt>
                <c:pt idx="86">
                  <c:v>-0.55809363611999996</c:v>
                </c:pt>
                <c:pt idx="87">
                  <c:v>0.33619930236000001</c:v>
                </c:pt>
                <c:pt idx="88">
                  <c:v>-0.55232265945000003</c:v>
                </c:pt>
                <c:pt idx="89">
                  <c:v>0.43647436348000002</c:v>
                </c:pt>
                <c:pt idx="90">
                  <c:v>-0.56783768552000002</c:v>
                </c:pt>
                <c:pt idx="91">
                  <c:v>0.26930670154000003</c:v>
                </c:pt>
                <c:pt idx="92">
                  <c:v>-0.52107913208000001</c:v>
                </c:pt>
                <c:pt idx="93">
                  <c:v>0.38465742070999998</c:v>
                </c:pt>
                <c:pt idx="94">
                  <c:v>-0.43672537509999998</c:v>
                </c:pt>
                <c:pt idx="95">
                  <c:v>-3.2359351379999998E-2</c:v>
                </c:pt>
                <c:pt idx="96">
                  <c:v>-0.43000814895</c:v>
                </c:pt>
                <c:pt idx="97">
                  <c:v>-6.4611651419999999E-2</c:v>
                </c:pt>
                <c:pt idx="98">
                  <c:v>-0.38869342490999997</c:v>
                </c:pt>
                <c:pt idx="99">
                  <c:v>-0.14256665008</c:v>
                </c:pt>
                <c:pt idx="100">
                  <c:v>-0.34304750437999998</c:v>
                </c:pt>
                <c:pt idx="101">
                  <c:v>3.0758052649999999E-2</c:v>
                </c:pt>
                <c:pt idx="102">
                  <c:v>-0.39781055340999999</c:v>
                </c:pt>
                <c:pt idx="103">
                  <c:v>0.21464750499999999</c:v>
                </c:pt>
                <c:pt idx="104">
                  <c:v>-0.45337766787</c:v>
                </c:pt>
                <c:pt idx="105">
                  <c:v>0.45224542399000001</c:v>
                </c:pt>
                <c:pt idx="106">
                  <c:v>-0.37321263086000001</c:v>
                </c:pt>
                <c:pt idx="107">
                  <c:v>0.75494226080000004</c:v>
                </c:pt>
                <c:pt idx="108">
                  <c:v>-0.33456127642</c:v>
                </c:pt>
                <c:pt idx="109">
                  <c:v>0.52112270447999998</c:v>
                </c:pt>
                <c:pt idx="110">
                  <c:v>-0.27003644749</c:v>
                </c:pt>
                <c:pt idx="111">
                  <c:v>4.822134393E-2</c:v>
                </c:pt>
                <c:pt idx="112">
                  <c:v>0.14672185055</c:v>
                </c:pt>
                <c:pt idx="113">
                  <c:v>0.17175428381999999</c:v>
                </c:pt>
                <c:pt idx="114">
                  <c:v>-0.22367401731</c:v>
                </c:pt>
                <c:pt idx="115">
                  <c:v>0.21040318634999999</c:v>
                </c:pt>
                <c:pt idx="116">
                  <c:v>-0.30035740641000003</c:v>
                </c:pt>
                <c:pt idx="117">
                  <c:v>1.10604833636</c:v>
                </c:pt>
                <c:pt idx="118">
                  <c:v>-0.40127809620999999</c:v>
                </c:pt>
                <c:pt idx="119">
                  <c:v>0.11058463433</c:v>
                </c:pt>
                <c:pt idx="120">
                  <c:v>-0.38446536791000002</c:v>
                </c:pt>
                <c:pt idx="121">
                  <c:v>8.5317695839999999E-2</c:v>
                </c:pt>
                <c:pt idx="122">
                  <c:v>-0.42415302953</c:v>
                </c:pt>
                <c:pt idx="123">
                  <c:v>-9.9114009020000005E-2</c:v>
                </c:pt>
                <c:pt idx="124">
                  <c:v>0.17661811526000001</c:v>
                </c:pt>
                <c:pt idx="125">
                  <c:v>-0.24224576797</c:v>
                </c:pt>
                <c:pt idx="126">
                  <c:v>0.42784749357000001</c:v>
                </c:pt>
                <c:pt idx="127">
                  <c:v>-0.17858469132999999</c:v>
                </c:pt>
                <c:pt idx="128">
                  <c:v>1.33966924146</c:v>
                </c:pt>
                <c:pt idx="129">
                  <c:v>-0.41540053477</c:v>
                </c:pt>
                <c:pt idx="130">
                  <c:v>0.98819013325000005</c:v>
                </c:pt>
                <c:pt idx="131">
                  <c:v>-0.20651783116</c:v>
                </c:pt>
                <c:pt idx="132">
                  <c:v>1.19232960414</c:v>
                </c:pt>
                <c:pt idx="133">
                  <c:v>0.1244339013</c:v>
                </c:pt>
                <c:pt idx="134">
                  <c:v>0.97935773426999995</c:v>
                </c:pt>
                <c:pt idx="135">
                  <c:v>1.8784806644500001</c:v>
                </c:pt>
                <c:pt idx="136">
                  <c:v>0.71543073112</c:v>
                </c:pt>
                <c:pt idx="137">
                  <c:v>0.86404100099000003</c:v>
                </c:pt>
                <c:pt idx="138">
                  <c:v>0.57710725802999996</c:v>
                </c:pt>
                <c:pt idx="139">
                  <c:v>1.01550882875</c:v>
                </c:pt>
                <c:pt idx="140">
                  <c:v>0.26275253718000002</c:v>
                </c:pt>
                <c:pt idx="141">
                  <c:v>-8.5923990000000006E-2</c:v>
                </c:pt>
                <c:pt idx="142">
                  <c:v>0.25186022260000002</c:v>
                </c:pt>
                <c:pt idx="143">
                  <c:v>-0.21600407998999999</c:v>
                </c:pt>
                <c:pt idx="144">
                  <c:v>0.19881568905999999</c:v>
                </c:pt>
                <c:pt idx="145">
                  <c:v>-0.2229461123</c:v>
                </c:pt>
                <c:pt idx="146">
                  <c:v>0.35167610122999998</c:v>
                </c:pt>
                <c:pt idx="147">
                  <c:v>-0.24215072317</c:v>
                </c:pt>
                <c:pt idx="148">
                  <c:v>0.54237621981999995</c:v>
                </c:pt>
                <c:pt idx="149">
                  <c:v>-0.20214685252</c:v>
                </c:pt>
                <c:pt idx="150">
                  <c:v>0.53675049743000003</c:v>
                </c:pt>
                <c:pt idx="151">
                  <c:v>-9.175169692E-2</c:v>
                </c:pt>
                <c:pt idx="152">
                  <c:v>0.92210650583999998</c:v>
                </c:pt>
                <c:pt idx="153">
                  <c:v>-5.8351696080000001E-2</c:v>
                </c:pt>
                <c:pt idx="154">
                  <c:v>1.28484492448</c:v>
                </c:pt>
                <c:pt idx="155">
                  <c:v>0.55565573192999995</c:v>
                </c:pt>
                <c:pt idx="156">
                  <c:v>2.4001663332700001</c:v>
                </c:pt>
                <c:pt idx="157">
                  <c:v>0.32706749837999999</c:v>
                </c:pt>
                <c:pt idx="158">
                  <c:v>1.52831973042</c:v>
                </c:pt>
                <c:pt idx="159">
                  <c:v>0.15624563427999999</c:v>
                </c:pt>
                <c:pt idx="160">
                  <c:v>0.13943152320999999</c:v>
                </c:pt>
                <c:pt idx="161">
                  <c:v>0.38051935549999999</c:v>
                </c:pt>
                <c:pt idx="162">
                  <c:v>0.16835974522</c:v>
                </c:pt>
                <c:pt idx="163">
                  <c:v>6.8471482779999995E-2</c:v>
                </c:pt>
                <c:pt idx="164">
                  <c:v>0.42468029284999997</c:v>
                </c:pt>
                <c:pt idx="165">
                  <c:v>0.41347821549000002</c:v>
                </c:pt>
                <c:pt idx="166">
                  <c:v>0.3249945541</c:v>
                </c:pt>
                <c:pt idx="167">
                  <c:v>0.48356010097000002</c:v>
                </c:pt>
                <c:pt idx="168">
                  <c:v>1.4761102599999999E-2</c:v>
                </c:pt>
                <c:pt idx="169">
                  <c:v>0.35229608466000001</c:v>
                </c:pt>
                <c:pt idx="170">
                  <c:v>-0.19356511586</c:v>
                </c:pt>
                <c:pt idx="171">
                  <c:v>0.1095669147</c:v>
                </c:pt>
                <c:pt idx="172">
                  <c:v>-0.26947953292999999</c:v>
                </c:pt>
                <c:pt idx="173">
                  <c:v>7.6790317029999999E-2</c:v>
                </c:pt>
                <c:pt idx="174">
                  <c:v>-0.22326450395</c:v>
                </c:pt>
                <c:pt idx="175">
                  <c:v>2.3202053100000002E-3</c:v>
                </c:pt>
                <c:pt idx="176">
                  <c:v>-5.1662865439999997E-2</c:v>
                </c:pt>
                <c:pt idx="177">
                  <c:v>-0.12157064212</c:v>
                </c:pt>
                <c:pt idx="178">
                  <c:v>2.037890421E-2</c:v>
                </c:pt>
                <c:pt idx="179">
                  <c:v>-8.0158133389999997E-2</c:v>
                </c:pt>
                <c:pt idx="180">
                  <c:v>4.6290940609999998E-2</c:v>
                </c:pt>
                <c:pt idx="181">
                  <c:v>-4.5561594240000003E-2</c:v>
                </c:pt>
                <c:pt idx="182">
                  <c:v>-4.121244995E-2</c:v>
                </c:pt>
                <c:pt idx="183">
                  <c:v>-0.16634799244000001</c:v>
                </c:pt>
                <c:pt idx="184">
                  <c:v>-3.8089939560000001E-2</c:v>
                </c:pt>
                <c:pt idx="185">
                  <c:v>0.10363292709999999</c:v>
                </c:pt>
                <c:pt idx="186">
                  <c:v>-0.1294150691</c:v>
                </c:pt>
                <c:pt idx="187">
                  <c:v>-2.2061395399999999E-2</c:v>
                </c:pt>
                <c:pt idx="188">
                  <c:v>-0.19649554644</c:v>
                </c:pt>
                <c:pt idx="189">
                  <c:v>0.39555159787999999</c:v>
                </c:pt>
                <c:pt idx="190">
                  <c:v>-0.27424434259000002</c:v>
                </c:pt>
                <c:pt idx="191">
                  <c:v>0.33621939169999998</c:v>
                </c:pt>
                <c:pt idx="192">
                  <c:v>-0.20773611099</c:v>
                </c:pt>
                <c:pt idx="193">
                  <c:v>0.10657442106999999</c:v>
                </c:pt>
                <c:pt idx="194">
                  <c:v>-0.14389386491</c:v>
                </c:pt>
                <c:pt idx="195">
                  <c:v>-5.368333585E-2</c:v>
                </c:pt>
                <c:pt idx="196">
                  <c:v>-0.26437671028999998</c:v>
                </c:pt>
                <c:pt idx="197">
                  <c:v>-0.20552734196</c:v>
                </c:pt>
                <c:pt idx="198">
                  <c:v>-0.26249420085000003</c:v>
                </c:pt>
                <c:pt idx="199">
                  <c:v>-0.19494935254000001</c:v>
                </c:pt>
                <c:pt idx="200">
                  <c:v>-0.34973239287000002</c:v>
                </c:pt>
                <c:pt idx="201">
                  <c:v>-0.22509027773000001</c:v>
                </c:pt>
                <c:pt idx="202">
                  <c:v>-0.35327107494999999</c:v>
                </c:pt>
                <c:pt idx="203">
                  <c:v>0.56619114720999997</c:v>
                </c:pt>
                <c:pt idx="204">
                  <c:v>-0.43120073081999999</c:v>
                </c:pt>
                <c:pt idx="205">
                  <c:v>0.18242143116000001</c:v>
                </c:pt>
                <c:pt idx="206">
                  <c:v>-0.42264026781000003</c:v>
                </c:pt>
                <c:pt idx="207">
                  <c:v>9.4492742029999993E-2</c:v>
                </c:pt>
                <c:pt idx="208">
                  <c:v>7.5738294440000006E-2</c:v>
                </c:pt>
                <c:pt idx="209">
                  <c:v>-0.15385892116</c:v>
                </c:pt>
                <c:pt idx="210">
                  <c:v>1.12360516644</c:v>
                </c:pt>
                <c:pt idx="211">
                  <c:v>-0.23035074243000001</c:v>
                </c:pt>
                <c:pt idx="212">
                  <c:v>0.65963480510000005</c:v>
                </c:pt>
                <c:pt idx="213">
                  <c:v>0.45457012190000001</c:v>
                </c:pt>
                <c:pt idx="214">
                  <c:v>0.82566756676999997</c:v>
                </c:pt>
                <c:pt idx="215">
                  <c:v>-2.5559213059999999E-2</c:v>
                </c:pt>
                <c:pt idx="216">
                  <c:v>-0.14170461798</c:v>
                </c:pt>
                <c:pt idx="217">
                  <c:v>1.19104372927</c:v>
                </c:pt>
                <c:pt idx="218">
                  <c:v>-0.10536069733</c:v>
                </c:pt>
                <c:pt idx="219">
                  <c:v>2.2267730561799999</c:v>
                </c:pt>
                <c:pt idx="220">
                  <c:v>1.2703122840000001E-2</c:v>
                </c:pt>
                <c:pt idx="221">
                  <c:v>3.7137594327299999</c:v>
                </c:pt>
                <c:pt idx="222">
                  <c:v>-0.28808464526999999</c:v>
                </c:pt>
                <c:pt idx="223">
                  <c:v>-0.17163904243</c:v>
                </c:pt>
                <c:pt idx="224">
                  <c:v>4.393108221E-2</c:v>
                </c:pt>
                <c:pt idx="225">
                  <c:v>-1.0957324169999999E-2</c:v>
                </c:pt>
                <c:pt idx="226">
                  <c:v>0.21522451933</c:v>
                </c:pt>
                <c:pt idx="227">
                  <c:v>0.12665862501</c:v>
                </c:pt>
                <c:pt idx="228">
                  <c:v>9.2151533250000001E-2</c:v>
                </c:pt>
                <c:pt idx="229">
                  <c:v>0.17534094069</c:v>
                </c:pt>
                <c:pt idx="230">
                  <c:v>0.54101491301000004</c:v>
                </c:pt>
                <c:pt idx="231">
                  <c:v>0.11171531188</c:v>
                </c:pt>
                <c:pt idx="232">
                  <c:v>0.33016123575</c:v>
                </c:pt>
                <c:pt idx="233">
                  <c:v>0.44665323253</c:v>
                </c:pt>
                <c:pt idx="234">
                  <c:v>-5.7703144300000004E-3</c:v>
                </c:pt>
                <c:pt idx="235">
                  <c:v>-1.4843572199999999E-3</c:v>
                </c:pt>
                <c:pt idx="236">
                  <c:v>-0.34383567510000002</c:v>
                </c:pt>
                <c:pt idx="237">
                  <c:v>-4.0147400999999999E-2</c:v>
                </c:pt>
                <c:pt idx="238">
                  <c:v>-0.17029030276000001</c:v>
                </c:pt>
                <c:pt idx="239">
                  <c:v>0.20450209834999999</c:v>
                </c:pt>
                <c:pt idx="240">
                  <c:v>-0.20634174989000001</c:v>
                </c:pt>
                <c:pt idx="241">
                  <c:v>-2.2983103960000001E-2</c:v>
                </c:pt>
                <c:pt idx="242">
                  <c:v>-0.19202358373</c:v>
                </c:pt>
                <c:pt idx="243">
                  <c:v>0.19193738313</c:v>
                </c:pt>
                <c:pt idx="244">
                  <c:v>-0.32727416366000001</c:v>
                </c:pt>
                <c:pt idx="245">
                  <c:v>-0.19506359397</c:v>
                </c:pt>
                <c:pt idx="246">
                  <c:v>-0.14217045677000001</c:v>
                </c:pt>
                <c:pt idx="247">
                  <c:v>-1.39562092E-2</c:v>
                </c:pt>
                <c:pt idx="248">
                  <c:v>-0.39160104988</c:v>
                </c:pt>
                <c:pt idx="249">
                  <c:v>-0.4552653136</c:v>
                </c:pt>
                <c:pt idx="250">
                  <c:v>-0.28250161126000001</c:v>
                </c:pt>
                <c:pt idx="251">
                  <c:v>-0.56123711339000004</c:v>
                </c:pt>
                <c:pt idx="252">
                  <c:v>-0.23829652338999999</c:v>
                </c:pt>
                <c:pt idx="253">
                  <c:v>-0.47695696373000002</c:v>
                </c:pt>
                <c:pt idx="254">
                  <c:v>0.12857142865000001</c:v>
                </c:pt>
                <c:pt idx="255">
                  <c:v>-0.39782773424000001</c:v>
                </c:pt>
                <c:pt idx="256">
                  <c:v>-0.26705202319999999</c:v>
                </c:pt>
                <c:pt idx="257">
                  <c:v>0</c:v>
                </c:pt>
                <c:pt idx="258">
                  <c:v>-0.29005105566</c:v>
                </c:pt>
                <c:pt idx="259">
                  <c:v>0</c:v>
                </c:pt>
                <c:pt idx="260">
                  <c:v>0</c:v>
                </c:pt>
                <c:pt idx="261">
                  <c:v>0.12746983745000001</c:v>
                </c:pt>
                <c:pt idx="262">
                  <c:v>-1.386027357E-2</c:v>
                </c:pt>
                <c:pt idx="263">
                  <c:v>0</c:v>
                </c:pt>
                <c:pt idx="264">
                  <c:v>1.0800956368200001</c:v>
                </c:pt>
                <c:pt idx="265">
                  <c:v>-0.24574421657000001</c:v>
                </c:pt>
                <c:pt idx="266">
                  <c:v>0</c:v>
                </c:pt>
                <c:pt idx="267">
                  <c:v>-0.56034709440999997</c:v>
                </c:pt>
                <c:pt idx="268">
                  <c:v>0</c:v>
                </c:pt>
                <c:pt idx="269">
                  <c:v>-0.56129032258</c:v>
                </c:pt>
                <c:pt idx="270">
                  <c:v>8.4951456900000007E-3</c:v>
                </c:pt>
                <c:pt idx="271">
                  <c:v>-0.63967611342999997</c:v>
                </c:pt>
                <c:pt idx="272">
                  <c:v>-0.60508922671999998</c:v>
                </c:pt>
                <c:pt idx="273">
                  <c:v>0</c:v>
                </c:pt>
                <c:pt idx="274">
                  <c:v>-0.77288135593999996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.20050869021000001</c:v>
                </c:pt>
                <c:pt idx="279">
                  <c:v>0</c:v>
                </c:pt>
                <c:pt idx="280">
                  <c:v>-0.47188264057000001</c:v>
                </c:pt>
                <c:pt idx="281">
                  <c:v>0</c:v>
                </c:pt>
                <c:pt idx="282">
                  <c:v>-0.74223784418000005</c:v>
                </c:pt>
                <c:pt idx="283">
                  <c:v>0</c:v>
                </c:pt>
                <c:pt idx="284">
                  <c:v>0</c:v>
                </c:pt>
                <c:pt idx="285">
                  <c:v>-7.5655081260000007E-2</c:v>
                </c:pt>
                <c:pt idx="286">
                  <c:v>-0.88685015290000002</c:v>
                </c:pt>
                <c:pt idx="287">
                  <c:v>0</c:v>
                </c:pt>
                <c:pt idx="288">
                  <c:v>-0.88381330685000004</c:v>
                </c:pt>
                <c:pt idx="289">
                  <c:v>0</c:v>
                </c:pt>
                <c:pt idx="290">
                  <c:v>-0.62553191492000004</c:v>
                </c:pt>
                <c:pt idx="291">
                  <c:v>0</c:v>
                </c:pt>
                <c:pt idx="292">
                  <c:v>-0.44798301486999997</c:v>
                </c:pt>
                <c:pt idx="293">
                  <c:v>0</c:v>
                </c:pt>
                <c:pt idx="294">
                  <c:v>-0.58248730966999995</c:v>
                </c:pt>
                <c:pt idx="295">
                  <c:v>0</c:v>
                </c:pt>
                <c:pt idx="296">
                  <c:v>-0.56657223797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-0.82191780823000005</c:v>
                </c:pt>
                <c:pt idx="301">
                  <c:v>-0.69290322581999997</c:v>
                </c:pt>
                <c:pt idx="302">
                  <c:v>0</c:v>
                </c:pt>
                <c:pt idx="303">
                  <c:v>0</c:v>
                </c:pt>
                <c:pt idx="304">
                  <c:v>-0.6971365638900000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-0.85349233395000002</c:v>
                </c:pt>
                <c:pt idx="311">
                  <c:v>0</c:v>
                </c:pt>
                <c:pt idx="312">
                  <c:v>-0.93272864707000003</c:v>
                </c:pt>
                <c:pt idx="313">
                  <c:v>0</c:v>
                </c:pt>
                <c:pt idx="314">
                  <c:v>-0.87262872628999999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-0.55103969760000004</c:v>
                </c:pt>
                <c:pt idx="322">
                  <c:v>0</c:v>
                </c:pt>
                <c:pt idx="323">
                  <c:v>-0.61458333338000004</c:v>
                </c:pt>
                <c:pt idx="324">
                  <c:v>0</c:v>
                </c:pt>
                <c:pt idx="325">
                  <c:v>-0.27895819044999998</c:v>
                </c:pt>
                <c:pt idx="326">
                  <c:v>0</c:v>
                </c:pt>
                <c:pt idx="327">
                  <c:v>-0.45676274949000001</c:v>
                </c:pt>
                <c:pt idx="328">
                  <c:v>0</c:v>
                </c:pt>
                <c:pt idx="329">
                  <c:v>0</c:v>
                </c:pt>
                <c:pt idx="330">
                  <c:v>-0.89456869011999995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-0.66489361703000005</c:v>
                </c:pt>
                <c:pt idx="337">
                  <c:v>0</c:v>
                </c:pt>
                <c:pt idx="338">
                  <c:v>-0.81660583942999998</c:v>
                </c:pt>
                <c:pt idx="339">
                  <c:v>0</c:v>
                </c:pt>
                <c:pt idx="340">
                  <c:v>-0.88566552900999995</c:v>
                </c:pt>
                <c:pt idx="341">
                  <c:v>0</c:v>
                </c:pt>
                <c:pt idx="342">
                  <c:v>-0.85667485666999998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-0.77539062498</c:v>
                </c:pt>
                <c:pt idx="354">
                  <c:v>0</c:v>
                </c:pt>
                <c:pt idx="355">
                  <c:v>-0.56254796629000003</c:v>
                </c:pt>
                <c:pt idx="356">
                  <c:v>2.3076924799999999E-3</c:v>
                </c:pt>
                <c:pt idx="357">
                  <c:v>-0.50559999999000005</c:v>
                </c:pt>
                <c:pt idx="358">
                  <c:v>1.0907680373699999</c:v>
                </c:pt>
                <c:pt idx="359">
                  <c:v>-0.49700598799000001</c:v>
                </c:pt>
                <c:pt idx="360">
                  <c:v>-0.38724035616000002</c:v>
                </c:pt>
                <c:pt idx="361">
                  <c:v>0</c:v>
                </c:pt>
                <c:pt idx="362">
                  <c:v>-0.55909090920000004</c:v>
                </c:pt>
                <c:pt idx="363">
                  <c:v>0</c:v>
                </c:pt>
                <c:pt idx="364">
                  <c:v>-0.86429085681999995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-0.36888626986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-0.81017986993000002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-0.60562519110000002</c:v>
                </c:pt>
                <c:pt idx="391">
                  <c:v>-0.17599538368000001</c:v>
                </c:pt>
                <c:pt idx="392">
                  <c:v>-0.39742822973000003</c:v>
                </c:pt>
                <c:pt idx="393">
                  <c:v>-0.46876758589</c:v>
                </c:pt>
                <c:pt idx="394">
                  <c:v>-0.39504008014000003</c:v>
                </c:pt>
                <c:pt idx="395">
                  <c:v>-0.35938590382000002</c:v>
                </c:pt>
                <c:pt idx="396">
                  <c:v>0</c:v>
                </c:pt>
                <c:pt idx="397">
                  <c:v>-0.44370419728999999</c:v>
                </c:pt>
                <c:pt idx="398">
                  <c:v>0</c:v>
                </c:pt>
                <c:pt idx="399">
                  <c:v>0.11413969335</c:v>
                </c:pt>
                <c:pt idx="400">
                  <c:v>0</c:v>
                </c:pt>
                <c:pt idx="401">
                  <c:v>2.1185603397600001</c:v>
                </c:pt>
                <c:pt idx="402">
                  <c:v>-0.56759986345000002</c:v>
                </c:pt>
                <c:pt idx="403">
                  <c:v>1.8829733803499999</c:v>
                </c:pt>
                <c:pt idx="404">
                  <c:v>-0.55307961940000006</c:v>
                </c:pt>
                <c:pt idx="405">
                  <c:v>0.70473708402000002</c:v>
                </c:pt>
                <c:pt idx="406">
                  <c:v>-0.79305142198</c:v>
                </c:pt>
                <c:pt idx="407">
                  <c:v>1.6215372087</c:v>
                </c:pt>
                <c:pt idx="408">
                  <c:v>-0.73003033372000004</c:v>
                </c:pt>
                <c:pt idx="409">
                  <c:v>2.0210951001100002</c:v>
                </c:pt>
                <c:pt idx="410">
                  <c:v>-0.63367335808000003</c:v>
                </c:pt>
                <c:pt idx="411">
                  <c:v>0</c:v>
                </c:pt>
                <c:pt idx="412">
                  <c:v>-0.73737523111000003</c:v>
                </c:pt>
                <c:pt idx="413">
                  <c:v>0</c:v>
                </c:pt>
                <c:pt idx="414">
                  <c:v>-0.31715481169999998</c:v>
                </c:pt>
                <c:pt idx="415">
                  <c:v>1.6524568230600001</c:v>
                </c:pt>
                <c:pt idx="416">
                  <c:v>-0.30834347420000002</c:v>
                </c:pt>
                <c:pt idx="417">
                  <c:v>0.54414849543999999</c:v>
                </c:pt>
                <c:pt idx="418">
                  <c:v>4.9948936860000001E-2</c:v>
                </c:pt>
                <c:pt idx="419">
                  <c:v>-0.23881900018999999</c:v>
                </c:pt>
                <c:pt idx="420">
                  <c:v>0.42065089412000001</c:v>
                </c:pt>
                <c:pt idx="421">
                  <c:v>-0.17247579560000001</c:v>
                </c:pt>
                <c:pt idx="422">
                  <c:v>-3.1620153210000002E-2</c:v>
                </c:pt>
                <c:pt idx="423">
                  <c:v>-0.16934172234</c:v>
                </c:pt>
                <c:pt idx="424">
                  <c:v>-0.22280743732</c:v>
                </c:pt>
                <c:pt idx="425">
                  <c:v>-0.20485172583</c:v>
                </c:pt>
                <c:pt idx="426">
                  <c:v>-0.13909102969000001</c:v>
                </c:pt>
                <c:pt idx="427">
                  <c:v>2.2214140761299999</c:v>
                </c:pt>
                <c:pt idx="428">
                  <c:v>-4.6342384620000003E-2</c:v>
                </c:pt>
                <c:pt idx="429">
                  <c:v>2.8330178898899998</c:v>
                </c:pt>
                <c:pt idx="430">
                  <c:v>0.12433425194</c:v>
                </c:pt>
                <c:pt idx="431">
                  <c:v>0.36794669528000001</c:v>
                </c:pt>
                <c:pt idx="432">
                  <c:v>0.10903063104999999</c:v>
                </c:pt>
                <c:pt idx="433">
                  <c:v>-5.9605527589999999E-2</c:v>
                </c:pt>
                <c:pt idx="434">
                  <c:v>0.20217092462</c:v>
                </c:pt>
                <c:pt idx="435">
                  <c:v>-0.33074268855</c:v>
                </c:pt>
                <c:pt idx="436">
                  <c:v>-0.33113457708999999</c:v>
                </c:pt>
                <c:pt idx="437">
                  <c:v>-0.27708559563000001</c:v>
                </c:pt>
                <c:pt idx="438">
                  <c:v>-0.37368003345</c:v>
                </c:pt>
                <c:pt idx="439">
                  <c:v>-0.35319591934</c:v>
                </c:pt>
                <c:pt idx="440">
                  <c:v>-0.24438735635</c:v>
                </c:pt>
                <c:pt idx="441">
                  <c:v>-0.14917574006000001</c:v>
                </c:pt>
                <c:pt idx="442">
                  <c:v>-4.784449382E-2</c:v>
                </c:pt>
                <c:pt idx="443">
                  <c:v>-0.18669328052</c:v>
                </c:pt>
                <c:pt idx="444">
                  <c:v>0.64267075825999997</c:v>
                </c:pt>
                <c:pt idx="445">
                  <c:v>-0.35107398738000001</c:v>
                </c:pt>
                <c:pt idx="446">
                  <c:v>0.65233353435999997</c:v>
                </c:pt>
                <c:pt idx="447">
                  <c:v>-0.34729202491</c:v>
                </c:pt>
                <c:pt idx="448">
                  <c:v>0.68053224175000004</c:v>
                </c:pt>
                <c:pt idx="449">
                  <c:v>-0.17950221860999999</c:v>
                </c:pt>
                <c:pt idx="450">
                  <c:v>-0.11259815096</c:v>
                </c:pt>
                <c:pt idx="451">
                  <c:v>-6.10597706E-3</c:v>
                </c:pt>
                <c:pt idx="452">
                  <c:v>4.3877561099999997E-2</c:v>
                </c:pt>
                <c:pt idx="453">
                  <c:v>0.54213586841000005</c:v>
                </c:pt>
                <c:pt idx="454">
                  <c:v>5.1783129130000001E-2</c:v>
                </c:pt>
                <c:pt idx="455">
                  <c:v>0.82297672668999999</c:v>
                </c:pt>
                <c:pt idx="456">
                  <c:v>0.10149688492</c:v>
                </c:pt>
                <c:pt idx="457">
                  <c:v>0.42277204996000001</c:v>
                </c:pt>
                <c:pt idx="458">
                  <c:v>4.7252178360000001E-2</c:v>
                </c:pt>
                <c:pt idx="459">
                  <c:v>0.51813449356999997</c:v>
                </c:pt>
                <c:pt idx="460">
                  <c:v>0.24354973570999999</c:v>
                </c:pt>
                <c:pt idx="461">
                  <c:v>0.15928873499999999</c:v>
                </c:pt>
                <c:pt idx="462">
                  <c:v>0.33813918756</c:v>
                </c:pt>
                <c:pt idx="463">
                  <c:v>0.49203172025000003</c:v>
                </c:pt>
                <c:pt idx="464">
                  <c:v>7.5306775990000005E-2</c:v>
                </c:pt>
                <c:pt idx="465">
                  <c:v>0.48410440972000002</c:v>
                </c:pt>
                <c:pt idx="466">
                  <c:v>-0.12067894621</c:v>
                </c:pt>
                <c:pt idx="467">
                  <c:v>0.28309861208999998</c:v>
                </c:pt>
                <c:pt idx="468">
                  <c:v>3.83557009E-3</c:v>
                </c:pt>
                <c:pt idx="469">
                  <c:v>0.82158925900000002</c:v>
                </c:pt>
                <c:pt idx="470">
                  <c:v>4.1005792979999997E-2</c:v>
                </c:pt>
                <c:pt idx="471">
                  <c:v>1.3517689070100001</c:v>
                </c:pt>
                <c:pt idx="472">
                  <c:v>-2.0767261990000001E-2</c:v>
                </c:pt>
                <c:pt idx="473">
                  <c:v>0.55526182426000004</c:v>
                </c:pt>
                <c:pt idx="474">
                  <c:v>-6.6366507029999994E-2</c:v>
                </c:pt>
                <c:pt idx="475">
                  <c:v>3.2010321830000001E-2</c:v>
                </c:pt>
                <c:pt idx="476">
                  <c:v>0.17702523245999999</c:v>
                </c:pt>
                <c:pt idx="477">
                  <c:v>-0.24697682662000001</c:v>
                </c:pt>
                <c:pt idx="478">
                  <c:v>0.34392255573000002</c:v>
                </c:pt>
                <c:pt idx="479">
                  <c:v>-0.26373858906999997</c:v>
                </c:pt>
                <c:pt idx="480">
                  <c:v>0.33279830038000002</c:v>
                </c:pt>
                <c:pt idx="481">
                  <c:v>0.13817937227999999</c:v>
                </c:pt>
                <c:pt idx="482">
                  <c:v>4.4871145600000002E-2</c:v>
                </c:pt>
                <c:pt idx="483">
                  <c:v>8.4451824420000002E-2</c:v>
                </c:pt>
                <c:pt idx="484">
                  <c:v>0.51151512801999999</c:v>
                </c:pt>
                <c:pt idx="485">
                  <c:v>0.29144034916</c:v>
                </c:pt>
                <c:pt idx="486">
                  <c:v>8.408370054E-2</c:v>
                </c:pt>
                <c:pt idx="487">
                  <c:v>0.23409324879000001</c:v>
                </c:pt>
                <c:pt idx="488">
                  <c:v>0.18392025814999999</c:v>
                </c:pt>
                <c:pt idx="489">
                  <c:v>0.15232778538</c:v>
                </c:pt>
                <c:pt idx="490">
                  <c:v>0.1558711642</c:v>
                </c:pt>
                <c:pt idx="491">
                  <c:v>-0.23845012346</c:v>
                </c:pt>
                <c:pt idx="492">
                  <c:v>-5.9462192249999997E-2</c:v>
                </c:pt>
                <c:pt idx="493">
                  <c:v>-0.29616086820999998</c:v>
                </c:pt>
                <c:pt idx="494">
                  <c:v>0.43249929542999999</c:v>
                </c:pt>
                <c:pt idx="495">
                  <c:v>-0.51671000489999996</c:v>
                </c:pt>
                <c:pt idx="496">
                  <c:v>0.61324895051999995</c:v>
                </c:pt>
                <c:pt idx="497">
                  <c:v>-0.42416396051999999</c:v>
                </c:pt>
                <c:pt idx="498">
                  <c:v>0.27913337383999998</c:v>
                </c:pt>
                <c:pt idx="499">
                  <c:v>-0.37106554750999998</c:v>
                </c:pt>
                <c:pt idx="500">
                  <c:v>-2.0463812670000001E-2</c:v>
                </c:pt>
                <c:pt idx="501">
                  <c:v>-0.11786296357999999</c:v>
                </c:pt>
                <c:pt idx="502">
                  <c:v>-0.21892651495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975-4E54-8379-48514118E2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JIP_v_den_pozitivity_7dni_z_HOSP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6.8702290075999997E-2</c:v>
                </c:pt>
                <c:pt idx="1">
                  <c:v>7.4074074074000004E-2</c:v>
                </c:pt>
                <c:pt idx="2">
                  <c:v>0.08</c:v>
                </c:pt>
                <c:pt idx="3">
                  <c:v>9.3167701862999996E-2</c:v>
                </c:pt>
                <c:pt idx="4">
                  <c:v>7.8212290502000001E-2</c:v>
                </c:pt>
                <c:pt idx="5">
                  <c:v>9.2391304347000006E-2</c:v>
                </c:pt>
                <c:pt idx="6">
                  <c:v>8.2125603864000002E-2</c:v>
                </c:pt>
                <c:pt idx="7">
                  <c:v>7.0093457942999995E-2</c:v>
                </c:pt>
                <c:pt idx="8">
                  <c:v>7.8512396693999995E-2</c:v>
                </c:pt>
                <c:pt idx="9">
                  <c:v>7.4688796680000002E-2</c:v>
                </c:pt>
                <c:pt idx="10">
                  <c:v>6.0606060606000003E-2</c:v>
                </c:pt>
                <c:pt idx="11">
                  <c:v>7.2519083969000003E-2</c:v>
                </c:pt>
                <c:pt idx="12">
                  <c:v>5.9027777777000003E-2</c:v>
                </c:pt>
                <c:pt idx="13">
                  <c:v>6.4406779661000002E-2</c:v>
                </c:pt>
                <c:pt idx="14">
                  <c:v>7.2254335259999997E-2</c:v>
                </c:pt>
                <c:pt idx="15">
                  <c:v>5.9139784946000001E-2</c:v>
                </c:pt>
                <c:pt idx="16">
                  <c:v>5.9322033897999997E-2</c:v>
                </c:pt>
                <c:pt idx="17">
                  <c:v>5.5888223552000002E-2</c:v>
                </c:pt>
                <c:pt idx="18">
                  <c:v>5.6985294116999999E-2</c:v>
                </c:pt>
                <c:pt idx="19">
                  <c:v>6.8222621184000007E-2</c:v>
                </c:pt>
                <c:pt idx="20">
                  <c:v>7.0491803278000004E-2</c:v>
                </c:pt>
                <c:pt idx="21">
                  <c:v>7.0643642071999996E-2</c:v>
                </c:pt>
                <c:pt idx="22">
                  <c:v>7.4074074074000004E-2</c:v>
                </c:pt>
                <c:pt idx="23">
                  <c:v>7.8873239435999998E-2</c:v>
                </c:pt>
                <c:pt idx="24">
                  <c:v>8.1686429512000003E-2</c:v>
                </c:pt>
                <c:pt idx="25">
                  <c:v>7.8381795195000006E-2</c:v>
                </c:pt>
                <c:pt idx="26">
                  <c:v>7.3027090693999999E-2</c:v>
                </c:pt>
                <c:pt idx="27">
                  <c:v>7.8199052131999999E-2</c:v>
                </c:pt>
                <c:pt idx="28">
                  <c:v>7.0118662351000005E-2</c:v>
                </c:pt>
                <c:pt idx="29">
                  <c:v>6.6191446028000006E-2</c:v>
                </c:pt>
                <c:pt idx="30">
                  <c:v>6.7372473532000002E-2</c:v>
                </c:pt>
                <c:pt idx="31">
                  <c:v>6.6367713004000004E-2</c:v>
                </c:pt>
                <c:pt idx="32">
                  <c:v>7.6923076923000003E-2</c:v>
                </c:pt>
                <c:pt idx="33">
                  <c:v>8.1327800828999999E-2</c:v>
                </c:pt>
                <c:pt idx="34">
                  <c:v>7.3518915059999995E-2</c:v>
                </c:pt>
                <c:pt idx="35">
                  <c:v>8.0185553345999999E-2</c:v>
                </c:pt>
                <c:pt idx="36">
                  <c:v>8.5662211421000001E-2</c:v>
                </c:pt>
                <c:pt idx="37">
                  <c:v>7.9268292682000002E-2</c:v>
                </c:pt>
                <c:pt idx="38">
                  <c:v>8.0818414322000001E-2</c:v>
                </c:pt>
                <c:pt idx="39">
                  <c:v>7.5815738963000007E-2</c:v>
                </c:pt>
                <c:pt idx="40">
                  <c:v>7.3630924988000002E-2</c:v>
                </c:pt>
                <c:pt idx="41">
                  <c:v>7.0286195285999997E-2</c:v>
                </c:pt>
                <c:pt idx="42">
                  <c:v>6.5509076558000007E-2</c:v>
                </c:pt>
                <c:pt idx="43">
                  <c:v>6.0628195762999999E-2</c:v>
                </c:pt>
                <c:pt idx="44">
                  <c:v>6.1437001041E-2</c:v>
                </c:pt>
                <c:pt idx="45">
                  <c:v>6.1270557884000001E-2</c:v>
                </c:pt>
                <c:pt idx="46">
                  <c:v>5.6507363991000002E-2</c:v>
                </c:pt>
                <c:pt idx="47">
                  <c:v>5.6805399324999999E-2</c:v>
                </c:pt>
                <c:pt idx="48">
                  <c:v>5.6739477890000001E-2</c:v>
                </c:pt>
                <c:pt idx="49">
                  <c:v>5.6818181818000003E-2</c:v>
                </c:pt>
                <c:pt idx="50">
                  <c:v>5.6569754338000003E-2</c:v>
                </c:pt>
                <c:pt idx="51">
                  <c:v>5.5904522613000003E-2</c:v>
                </c:pt>
                <c:pt idx="52">
                  <c:v>5.1899725812000003E-2</c:v>
                </c:pt>
                <c:pt idx="53">
                  <c:v>5.4487179487E-2</c:v>
                </c:pt>
                <c:pt idx="54">
                  <c:v>5.4923215897999998E-2</c:v>
                </c:pt>
                <c:pt idx="55">
                  <c:v>5.6718433489999998E-2</c:v>
                </c:pt>
                <c:pt idx="56">
                  <c:v>5.5143502095999997E-2</c:v>
                </c:pt>
                <c:pt idx="57">
                  <c:v>5.3097345131999998E-2</c:v>
                </c:pt>
                <c:pt idx="58">
                  <c:v>5.4221656861E-2</c:v>
                </c:pt>
                <c:pt idx="59">
                  <c:v>5.4334554334000001E-2</c:v>
                </c:pt>
                <c:pt idx="60">
                  <c:v>5.4239877769000001E-2</c:v>
                </c:pt>
                <c:pt idx="61">
                  <c:v>5.3928405392000001E-2</c:v>
                </c:pt>
                <c:pt idx="62">
                  <c:v>5.1114227832000002E-2</c:v>
                </c:pt>
                <c:pt idx="63">
                  <c:v>5.0108932460999997E-2</c:v>
                </c:pt>
                <c:pt idx="64">
                  <c:v>4.9315068492999999E-2</c:v>
                </c:pt>
                <c:pt idx="65">
                  <c:v>4.8890971571000003E-2</c:v>
                </c:pt>
                <c:pt idx="66">
                  <c:v>4.9747186429000001E-2</c:v>
                </c:pt>
                <c:pt idx="67">
                  <c:v>4.8168590065000003E-2</c:v>
                </c:pt>
                <c:pt idx="68">
                  <c:v>4.6594982078000002E-2</c:v>
                </c:pt>
                <c:pt idx="69">
                  <c:v>4.6145685997000002E-2</c:v>
                </c:pt>
                <c:pt idx="70">
                  <c:v>4.5429565854000001E-2</c:v>
                </c:pt>
                <c:pt idx="71">
                  <c:v>4.5306200806000001E-2</c:v>
                </c:pt>
                <c:pt idx="72">
                  <c:v>4.2891183478E-2</c:v>
                </c:pt>
                <c:pt idx="73">
                  <c:v>3.9796954314000002E-2</c:v>
                </c:pt>
                <c:pt idx="74">
                  <c:v>3.9784500621000002E-2</c:v>
                </c:pt>
                <c:pt idx="75">
                  <c:v>3.8683479375000003E-2</c:v>
                </c:pt>
                <c:pt idx="76">
                  <c:v>3.9263531498999998E-2</c:v>
                </c:pt>
                <c:pt idx="77">
                  <c:v>4.0312729048999997E-2</c:v>
                </c:pt>
                <c:pt idx="78">
                  <c:v>4.1584645668999998E-2</c:v>
                </c:pt>
                <c:pt idx="79">
                  <c:v>3.9573820395000001E-2</c:v>
                </c:pt>
                <c:pt idx="80">
                  <c:v>4.1084634346000001E-2</c:v>
                </c:pt>
                <c:pt idx="81">
                  <c:v>4.3281471003999997E-2</c:v>
                </c:pt>
                <c:pt idx="82">
                  <c:v>4.3717429066999998E-2</c:v>
                </c:pt>
                <c:pt idx="83">
                  <c:v>4.1104110410999997E-2</c:v>
                </c:pt>
                <c:pt idx="84">
                  <c:v>3.9965743647999999E-2</c:v>
                </c:pt>
                <c:pt idx="85">
                  <c:v>4.2527339003E-2</c:v>
                </c:pt>
                <c:pt idx="86">
                  <c:v>4.3423536814999997E-2</c:v>
                </c:pt>
                <c:pt idx="87">
                  <c:v>4.4012944982999999E-2</c:v>
                </c:pt>
                <c:pt idx="88">
                  <c:v>4.0567282321000001E-2</c:v>
                </c:pt>
                <c:pt idx="89">
                  <c:v>4.0695766326999998E-2</c:v>
                </c:pt>
                <c:pt idx="90">
                  <c:v>4.4014671557E-2</c:v>
                </c:pt>
                <c:pt idx="91">
                  <c:v>4.3767507002000001E-2</c:v>
                </c:pt>
                <c:pt idx="92">
                  <c:v>4.3555240793000001E-2</c:v>
                </c:pt>
                <c:pt idx="93">
                  <c:v>4.7337278105999997E-2</c:v>
                </c:pt>
                <c:pt idx="94">
                  <c:v>4.7345282379999999E-2</c:v>
                </c:pt>
                <c:pt idx="95">
                  <c:v>4.7506738543999998E-2</c:v>
                </c:pt>
                <c:pt idx="96">
                  <c:v>4.8657718119999999E-2</c:v>
                </c:pt>
                <c:pt idx="97">
                  <c:v>4.6838407493999999E-2</c:v>
                </c:pt>
                <c:pt idx="98">
                  <c:v>4.7555703358000002E-2</c:v>
                </c:pt>
                <c:pt idx="99">
                  <c:v>4.601029601E-2</c:v>
                </c:pt>
                <c:pt idx="100">
                  <c:v>4.2471042471000003E-2</c:v>
                </c:pt>
                <c:pt idx="101">
                  <c:v>4.2428198432999997E-2</c:v>
                </c:pt>
                <c:pt idx="102">
                  <c:v>4.3726235741E-2</c:v>
                </c:pt>
                <c:pt idx="103">
                  <c:v>4.3505477308000001E-2</c:v>
                </c:pt>
                <c:pt idx="104">
                  <c:v>4.5891472868000001E-2</c:v>
                </c:pt>
                <c:pt idx="105">
                  <c:v>4.2942942941999997E-2</c:v>
                </c:pt>
                <c:pt idx="106">
                  <c:v>4.2774213259999999E-2</c:v>
                </c:pt>
                <c:pt idx="107">
                  <c:v>4.3609933373000002E-2</c:v>
                </c:pt>
                <c:pt idx="108">
                  <c:v>4.1765402843000003E-2</c:v>
                </c:pt>
                <c:pt idx="109">
                  <c:v>4.1641701617000003E-2</c:v>
                </c:pt>
                <c:pt idx="110">
                  <c:v>4.1506077675000003E-2</c:v>
                </c:pt>
                <c:pt idx="111">
                  <c:v>3.8711583924000002E-2</c:v>
                </c:pt>
                <c:pt idx="112">
                  <c:v>4.3251088533999997E-2</c:v>
                </c:pt>
                <c:pt idx="113">
                  <c:v>4.3925493465999998E-2</c:v>
                </c:pt>
                <c:pt idx="114">
                  <c:v>4.5071241640000002E-2</c:v>
                </c:pt>
                <c:pt idx="115">
                  <c:v>4.7013601419000003E-2</c:v>
                </c:pt>
                <c:pt idx="116">
                  <c:v>4.8098434003999997E-2</c:v>
                </c:pt>
                <c:pt idx="117">
                  <c:v>4.7593725072999998E-2</c:v>
                </c:pt>
                <c:pt idx="118">
                  <c:v>5.0527348540000003E-2</c:v>
                </c:pt>
                <c:pt idx="119">
                  <c:v>5.0068587104999999E-2</c:v>
                </c:pt>
                <c:pt idx="120">
                  <c:v>5.1287695355000003E-2</c:v>
                </c:pt>
                <c:pt idx="121">
                  <c:v>5.0789154188000001E-2</c:v>
                </c:pt>
                <c:pt idx="122">
                  <c:v>5.0683033061999998E-2</c:v>
                </c:pt>
                <c:pt idx="123">
                  <c:v>4.8714998081999999E-2</c:v>
                </c:pt>
                <c:pt idx="124">
                  <c:v>4.8812664907000002E-2</c:v>
                </c:pt>
                <c:pt idx="125">
                  <c:v>4.5479653839000003E-2</c:v>
                </c:pt>
                <c:pt idx="126">
                  <c:v>4.4646098002999998E-2</c:v>
                </c:pt>
                <c:pt idx="127">
                  <c:v>4.2796005706E-2</c:v>
                </c:pt>
                <c:pt idx="128">
                  <c:v>4.0943789034999997E-2</c:v>
                </c:pt>
                <c:pt idx="129">
                  <c:v>4.0233722871000001E-2</c:v>
                </c:pt>
                <c:pt idx="130">
                  <c:v>4.0441801189000003E-2</c:v>
                </c:pt>
                <c:pt idx="131">
                  <c:v>4.1363793699999998E-2</c:v>
                </c:pt>
                <c:pt idx="132">
                  <c:v>4.0085136573000002E-2</c:v>
                </c:pt>
                <c:pt idx="133">
                  <c:v>3.8657913931000001E-2</c:v>
                </c:pt>
                <c:pt idx="134">
                  <c:v>3.8512616201000001E-2</c:v>
                </c:pt>
                <c:pt idx="135">
                  <c:v>4.0502793295999998E-2</c:v>
                </c:pt>
                <c:pt idx="136">
                  <c:v>4.0828762949000001E-2</c:v>
                </c:pt>
                <c:pt idx="137">
                  <c:v>3.9891395154000003E-2</c:v>
                </c:pt>
                <c:pt idx="138">
                  <c:v>3.7642503764000003E-2</c:v>
                </c:pt>
                <c:pt idx="139">
                  <c:v>4.1175161362000001E-2</c:v>
                </c:pt>
                <c:pt idx="140">
                  <c:v>4.3087557603000003E-2</c:v>
                </c:pt>
                <c:pt idx="141">
                  <c:v>4.2794355770999999E-2</c:v>
                </c:pt>
                <c:pt idx="142">
                  <c:v>4.0358744394000001E-2</c:v>
                </c:pt>
                <c:pt idx="143">
                  <c:v>4.0920096852000001E-2</c:v>
                </c:pt>
                <c:pt idx="144">
                  <c:v>4.0900290415999997E-2</c:v>
                </c:pt>
                <c:pt idx="145">
                  <c:v>4.3086660174999999E-2</c:v>
                </c:pt>
                <c:pt idx="146">
                  <c:v>4.2793900639000002E-2</c:v>
                </c:pt>
                <c:pt idx="147">
                  <c:v>4.3424007985999998E-2</c:v>
                </c:pt>
                <c:pt idx="148">
                  <c:v>4.1634738185999998E-2</c:v>
                </c:pt>
                <c:pt idx="149">
                  <c:v>4.2126894424999999E-2</c:v>
                </c:pt>
                <c:pt idx="150">
                  <c:v>4.3087971273999999E-2</c:v>
                </c:pt>
                <c:pt idx="151">
                  <c:v>4.5207956600000002E-2</c:v>
                </c:pt>
                <c:pt idx="152">
                  <c:v>4.5419354837999998E-2</c:v>
                </c:pt>
                <c:pt idx="153">
                  <c:v>4.4489383214999997E-2</c:v>
                </c:pt>
                <c:pt idx="154">
                  <c:v>4.1023043808000002E-2</c:v>
                </c:pt>
                <c:pt idx="155">
                  <c:v>4.2964824120000002E-2</c:v>
                </c:pt>
                <c:pt idx="156">
                  <c:v>4.6505905510999999E-2</c:v>
                </c:pt>
                <c:pt idx="157">
                  <c:v>4.7288932903999999E-2</c:v>
                </c:pt>
                <c:pt idx="158">
                  <c:v>4.6699266502999999E-2</c:v>
                </c:pt>
                <c:pt idx="159">
                  <c:v>4.4707588206000001E-2</c:v>
                </c:pt>
                <c:pt idx="160">
                  <c:v>4.4542339696000001E-2</c:v>
                </c:pt>
                <c:pt idx="161">
                  <c:v>4.5786653677000001E-2</c:v>
                </c:pt>
                <c:pt idx="162">
                  <c:v>4.7261269995000001E-2</c:v>
                </c:pt>
                <c:pt idx="163">
                  <c:v>4.4460641399000002E-2</c:v>
                </c:pt>
                <c:pt idx="164">
                  <c:v>4.1062801932000001E-2</c:v>
                </c:pt>
                <c:pt idx="165">
                  <c:v>3.9603960395999997E-2</c:v>
                </c:pt>
                <c:pt idx="166">
                  <c:v>4.0056550423999998E-2</c:v>
                </c:pt>
                <c:pt idx="167">
                  <c:v>4.0177528614000001E-2</c:v>
                </c:pt>
                <c:pt idx="168">
                  <c:v>4.2844120328000002E-2</c:v>
                </c:pt>
                <c:pt idx="169">
                  <c:v>4.3506921555000001E-2</c:v>
                </c:pt>
                <c:pt idx="170">
                  <c:v>4.2141474950999999E-2</c:v>
                </c:pt>
                <c:pt idx="171">
                  <c:v>4.2566445182E-2</c:v>
                </c:pt>
                <c:pt idx="172">
                  <c:v>4.3673469387000001E-2</c:v>
                </c:pt>
                <c:pt idx="173">
                  <c:v>4.4372730939000002E-2</c:v>
                </c:pt>
                <c:pt idx="174">
                  <c:v>4.3275761692000002E-2</c:v>
                </c:pt>
                <c:pt idx="175">
                  <c:v>4.2159481114000003E-2</c:v>
                </c:pt>
                <c:pt idx="176">
                  <c:v>4.1603630862000002E-2</c:v>
                </c:pt>
                <c:pt idx="177">
                  <c:v>4.2541537337000002E-2</c:v>
                </c:pt>
                <c:pt idx="178">
                  <c:v>4.1391614628999998E-2</c:v>
                </c:pt>
                <c:pt idx="179">
                  <c:v>4.1493055554999998E-2</c:v>
                </c:pt>
                <c:pt idx="180">
                  <c:v>4.1272570937E-2</c:v>
                </c:pt>
                <c:pt idx="181">
                  <c:v>4.0330578511999997E-2</c:v>
                </c:pt>
                <c:pt idx="182">
                  <c:v>4.0019209219999997E-2</c:v>
                </c:pt>
                <c:pt idx="183">
                  <c:v>3.9093665229999998E-2</c:v>
                </c:pt>
                <c:pt idx="184">
                  <c:v>3.9872408292999997E-2</c:v>
                </c:pt>
                <c:pt idx="185">
                  <c:v>4.1320995531999999E-2</c:v>
                </c:pt>
                <c:pt idx="186">
                  <c:v>3.9371328781999997E-2</c:v>
                </c:pt>
                <c:pt idx="187">
                  <c:v>3.7723986166999998E-2</c:v>
                </c:pt>
                <c:pt idx="188">
                  <c:v>3.8240000000000003E-2</c:v>
                </c:pt>
                <c:pt idx="189">
                  <c:v>3.6245954692000003E-2</c:v>
                </c:pt>
                <c:pt idx="190">
                  <c:v>3.5933806146000002E-2</c:v>
                </c:pt>
                <c:pt idx="191">
                  <c:v>3.5416338737000001E-2</c:v>
                </c:pt>
                <c:pt idx="192">
                  <c:v>3.3644859813E-2</c:v>
                </c:pt>
                <c:pt idx="193">
                  <c:v>3.5213462137000003E-2</c:v>
                </c:pt>
                <c:pt idx="194">
                  <c:v>3.4585756955999997E-2</c:v>
                </c:pt>
                <c:pt idx="195">
                  <c:v>3.3060453400000002E-2</c:v>
                </c:pt>
                <c:pt idx="196">
                  <c:v>3.4307496823000001E-2</c:v>
                </c:pt>
                <c:pt idx="197">
                  <c:v>3.3061889249999997E-2</c:v>
                </c:pt>
                <c:pt idx="198">
                  <c:v>3.1732845986999998E-2</c:v>
                </c:pt>
                <c:pt idx="199">
                  <c:v>3.3481380252000002E-2</c:v>
                </c:pt>
                <c:pt idx="200">
                  <c:v>3.1916769529000001E-2</c:v>
                </c:pt>
                <c:pt idx="201">
                  <c:v>3.2443090159000001E-2</c:v>
                </c:pt>
                <c:pt idx="202">
                  <c:v>3.5759897828000001E-2</c:v>
                </c:pt>
                <c:pt idx="203">
                  <c:v>3.5325065763999998E-2</c:v>
                </c:pt>
                <c:pt idx="204">
                  <c:v>3.6209553158E-2</c:v>
                </c:pt>
                <c:pt idx="205">
                  <c:v>3.6007827787999998E-2</c:v>
                </c:pt>
                <c:pt idx="206">
                  <c:v>3.4709754636999997E-2</c:v>
                </c:pt>
                <c:pt idx="207">
                  <c:v>3.4695912262999999E-2</c:v>
                </c:pt>
                <c:pt idx="208">
                  <c:v>3.5179943387999998E-2</c:v>
                </c:pt>
                <c:pt idx="209">
                  <c:v>3.2708333333000002E-2</c:v>
                </c:pt>
                <c:pt idx="210">
                  <c:v>3.1536330704999997E-2</c:v>
                </c:pt>
                <c:pt idx="211">
                  <c:v>3.2587442970999997E-2</c:v>
                </c:pt>
                <c:pt idx="212">
                  <c:v>3.2940129089E-2</c:v>
                </c:pt>
                <c:pt idx="213">
                  <c:v>3.3574259734000002E-2</c:v>
                </c:pt>
                <c:pt idx="214">
                  <c:v>3.4285714284999998E-2</c:v>
                </c:pt>
                <c:pt idx="215">
                  <c:v>3.3743070618999997E-2</c:v>
                </c:pt>
                <c:pt idx="216">
                  <c:v>3.5167785234E-2</c:v>
                </c:pt>
                <c:pt idx="217">
                  <c:v>3.5338548690999998E-2</c:v>
                </c:pt>
                <c:pt idx="218">
                  <c:v>3.4173669466999998E-2</c:v>
                </c:pt>
                <c:pt idx="219">
                  <c:v>3.6643026003999997E-2</c:v>
                </c:pt>
                <c:pt idx="220">
                  <c:v>3.5724918129999998E-2</c:v>
                </c:pt>
                <c:pt idx="221">
                  <c:v>3.8582183185999999E-2</c:v>
                </c:pt>
                <c:pt idx="222">
                  <c:v>4.0303931284999997E-2</c:v>
                </c:pt>
                <c:pt idx="223">
                  <c:v>4.2262678802999998E-2</c:v>
                </c:pt>
                <c:pt idx="224">
                  <c:v>4.6602632514999999E-2</c:v>
                </c:pt>
                <c:pt idx="225">
                  <c:v>4.5098770033000002E-2</c:v>
                </c:pt>
                <c:pt idx="226">
                  <c:v>4.1138023836000001E-2</c:v>
                </c:pt>
                <c:pt idx="227">
                  <c:v>4.4272948822000002E-2</c:v>
                </c:pt>
                <c:pt idx="228">
                  <c:v>4.2131350680999997E-2</c:v>
                </c:pt>
                <c:pt idx="229">
                  <c:v>4.0893760538999999E-2</c:v>
                </c:pt>
                <c:pt idx="230">
                  <c:v>3.9393939393000003E-2</c:v>
                </c:pt>
                <c:pt idx="231">
                  <c:v>3.8410596025999999E-2</c:v>
                </c:pt>
                <c:pt idx="232">
                  <c:v>4.0687160940000001E-2</c:v>
                </c:pt>
                <c:pt idx="233">
                  <c:v>4.4769085767999997E-2</c:v>
                </c:pt>
                <c:pt idx="234">
                  <c:v>4.4783464565999999E-2</c:v>
                </c:pt>
                <c:pt idx="235">
                  <c:v>4.5478036175E-2</c:v>
                </c:pt>
                <c:pt idx="236">
                  <c:v>4.9197860962000003E-2</c:v>
                </c:pt>
                <c:pt idx="237">
                  <c:v>4.6655424394999999E-2</c:v>
                </c:pt>
                <c:pt idx="238">
                  <c:v>4.5909358445999998E-2</c:v>
                </c:pt>
                <c:pt idx="239">
                  <c:v>4.9591964846000001E-2</c:v>
                </c:pt>
                <c:pt idx="240">
                  <c:v>4.7619047619000002E-2</c:v>
                </c:pt>
                <c:pt idx="241">
                  <c:v>4.5841519317999999E-2</c:v>
                </c:pt>
                <c:pt idx="242">
                  <c:v>4.0816326530000002E-2</c:v>
                </c:pt>
                <c:pt idx="243">
                  <c:v>3.5404141616000001E-2</c:v>
                </c:pt>
                <c:pt idx="244">
                  <c:v>3.8952316990999998E-2</c:v>
                </c:pt>
                <c:pt idx="245">
                  <c:v>4.0396881644000002E-2</c:v>
                </c:pt>
                <c:pt idx="246">
                  <c:v>3.6710719529999998E-2</c:v>
                </c:pt>
                <c:pt idx="247">
                  <c:v>3.4883720930000001E-2</c:v>
                </c:pt>
                <c:pt idx="248">
                  <c:v>3.8065027755000001E-2</c:v>
                </c:pt>
                <c:pt idx="249">
                  <c:v>4.1841004183999997E-2</c:v>
                </c:pt>
                <c:pt idx="250">
                  <c:v>4.6086956520999998E-2</c:v>
                </c:pt>
                <c:pt idx="251">
                  <c:v>4.5751633985999997E-2</c:v>
                </c:pt>
                <c:pt idx="252">
                  <c:v>4.5279383429000002E-2</c:v>
                </c:pt>
                <c:pt idx="253">
                  <c:v>4.7283702213000003E-2</c:v>
                </c:pt>
                <c:pt idx="254">
                  <c:v>4.7669491525000003E-2</c:v>
                </c:pt>
                <c:pt idx="255">
                  <c:v>4.4673539518000002E-2</c:v>
                </c:pt>
                <c:pt idx="256">
                  <c:v>4.3735224586000002E-2</c:v>
                </c:pt>
                <c:pt idx="257">
                  <c:v>3.9555006179999998E-2</c:v>
                </c:pt>
                <c:pt idx="258">
                  <c:v>3.6684782607999997E-2</c:v>
                </c:pt>
                <c:pt idx="259">
                  <c:v>3.9881831610000001E-2</c:v>
                </c:pt>
                <c:pt idx="260">
                  <c:v>3.9473684209999998E-2</c:v>
                </c:pt>
                <c:pt idx="261">
                  <c:v>3.7837837837000003E-2</c:v>
                </c:pt>
                <c:pt idx="262">
                  <c:v>4.1745730549999999E-2</c:v>
                </c:pt>
                <c:pt idx="263">
                  <c:v>5.2313883298999997E-2</c:v>
                </c:pt>
                <c:pt idx="264">
                  <c:v>5.4229934924000002E-2</c:v>
                </c:pt>
                <c:pt idx="265">
                  <c:v>5.3012048191999998E-2</c:v>
                </c:pt>
                <c:pt idx="266">
                  <c:v>4.8223350253000001E-2</c:v>
                </c:pt>
                <c:pt idx="267">
                  <c:v>4.9222797927000003E-2</c:v>
                </c:pt>
                <c:pt idx="268">
                  <c:v>5.8988764043999997E-2</c:v>
                </c:pt>
                <c:pt idx="269">
                  <c:v>5.0156739811000002E-2</c:v>
                </c:pt>
                <c:pt idx="270">
                  <c:v>3.3003300329999999E-2</c:v>
                </c:pt>
                <c:pt idx="271">
                  <c:v>4.6511627905999997E-2</c:v>
                </c:pt>
                <c:pt idx="272">
                  <c:v>5.2631578946999998E-2</c:v>
                </c:pt>
                <c:pt idx="273">
                  <c:v>5.5118110236000002E-2</c:v>
                </c:pt>
                <c:pt idx="274">
                  <c:v>4.7619047619000002E-2</c:v>
                </c:pt>
                <c:pt idx="275">
                  <c:v>4.6948356806999998E-2</c:v>
                </c:pt>
                <c:pt idx="276">
                  <c:v>5.9701492537000002E-2</c:v>
                </c:pt>
                <c:pt idx="277">
                  <c:v>5.5837563451000001E-2</c:v>
                </c:pt>
                <c:pt idx="278">
                  <c:v>3.2967032967000001E-2</c:v>
                </c:pt>
                <c:pt idx="279">
                  <c:v>3.2258064516000003E-2</c:v>
                </c:pt>
                <c:pt idx="280">
                  <c:v>2.6666666666E-2</c:v>
                </c:pt>
                <c:pt idx="281">
                  <c:v>3.1496062992000001E-2</c:v>
                </c:pt>
                <c:pt idx="282">
                  <c:v>4.8000000000000001E-2</c:v>
                </c:pt>
                <c:pt idx="283">
                  <c:v>3.7383177570000002E-2</c:v>
                </c:pt>
                <c:pt idx="284">
                  <c:v>0.05</c:v>
                </c:pt>
                <c:pt idx="285">
                  <c:v>5.3763440859999997E-2</c:v>
                </c:pt>
                <c:pt idx="286">
                  <c:v>5.6818181818000003E-2</c:v>
                </c:pt>
                <c:pt idx="287">
                  <c:v>8.1081081080999998E-2</c:v>
                </c:pt>
                <c:pt idx="288">
                  <c:v>9.2307692307000005E-2</c:v>
                </c:pt>
                <c:pt idx="289">
                  <c:v>4.2253521125999997E-2</c:v>
                </c:pt>
                <c:pt idx="290">
                  <c:v>5.7971014491999998E-2</c:v>
                </c:pt>
                <c:pt idx="291">
                  <c:v>5.6338028169E-2</c:v>
                </c:pt>
                <c:pt idx="292">
                  <c:v>7.3529411764000005E-2</c:v>
                </c:pt>
                <c:pt idx="293">
                  <c:v>7.4626865671000006E-2</c:v>
                </c:pt>
                <c:pt idx="294">
                  <c:v>6.1538461538000001E-2</c:v>
                </c:pt>
                <c:pt idx="295">
                  <c:v>4.5454545454000003E-2</c:v>
                </c:pt>
                <c:pt idx="296">
                  <c:v>8.6956521738999995E-2</c:v>
                </c:pt>
                <c:pt idx="297">
                  <c:v>6.8181818180999998E-2</c:v>
                </c:pt>
                <c:pt idx="298">
                  <c:v>5.5555555554999997E-2</c:v>
                </c:pt>
                <c:pt idx="299">
                  <c:v>2.7777777776999999E-2</c:v>
                </c:pt>
                <c:pt idx="300">
                  <c:v>5.7142857142E-2</c:v>
                </c:pt>
                <c:pt idx="301">
                  <c:v>6.6666666666000005E-2</c:v>
                </c:pt>
                <c:pt idx="302">
                  <c:v>0.12121212121200001</c:v>
                </c:pt>
                <c:pt idx="303">
                  <c:v>9.0909090908999998E-2</c:v>
                </c:pt>
                <c:pt idx="304">
                  <c:v>0.10344827586200001</c:v>
                </c:pt>
                <c:pt idx="305">
                  <c:v>0.10344827586200001</c:v>
                </c:pt>
                <c:pt idx="306">
                  <c:v>0.1</c:v>
                </c:pt>
                <c:pt idx="307">
                  <c:v>0.12</c:v>
                </c:pt>
                <c:pt idx="309">
                  <c:v>0.12903225806400001</c:v>
                </c:pt>
                <c:pt idx="310">
                  <c:v>0.08</c:v>
                </c:pt>
                <c:pt idx="311">
                  <c:v>7.6923076923000003E-2</c:v>
                </c:pt>
                <c:pt idx="312">
                  <c:v>0.111111111111</c:v>
                </c:pt>
                <c:pt idx="313">
                  <c:v>0.1</c:v>
                </c:pt>
                <c:pt idx="314">
                  <c:v>8.5714285713999999E-2</c:v>
                </c:pt>
                <c:pt idx="316">
                  <c:v>0.105263157894</c:v>
                </c:pt>
                <c:pt idx="317">
                  <c:v>8.3333333332999998E-2</c:v>
                </c:pt>
                <c:pt idx="318">
                  <c:v>0.105263157894</c:v>
                </c:pt>
                <c:pt idx="319">
                  <c:v>0.10810810810800001</c:v>
                </c:pt>
                <c:pt idx="320">
                  <c:v>8.3333333332999998E-2</c:v>
                </c:pt>
                <c:pt idx="321">
                  <c:v>9.7560975608999997E-2</c:v>
                </c:pt>
                <c:pt idx="322">
                  <c:v>0.13157894736799999</c:v>
                </c:pt>
                <c:pt idx="323">
                  <c:v>7.6923076923000003E-2</c:v>
                </c:pt>
                <c:pt idx="324">
                  <c:v>7.6923076923000003E-2</c:v>
                </c:pt>
                <c:pt idx="325">
                  <c:v>7.8947368421000003E-2</c:v>
                </c:pt>
                <c:pt idx="326">
                  <c:v>7.4999999999999997E-2</c:v>
                </c:pt>
                <c:pt idx="327">
                  <c:v>6.5217391304000005E-2</c:v>
                </c:pt>
                <c:pt idx="328">
                  <c:v>0.06</c:v>
                </c:pt>
                <c:pt idx="329">
                  <c:v>4.1666666666000003E-2</c:v>
                </c:pt>
                <c:pt idx="330">
                  <c:v>6.1224489795000003E-2</c:v>
                </c:pt>
                <c:pt idx="331">
                  <c:v>7.4074074074000004E-2</c:v>
                </c:pt>
                <c:pt idx="332">
                  <c:v>9.4339622641000001E-2</c:v>
                </c:pt>
                <c:pt idx="333">
                  <c:v>9.6153846153000003E-2</c:v>
                </c:pt>
                <c:pt idx="334">
                  <c:v>0.125</c:v>
                </c:pt>
                <c:pt idx="335">
                  <c:v>0.116279069767</c:v>
                </c:pt>
                <c:pt idx="336">
                  <c:v>0.13953488372</c:v>
                </c:pt>
                <c:pt idx="337">
                  <c:v>0.125</c:v>
                </c:pt>
                <c:pt idx="338">
                  <c:v>0.125</c:v>
                </c:pt>
                <c:pt idx="339">
                  <c:v>8.8888888888000006E-2</c:v>
                </c:pt>
                <c:pt idx="340">
                  <c:v>8.6956521738999995E-2</c:v>
                </c:pt>
                <c:pt idx="341">
                  <c:v>6.8181818180999998E-2</c:v>
                </c:pt>
                <c:pt idx="342">
                  <c:v>9.5238095238000003E-2</c:v>
                </c:pt>
                <c:pt idx="343">
                  <c:v>6.5217391304000005E-2</c:v>
                </c:pt>
                <c:pt idx="344">
                  <c:v>9.7560975608999997E-2</c:v>
                </c:pt>
                <c:pt idx="345">
                  <c:v>0.116279069767</c:v>
                </c:pt>
                <c:pt idx="346">
                  <c:v>0.1</c:v>
                </c:pt>
                <c:pt idx="347">
                  <c:v>9.3023255813E-2</c:v>
                </c:pt>
                <c:pt idx="348">
                  <c:v>0.10869565217300001</c:v>
                </c:pt>
                <c:pt idx="349">
                  <c:v>0.102040816326</c:v>
                </c:pt>
                <c:pt idx="350">
                  <c:v>0.102040816326</c:v>
                </c:pt>
                <c:pt idx="351">
                  <c:v>5.8823529410999997E-2</c:v>
                </c:pt>
                <c:pt idx="352">
                  <c:v>7.1428571428000007E-2</c:v>
                </c:pt>
                <c:pt idx="353">
                  <c:v>8.3333333332999998E-2</c:v>
                </c:pt>
                <c:pt idx="354">
                  <c:v>8.7719298244999994E-2</c:v>
                </c:pt>
                <c:pt idx="355">
                  <c:v>6.8965517241000002E-2</c:v>
                </c:pt>
                <c:pt idx="356">
                  <c:v>7.1428571428000007E-2</c:v>
                </c:pt>
                <c:pt idx="357">
                  <c:v>8.3333333332999998E-2</c:v>
                </c:pt>
                <c:pt idx="358">
                  <c:v>9.8360655736999994E-2</c:v>
                </c:pt>
                <c:pt idx="359">
                  <c:v>6.8965517241000002E-2</c:v>
                </c:pt>
                <c:pt idx="360">
                  <c:v>5.4545454544999997E-2</c:v>
                </c:pt>
                <c:pt idx="361">
                  <c:v>5.5555555554999997E-2</c:v>
                </c:pt>
                <c:pt idx="362">
                  <c:v>5.8823529410999997E-2</c:v>
                </c:pt>
                <c:pt idx="363">
                  <c:v>4.2553191488999997E-2</c:v>
                </c:pt>
                <c:pt idx="364">
                  <c:v>2.2222222222000002E-2</c:v>
                </c:pt>
                <c:pt idx="365">
                  <c:v>0.02</c:v>
                </c:pt>
                <c:pt idx="366">
                  <c:v>3.7735849055999998E-2</c:v>
                </c:pt>
                <c:pt idx="367">
                  <c:v>8.3333333332999998E-2</c:v>
                </c:pt>
                <c:pt idx="368">
                  <c:v>8.0645161290000003E-2</c:v>
                </c:pt>
                <c:pt idx="369">
                  <c:v>0.101449275362</c:v>
                </c:pt>
                <c:pt idx="370">
                  <c:v>0.10975609756</c:v>
                </c:pt>
                <c:pt idx="371">
                  <c:v>0.116279069767</c:v>
                </c:pt>
                <c:pt idx="372">
                  <c:v>0.10465116279</c:v>
                </c:pt>
                <c:pt idx="373">
                  <c:v>8.6956521738999995E-2</c:v>
                </c:pt>
                <c:pt idx="374">
                  <c:v>7.6923076923000003E-2</c:v>
                </c:pt>
                <c:pt idx="375">
                  <c:v>7.2916666665999996E-2</c:v>
                </c:pt>
                <c:pt idx="376">
                  <c:v>5.8252427183999998E-2</c:v>
                </c:pt>
                <c:pt idx="377">
                  <c:v>6.9565217390999995E-2</c:v>
                </c:pt>
                <c:pt idx="378">
                  <c:v>7.0866141731999996E-2</c:v>
                </c:pt>
                <c:pt idx="379">
                  <c:v>6.9767441860000001E-2</c:v>
                </c:pt>
                <c:pt idx="380">
                  <c:v>8.3333333332999998E-2</c:v>
                </c:pt>
                <c:pt idx="381">
                  <c:v>6.6666666666000005E-2</c:v>
                </c:pt>
                <c:pt idx="382">
                  <c:v>6.8027210884000003E-2</c:v>
                </c:pt>
                <c:pt idx="383">
                  <c:v>7.6388888887999995E-2</c:v>
                </c:pt>
                <c:pt idx="384">
                  <c:v>5.0724637681000002E-2</c:v>
                </c:pt>
                <c:pt idx="385">
                  <c:v>3.7878787878000003E-2</c:v>
                </c:pt>
                <c:pt idx="386">
                  <c:v>4.5454545454000003E-2</c:v>
                </c:pt>
                <c:pt idx="387">
                  <c:v>4.4776119401999999E-2</c:v>
                </c:pt>
                <c:pt idx="388">
                  <c:v>6.1538461538000001E-2</c:v>
                </c:pt>
                <c:pt idx="389">
                  <c:v>7.8014184397000003E-2</c:v>
                </c:pt>
                <c:pt idx="390">
                  <c:v>6.9930069930000005E-2</c:v>
                </c:pt>
                <c:pt idx="391">
                  <c:v>7.7922077921999996E-2</c:v>
                </c:pt>
                <c:pt idx="392">
                  <c:v>9.9337748343999999E-2</c:v>
                </c:pt>
                <c:pt idx="393">
                  <c:v>9.4117647058000006E-2</c:v>
                </c:pt>
                <c:pt idx="394">
                  <c:v>9.9447513811999996E-2</c:v>
                </c:pt>
                <c:pt idx="395">
                  <c:v>8.6486486486000005E-2</c:v>
                </c:pt>
                <c:pt idx="396">
                  <c:v>7.2916666665999996E-2</c:v>
                </c:pt>
                <c:pt idx="397">
                  <c:v>8.9552238805000003E-2</c:v>
                </c:pt>
                <c:pt idx="398">
                  <c:v>7.7272727272000005E-2</c:v>
                </c:pt>
                <c:pt idx="399">
                  <c:v>9.4262295080999994E-2</c:v>
                </c:pt>
                <c:pt idx="400">
                  <c:v>0.12595419847299999</c:v>
                </c:pt>
                <c:pt idx="401">
                  <c:v>0.118959107806</c:v>
                </c:pt>
                <c:pt idx="402">
                  <c:v>0.114186851211</c:v>
                </c:pt>
                <c:pt idx="403">
                  <c:v>0.123287671232</c:v>
                </c:pt>
                <c:pt idx="404">
                  <c:v>0.109634551495</c:v>
                </c:pt>
                <c:pt idx="405">
                  <c:v>0.11585365853600001</c:v>
                </c:pt>
                <c:pt idx="406">
                  <c:v>9.7142857141999994E-2</c:v>
                </c:pt>
                <c:pt idx="407">
                  <c:v>7.5208913648999995E-2</c:v>
                </c:pt>
                <c:pt idx="408">
                  <c:v>7.9575596816000002E-2</c:v>
                </c:pt>
                <c:pt idx="409">
                  <c:v>7.5980392155999998E-2</c:v>
                </c:pt>
                <c:pt idx="410">
                  <c:v>6.25E-2</c:v>
                </c:pt>
                <c:pt idx="411">
                  <c:v>6.4377682403E-2</c:v>
                </c:pt>
                <c:pt idx="412">
                  <c:v>6.1420345489000001E-2</c:v>
                </c:pt>
                <c:pt idx="413">
                  <c:v>5.2545155992999998E-2</c:v>
                </c:pt>
                <c:pt idx="414">
                  <c:v>4.6757164403999997E-2</c:v>
                </c:pt>
                <c:pt idx="415">
                  <c:v>4.3243243243000003E-2</c:v>
                </c:pt>
                <c:pt idx="416">
                  <c:v>4.4009779951E-2</c:v>
                </c:pt>
                <c:pt idx="417">
                  <c:v>5.2325581395000001E-2</c:v>
                </c:pt>
                <c:pt idx="418">
                  <c:v>5.9912854029999997E-2</c:v>
                </c:pt>
                <c:pt idx="419">
                  <c:v>5.5944055944000003E-2</c:v>
                </c:pt>
                <c:pt idx="420">
                  <c:v>5.2158273381E-2</c:v>
                </c:pt>
                <c:pt idx="421">
                  <c:v>5.7536466773999997E-2</c:v>
                </c:pt>
                <c:pt idx="422">
                  <c:v>5.5118110236000002E-2</c:v>
                </c:pt>
                <c:pt idx="423">
                  <c:v>4.9275362317999997E-2</c:v>
                </c:pt>
                <c:pt idx="424">
                  <c:v>4.6671242278E-2</c:v>
                </c:pt>
                <c:pt idx="425">
                  <c:v>4.1935483869999998E-2</c:v>
                </c:pt>
                <c:pt idx="426">
                  <c:v>4.4699140401000002E-2</c:v>
                </c:pt>
                <c:pt idx="427">
                  <c:v>4.8988285409999999E-2</c:v>
                </c:pt>
                <c:pt idx="428">
                  <c:v>4.3026706231000002E-2</c:v>
                </c:pt>
                <c:pt idx="429">
                  <c:v>4.2467590522999997E-2</c:v>
                </c:pt>
                <c:pt idx="430">
                  <c:v>4.7700902449E-2</c:v>
                </c:pt>
                <c:pt idx="431">
                  <c:v>5.0041356491999998E-2</c:v>
                </c:pt>
                <c:pt idx="432">
                  <c:v>5.1343762534999997E-2</c:v>
                </c:pt>
                <c:pt idx="433">
                  <c:v>5.0478011471999998E-2</c:v>
                </c:pt>
                <c:pt idx="434">
                  <c:v>4.6965317919000001E-2</c:v>
                </c:pt>
                <c:pt idx="435">
                  <c:v>5.1174202592999998E-2</c:v>
                </c:pt>
                <c:pt idx="436">
                  <c:v>5.1334008780000003E-2</c:v>
                </c:pt>
                <c:pt idx="437">
                  <c:v>4.9169859513999999E-2</c:v>
                </c:pt>
                <c:pt idx="438">
                  <c:v>4.7707558859E-2</c:v>
                </c:pt>
                <c:pt idx="439">
                  <c:v>4.7995139732000001E-2</c:v>
                </c:pt>
                <c:pt idx="440">
                  <c:v>4.3490701000999998E-2</c:v>
                </c:pt>
                <c:pt idx="441">
                  <c:v>4.2500000000000003E-2</c:v>
                </c:pt>
                <c:pt idx="442">
                  <c:v>4.4093178035999998E-2</c:v>
                </c:pt>
                <c:pt idx="443">
                  <c:v>4.4521460943000003E-2</c:v>
                </c:pt>
                <c:pt idx="444">
                  <c:v>4.2656449552999999E-2</c:v>
                </c:pt>
                <c:pt idx="445">
                  <c:v>4.4157777225999999E-2</c:v>
                </c:pt>
                <c:pt idx="446">
                  <c:v>4.4922341695999998E-2</c:v>
                </c:pt>
                <c:pt idx="447">
                  <c:v>4.8327137546000001E-2</c:v>
                </c:pt>
                <c:pt idx="448">
                  <c:v>5.0181653042E-2</c:v>
                </c:pt>
                <c:pt idx="449">
                  <c:v>4.5601204559999997E-2</c:v>
                </c:pt>
                <c:pt idx="450">
                  <c:v>4.5704612780000001E-2</c:v>
                </c:pt>
                <c:pt idx="451">
                  <c:v>4.7122602168000002E-2</c:v>
                </c:pt>
                <c:pt idx="452">
                  <c:v>4.4899648250999999E-2</c:v>
                </c:pt>
                <c:pt idx="453">
                  <c:v>4.3073100019999998E-2</c:v>
                </c:pt>
                <c:pt idx="454">
                  <c:v>4.1718815185000001E-2</c:v>
                </c:pt>
                <c:pt idx="455">
                  <c:v>4.0368123823E-2</c:v>
                </c:pt>
                <c:pt idx="456">
                  <c:v>4.1561712846E-2</c:v>
                </c:pt>
                <c:pt idx="457">
                  <c:v>3.9129525004999999E-2</c:v>
                </c:pt>
                <c:pt idx="458">
                  <c:v>3.8782944074999999E-2</c:v>
                </c:pt>
                <c:pt idx="459">
                  <c:v>3.7134119702E-2</c:v>
                </c:pt>
                <c:pt idx="460">
                  <c:v>3.6719437115000003E-2</c:v>
                </c:pt>
                <c:pt idx="461">
                  <c:v>3.7368538823000001E-2</c:v>
                </c:pt>
                <c:pt idx="462">
                  <c:v>3.6808413350999998E-2</c:v>
                </c:pt>
                <c:pt idx="463">
                  <c:v>3.4434620753000002E-2</c:v>
                </c:pt>
                <c:pt idx="464">
                  <c:v>3.4599564481000003E-2</c:v>
                </c:pt>
                <c:pt idx="465">
                  <c:v>3.2735208534999997E-2</c:v>
                </c:pt>
                <c:pt idx="466">
                  <c:v>3.4694881889000002E-2</c:v>
                </c:pt>
                <c:pt idx="467">
                  <c:v>3.4509007866000002E-2</c:v>
                </c:pt>
                <c:pt idx="468">
                  <c:v>3.3315981259000003E-2</c:v>
                </c:pt>
                <c:pt idx="469">
                  <c:v>3.6040882194E-2</c:v>
                </c:pt>
                <c:pt idx="470">
                  <c:v>3.7493005035999998E-2</c:v>
                </c:pt>
                <c:pt idx="471">
                  <c:v>3.7334865020000003E-2</c:v>
                </c:pt>
                <c:pt idx="472">
                  <c:v>3.8380175278999999E-2</c:v>
                </c:pt>
                <c:pt idx="473">
                  <c:v>3.7551278005000001E-2</c:v>
                </c:pt>
                <c:pt idx="474">
                  <c:v>3.8064516128999998E-2</c:v>
                </c:pt>
                <c:pt idx="475">
                  <c:v>4.0442447286000001E-2</c:v>
                </c:pt>
                <c:pt idx="476">
                  <c:v>3.8793103448000001E-2</c:v>
                </c:pt>
                <c:pt idx="477">
                  <c:v>4.0377358490000001E-2</c:v>
                </c:pt>
                <c:pt idx="478">
                  <c:v>4.5767517213E-2</c:v>
                </c:pt>
                <c:pt idx="479">
                  <c:v>4.9082568807000002E-2</c:v>
                </c:pt>
                <c:pt idx="480">
                  <c:v>5.0704225351999997E-2</c:v>
                </c:pt>
                <c:pt idx="481">
                  <c:v>5.2253116011000002E-2</c:v>
                </c:pt>
                <c:pt idx="482">
                  <c:v>5.2216748767999997E-2</c:v>
                </c:pt>
                <c:pt idx="483">
                  <c:v>5.7069408740000001E-2</c:v>
                </c:pt>
                <c:pt idx="484">
                  <c:v>5.8854166665999998E-2</c:v>
                </c:pt>
                <c:pt idx="485">
                  <c:v>5.6763925728999999E-2</c:v>
                </c:pt>
                <c:pt idx="486">
                  <c:v>5.4752066114999998E-2</c:v>
                </c:pt>
                <c:pt idx="487">
                  <c:v>5.9038662486000003E-2</c:v>
                </c:pt>
                <c:pt idx="488">
                  <c:v>5.7173678531999998E-2</c:v>
                </c:pt>
                <c:pt idx="489">
                  <c:v>5.4857142857000003E-2</c:v>
                </c:pt>
                <c:pt idx="490">
                  <c:v>4.9528301885999999E-2</c:v>
                </c:pt>
                <c:pt idx="491">
                  <c:v>4.3881334980999998E-2</c:v>
                </c:pt>
                <c:pt idx="492">
                  <c:v>4.4728434503999999E-2</c:v>
                </c:pt>
                <c:pt idx="493">
                  <c:v>4.8026315788999997E-2</c:v>
                </c:pt>
                <c:pt idx="494">
                  <c:v>4.3824701195000003E-2</c:v>
                </c:pt>
                <c:pt idx="495">
                  <c:v>4.3358568478999999E-2</c:v>
                </c:pt>
                <c:pt idx="496">
                  <c:v>5.1035502958000002E-2</c:v>
                </c:pt>
                <c:pt idx="497">
                  <c:v>5.4936305732E-2</c:v>
                </c:pt>
                <c:pt idx="498">
                  <c:v>5.9336823733999997E-2</c:v>
                </c:pt>
                <c:pt idx="499">
                  <c:v>5.9149722735E-2</c:v>
                </c:pt>
                <c:pt idx="500">
                  <c:v>6.0575968222000003E-2</c:v>
                </c:pt>
                <c:pt idx="501">
                  <c:v>6.0240963855000003E-2</c:v>
                </c:pt>
                <c:pt idx="502">
                  <c:v>5.8892815075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556-4824-AE7D-99D3A7D251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ripadu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5.0937000000000003E-2</c:v>
                </c:pt>
                <c:pt idx="1">
                  <c:v>0.13528699999999999</c:v>
                </c:pt>
                <c:pt idx="2">
                  <c:v>0.154945</c:v>
                </c:pt>
                <c:pt idx="3">
                  <c:v>0.36202800000000002</c:v>
                </c:pt>
                <c:pt idx="4">
                  <c:v>0.411605</c:v>
                </c:pt>
                <c:pt idx="5">
                  <c:v>0.39889000000000002</c:v>
                </c:pt>
                <c:pt idx="6">
                  <c:v>0.38939800000000002</c:v>
                </c:pt>
                <c:pt idx="7">
                  <c:v>0.47425499999999998</c:v>
                </c:pt>
                <c:pt idx="8">
                  <c:v>0.50328200000000001</c:v>
                </c:pt>
                <c:pt idx="9">
                  <c:v>0.512405</c:v>
                </c:pt>
                <c:pt idx="10">
                  <c:v>0.66767399999999999</c:v>
                </c:pt>
                <c:pt idx="11">
                  <c:v>0.88519300000000001</c:v>
                </c:pt>
                <c:pt idx="12">
                  <c:v>0.84879099999999996</c:v>
                </c:pt>
                <c:pt idx="13">
                  <c:v>0.61904700000000001</c:v>
                </c:pt>
                <c:pt idx="14">
                  <c:v>0.52512199999999998</c:v>
                </c:pt>
                <c:pt idx="15">
                  <c:v>0.50248099999999996</c:v>
                </c:pt>
                <c:pt idx="16">
                  <c:v>0.58198399999999995</c:v>
                </c:pt>
                <c:pt idx="17">
                  <c:v>0.52010699999999999</c:v>
                </c:pt>
                <c:pt idx="18">
                  <c:v>0.52860300000000005</c:v>
                </c:pt>
                <c:pt idx="19">
                  <c:v>0.44564599999999999</c:v>
                </c:pt>
                <c:pt idx="20">
                  <c:v>0.33136700000000002</c:v>
                </c:pt>
                <c:pt idx="21">
                  <c:v>0.27906300000000001</c:v>
                </c:pt>
                <c:pt idx="22">
                  <c:v>0.100343</c:v>
                </c:pt>
                <c:pt idx="23">
                  <c:v>2.6877999999999999E-2</c:v>
                </c:pt>
                <c:pt idx="24">
                  <c:v>4.1958000000000002E-2</c:v>
                </c:pt>
                <c:pt idx="25">
                  <c:v>7.8833E-2</c:v>
                </c:pt>
                <c:pt idx="26">
                  <c:v>5.0082000000000002E-2</c:v>
                </c:pt>
                <c:pt idx="27">
                  <c:v>-5.1583999999999998E-2</c:v>
                </c:pt>
                <c:pt idx="28">
                  <c:v>-0.113257</c:v>
                </c:pt>
                <c:pt idx="29">
                  <c:v>-0.117032</c:v>
                </c:pt>
                <c:pt idx="30">
                  <c:v>-7.2972999999999996E-2</c:v>
                </c:pt>
                <c:pt idx="31">
                  <c:v>-1.6147000000000002E-2</c:v>
                </c:pt>
                <c:pt idx="32">
                  <c:v>6.3719999999999999E-2</c:v>
                </c:pt>
                <c:pt idx="33">
                  <c:v>7.6793E-2</c:v>
                </c:pt>
                <c:pt idx="34">
                  <c:v>0.153616</c:v>
                </c:pt>
                <c:pt idx="35">
                  <c:v>0.26009100000000002</c:v>
                </c:pt>
                <c:pt idx="36">
                  <c:v>0.30801099999999998</c:v>
                </c:pt>
                <c:pt idx="37">
                  <c:v>0.344974</c:v>
                </c:pt>
                <c:pt idx="38">
                  <c:v>0.62198900000000001</c:v>
                </c:pt>
                <c:pt idx="39">
                  <c:v>0.74250000000000005</c:v>
                </c:pt>
                <c:pt idx="40">
                  <c:v>0.65212999999999999</c:v>
                </c:pt>
                <c:pt idx="41">
                  <c:v>0.48426799999999998</c:v>
                </c:pt>
                <c:pt idx="42">
                  <c:v>0.44278899999999999</c:v>
                </c:pt>
                <c:pt idx="43">
                  <c:v>0.46431499999999998</c:v>
                </c:pt>
                <c:pt idx="44">
                  <c:v>0.37432300000000002</c:v>
                </c:pt>
                <c:pt idx="45">
                  <c:v>0.41127999999999998</c:v>
                </c:pt>
                <c:pt idx="46">
                  <c:v>0.50166999999999995</c:v>
                </c:pt>
                <c:pt idx="47">
                  <c:v>0.45681500000000003</c:v>
                </c:pt>
                <c:pt idx="48">
                  <c:v>0.37050100000000002</c:v>
                </c:pt>
                <c:pt idx="49">
                  <c:v>0.30332399999999998</c:v>
                </c:pt>
                <c:pt idx="50">
                  <c:v>0.29788199999999998</c:v>
                </c:pt>
                <c:pt idx="51">
                  <c:v>0.24773400000000001</c:v>
                </c:pt>
                <c:pt idx="52">
                  <c:v>0.315438</c:v>
                </c:pt>
                <c:pt idx="53">
                  <c:v>0.36896000000000001</c:v>
                </c:pt>
                <c:pt idx="54">
                  <c:v>0.29852099999999998</c:v>
                </c:pt>
                <c:pt idx="55">
                  <c:v>0.191325</c:v>
                </c:pt>
                <c:pt idx="56">
                  <c:v>0.13781599999999999</c:v>
                </c:pt>
                <c:pt idx="57">
                  <c:v>5.1365000000000001E-2</c:v>
                </c:pt>
                <c:pt idx="58">
                  <c:v>-2.6064E-2</c:v>
                </c:pt>
                <c:pt idx="59">
                  <c:v>-5.8895999999999997E-2</c:v>
                </c:pt>
                <c:pt idx="60">
                  <c:v>-5.5705999999999999E-2</c:v>
                </c:pt>
                <c:pt idx="61">
                  <c:v>-0.115742</c:v>
                </c:pt>
                <c:pt idx="62">
                  <c:v>-0.19159399999999999</c:v>
                </c:pt>
                <c:pt idx="63">
                  <c:v>-0.23408000000000001</c:v>
                </c:pt>
                <c:pt idx="64">
                  <c:v>-0.192355</c:v>
                </c:pt>
                <c:pt idx="65">
                  <c:v>-0.18604799999999999</c:v>
                </c:pt>
                <c:pt idx="66">
                  <c:v>-0.17518400000000001</c:v>
                </c:pt>
                <c:pt idx="67">
                  <c:v>-0.16222300000000001</c:v>
                </c:pt>
                <c:pt idx="68">
                  <c:v>-0.21143200000000001</c:v>
                </c:pt>
                <c:pt idx="69">
                  <c:v>-0.260326</c:v>
                </c:pt>
                <c:pt idx="70">
                  <c:v>-0.29282599999999998</c:v>
                </c:pt>
                <c:pt idx="71">
                  <c:v>-0.36647099999999999</c:v>
                </c:pt>
                <c:pt idx="72">
                  <c:v>-0.41367700000000002</c:v>
                </c:pt>
                <c:pt idx="73">
                  <c:v>-0.42211500000000002</c:v>
                </c:pt>
                <c:pt idx="74">
                  <c:v>-0.40966799999999998</c:v>
                </c:pt>
                <c:pt idx="75">
                  <c:v>-0.42763099999999998</c:v>
                </c:pt>
                <c:pt idx="76">
                  <c:v>-0.43426999999999999</c:v>
                </c:pt>
                <c:pt idx="77">
                  <c:v>-0.47403899999999999</c:v>
                </c:pt>
                <c:pt idx="78">
                  <c:v>-0.46338200000000002</c:v>
                </c:pt>
                <c:pt idx="79">
                  <c:v>-0.43520399999999998</c:v>
                </c:pt>
                <c:pt idx="80">
                  <c:v>-0.38770399999999999</c:v>
                </c:pt>
                <c:pt idx="81">
                  <c:v>-0.335314</c:v>
                </c:pt>
                <c:pt idx="82">
                  <c:v>-0.36652099999999999</c:v>
                </c:pt>
                <c:pt idx="83">
                  <c:v>-0.364427</c:v>
                </c:pt>
                <c:pt idx="84">
                  <c:v>-0.27928399999999998</c:v>
                </c:pt>
                <c:pt idx="85">
                  <c:v>-0.25182100000000002</c:v>
                </c:pt>
                <c:pt idx="86">
                  <c:v>-0.273262</c:v>
                </c:pt>
                <c:pt idx="87">
                  <c:v>-0.227466</c:v>
                </c:pt>
                <c:pt idx="88">
                  <c:v>-0.181836</c:v>
                </c:pt>
                <c:pt idx="89">
                  <c:v>-0.24943199999999999</c:v>
                </c:pt>
                <c:pt idx="90">
                  <c:v>-0.28024700000000002</c:v>
                </c:pt>
                <c:pt idx="91">
                  <c:v>-0.31138300000000002</c:v>
                </c:pt>
                <c:pt idx="92">
                  <c:v>-0.293659</c:v>
                </c:pt>
                <c:pt idx="93">
                  <c:v>-0.235345</c:v>
                </c:pt>
                <c:pt idx="94">
                  <c:v>-0.148838</c:v>
                </c:pt>
                <c:pt idx="95">
                  <c:v>-6.4257999999999996E-2</c:v>
                </c:pt>
                <c:pt idx="96">
                  <c:v>-0.12534600000000001</c:v>
                </c:pt>
                <c:pt idx="97">
                  <c:v>-0.126026</c:v>
                </c:pt>
                <c:pt idx="98">
                  <c:v>-6.6632999999999998E-2</c:v>
                </c:pt>
                <c:pt idx="99">
                  <c:v>4.2719999999999998E-3</c:v>
                </c:pt>
                <c:pt idx="100">
                  <c:v>2.2013999999999999E-2</c:v>
                </c:pt>
                <c:pt idx="101">
                  <c:v>0.11073</c:v>
                </c:pt>
                <c:pt idx="102">
                  <c:v>0.18418899999999999</c:v>
                </c:pt>
                <c:pt idx="103">
                  <c:v>9.2474000000000001E-2</c:v>
                </c:pt>
                <c:pt idx="104">
                  <c:v>4.5893000000000003E-2</c:v>
                </c:pt>
                <c:pt idx="105">
                  <c:v>6.7775000000000002E-2</c:v>
                </c:pt>
                <c:pt idx="106">
                  <c:v>7.9932000000000003E-2</c:v>
                </c:pt>
                <c:pt idx="107">
                  <c:v>8.0653000000000002E-2</c:v>
                </c:pt>
                <c:pt idx="108">
                  <c:v>0.184752</c:v>
                </c:pt>
                <c:pt idx="109">
                  <c:v>0.27617799999999998</c:v>
                </c:pt>
                <c:pt idx="110">
                  <c:v>0.18035899999999999</c:v>
                </c:pt>
                <c:pt idx="111">
                  <c:v>0.14469000000000001</c:v>
                </c:pt>
                <c:pt idx="112">
                  <c:v>0.150473</c:v>
                </c:pt>
                <c:pt idx="113">
                  <c:v>0.24723700000000001</c:v>
                </c:pt>
                <c:pt idx="114">
                  <c:v>0.10739799999999999</c:v>
                </c:pt>
                <c:pt idx="115">
                  <c:v>8.1899999999999996E-4</c:v>
                </c:pt>
                <c:pt idx="116">
                  <c:v>-4.1401E-2</c:v>
                </c:pt>
                <c:pt idx="117">
                  <c:v>-0.13925100000000001</c:v>
                </c:pt>
                <c:pt idx="118">
                  <c:v>-0.17165</c:v>
                </c:pt>
                <c:pt idx="119">
                  <c:v>-0.16564100000000001</c:v>
                </c:pt>
                <c:pt idx="120">
                  <c:v>-6.7225999999999994E-2</c:v>
                </c:pt>
                <c:pt idx="121">
                  <c:v>0.16772100000000001</c:v>
                </c:pt>
                <c:pt idx="122">
                  <c:v>0.31357200000000002</c:v>
                </c:pt>
                <c:pt idx="123">
                  <c:v>0.39262799999999998</c:v>
                </c:pt>
                <c:pt idx="124">
                  <c:v>0.25378299999999998</c:v>
                </c:pt>
                <c:pt idx="125">
                  <c:v>0.123012</c:v>
                </c:pt>
                <c:pt idx="126">
                  <c:v>4.0458000000000001E-2</c:v>
                </c:pt>
                <c:pt idx="127">
                  <c:v>6.2588000000000005E-2</c:v>
                </c:pt>
                <c:pt idx="128">
                  <c:v>9.9011000000000002E-2</c:v>
                </c:pt>
                <c:pt idx="129">
                  <c:v>0.196376</c:v>
                </c:pt>
                <c:pt idx="130">
                  <c:v>0.191107</c:v>
                </c:pt>
                <c:pt idx="131">
                  <c:v>4.0423000000000001E-2</c:v>
                </c:pt>
                <c:pt idx="132">
                  <c:v>-7.1465000000000001E-2</c:v>
                </c:pt>
                <c:pt idx="133">
                  <c:v>-0.15517400000000001</c:v>
                </c:pt>
                <c:pt idx="134">
                  <c:v>-0.21044399999999999</c:v>
                </c:pt>
                <c:pt idx="135">
                  <c:v>-0.28344399999999997</c:v>
                </c:pt>
                <c:pt idx="136">
                  <c:v>-0.360203</c:v>
                </c:pt>
                <c:pt idx="137">
                  <c:v>-0.38939400000000002</c:v>
                </c:pt>
                <c:pt idx="138">
                  <c:v>-0.42581000000000002</c:v>
                </c:pt>
                <c:pt idx="139">
                  <c:v>-0.43077100000000002</c:v>
                </c:pt>
                <c:pt idx="140">
                  <c:v>-0.40295399999999998</c:v>
                </c:pt>
                <c:pt idx="141">
                  <c:v>-0.36451099999999997</c:v>
                </c:pt>
                <c:pt idx="142">
                  <c:v>-0.324411</c:v>
                </c:pt>
                <c:pt idx="143">
                  <c:v>-0.25752199999999997</c:v>
                </c:pt>
                <c:pt idx="144">
                  <c:v>-0.20310700000000001</c:v>
                </c:pt>
                <c:pt idx="145">
                  <c:v>-0.24875700000000001</c:v>
                </c:pt>
                <c:pt idx="146">
                  <c:v>-0.26224500000000001</c:v>
                </c:pt>
                <c:pt idx="147">
                  <c:v>-0.23828099999999999</c:v>
                </c:pt>
                <c:pt idx="148">
                  <c:v>-0.189141</c:v>
                </c:pt>
                <c:pt idx="149">
                  <c:v>-0.186311</c:v>
                </c:pt>
                <c:pt idx="150">
                  <c:v>-0.116859</c:v>
                </c:pt>
                <c:pt idx="151">
                  <c:v>-7.0988999999999997E-2</c:v>
                </c:pt>
                <c:pt idx="152">
                  <c:v>-0.14078099999999999</c:v>
                </c:pt>
                <c:pt idx="153">
                  <c:v>-0.15918199999999999</c:v>
                </c:pt>
                <c:pt idx="154">
                  <c:v>-0.14322099999999999</c:v>
                </c:pt>
                <c:pt idx="155">
                  <c:v>-0.11920600000000001</c:v>
                </c:pt>
                <c:pt idx="156">
                  <c:v>-0.125525</c:v>
                </c:pt>
                <c:pt idx="157">
                  <c:v>-3.9419000000000003E-2</c:v>
                </c:pt>
                <c:pt idx="158">
                  <c:v>7.9459999999999999E-3</c:v>
                </c:pt>
                <c:pt idx="159">
                  <c:v>-8.3598000000000006E-2</c:v>
                </c:pt>
                <c:pt idx="160">
                  <c:v>-0.108963</c:v>
                </c:pt>
                <c:pt idx="161">
                  <c:v>-9.6530000000000005E-2</c:v>
                </c:pt>
                <c:pt idx="162">
                  <c:v>-9.1993000000000005E-2</c:v>
                </c:pt>
                <c:pt idx="163">
                  <c:v>-8.5725999999999997E-2</c:v>
                </c:pt>
                <c:pt idx="164">
                  <c:v>-2.7389E-2</c:v>
                </c:pt>
                <c:pt idx="165">
                  <c:v>8.3890000000000006E-3</c:v>
                </c:pt>
                <c:pt idx="166">
                  <c:v>-7.5091000000000005E-2</c:v>
                </c:pt>
                <c:pt idx="167">
                  <c:v>-0.103121</c:v>
                </c:pt>
                <c:pt idx="168">
                  <c:v>-7.1141999999999997E-2</c:v>
                </c:pt>
                <c:pt idx="169">
                  <c:v>-3.8408999999999999E-2</c:v>
                </c:pt>
                <c:pt idx="170">
                  <c:v>-6.1029999999999999E-3</c:v>
                </c:pt>
                <c:pt idx="171">
                  <c:v>9.6133999999999997E-2</c:v>
                </c:pt>
                <c:pt idx="172">
                  <c:v>0.16323799999999999</c:v>
                </c:pt>
                <c:pt idx="173">
                  <c:v>6.2047999999999999E-2</c:v>
                </c:pt>
                <c:pt idx="174">
                  <c:v>2.3435999999999998E-2</c:v>
                </c:pt>
                <c:pt idx="175">
                  <c:v>6.1316000000000002E-2</c:v>
                </c:pt>
                <c:pt idx="176">
                  <c:v>6.9575999999999999E-2</c:v>
                </c:pt>
                <c:pt idx="177">
                  <c:v>7.6050999999999994E-2</c:v>
                </c:pt>
                <c:pt idx="178">
                  <c:v>0.157555</c:v>
                </c:pt>
                <c:pt idx="179">
                  <c:v>0.19119900000000001</c:v>
                </c:pt>
                <c:pt idx="180">
                  <c:v>6.6959000000000005E-2</c:v>
                </c:pt>
                <c:pt idx="181">
                  <c:v>-9.7129999999999994E-3</c:v>
                </c:pt>
                <c:pt idx="182">
                  <c:v>-1.2475E-2</c:v>
                </c:pt>
                <c:pt idx="183">
                  <c:v>-3.6628000000000001E-2</c:v>
                </c:pt>
                <c:pt idx="184">
                  <c:v>-6.8111000000000005E-2</c:v>
                </c:pt>
                <c:pt idx="185">
                  <c:v>-5.0548999999999997E-2</c:v>
                </c:pt>
                <c:pt idx="186">
                  <c:v>-1.2198000000000001E-2</c:v>
                </c:pt>
                <c:pt idx="187">
                  <c:v>-0.10433199999999999</c:v>
                </c:pt>
                <c:pt idx="188">
                  <c:v>-0.168735</c:v>
                </c:pt>
                <c:pt idx="189">
                  <c:v>-0.17802200000000001</c:v>
                </c:pt>
                <c:pt idx="190">
                  <c:v>-0.19181400000000001</c:v>
                </c:pt>
                <c:pt idx="191">
                  <c:v>-0.21445</c:v>
                </c:pt>
                <c:pt idx="192">
                  <c:v>-0.14768400000000001</c:v>
                </c:pt>
                <c:pt idx="193">
                  <c:v>-0.13424900000000001</c:v>
                </c:pt>
                <c:pt idx="194">
                  <c:v>-0.19581899999999999</c:v>
                </c:pt>
                <c:pt idx="195">
                  <c:v>-0.220748</c:v>
                </c:pt>
                <c:pt idx="196">
                  <c:v>-0.21634600000000001</c:v>
                </c:pt>
                <c:pt idx="197">
                  <c:v>-0.209651</c:v>
                </c:pt>
                <c:pt idx="198">
                  <c:v>-0.218504</c:v>
                </c:pt>
                <c:pt idx="199">
                  <c:v>-0.22367600000000001</c:v>
                </c:pt>
                <c:pt idx="200">
                  <c:v>-0.18736700000000001</c:v>
                </c:pt>
                <c:pt idx="201">
                  <c:v>-0.259681</c:v>
                </c:pt>
                <c:pt idx="202">
                  <c:v>-0.313226</c:v>
                </c:pt>
                <c:pt idx="203">
                  <c:v>-0.32217200000000001</c:v>
                </c:pt>
                <c:pt idx="204">
                  <c:v>-0.328905</c:v>
                </c:pt>
                <c:pt idx="205">
                  <c:v>-0.34981000000000001</c:v>
                </c:pt>
                <c:pt idx="206">
                  <c:v>-0.29287299999999999</c:v>
                </c:pt>
                <c:pt idx="207">
                  <c:v>-0.26700800000000002</c:v>
                </c:pt>
                <c:pt idx="208">
                  <c:v>-0.324905</c:v>
                </c:pt>
                <c:pt idx="209">
                  <c:v>-0.345775</c:v>
                </c:pt>
                <c:pt idx="210">
                  <c:v>-0.33037300000000003</c:v>
                </c:pt>
                <c:pt idx="211">
                  <c:v>-0.31228800000000001</c:v>
                </c:pt>
                <c:pt idx="212">
                  <c:v>-0.306616</c:v>
                </c:pt>
                <c:pt idx="213">
                  <c:v>-0.30462299999999998</c:v>
                </c:pt>
                <c:pt idx="214">
                  <c:v>-0.28944599999999998</c:v>
                </c:pt>
                <c:pt idx="215">
                  <c:v>-0.34353</c:v>
                </c:pt>
                <c:pt idx="216">
                  <c:v>-0.44512200000000002</c:v>
                </c:pt>
                <c:pt idx="217">
                  <c:v>-0.46371299999999999</c:v>
                </c:pt>
                <c:pt idx="218">
                  <c:v>-0.44023499999999999</c:v>
                </c:pt>
                <c:pt idx="219">
                  <c:v>-0.41152699999999998</c:v>
                </c:pt>
                <c:pt idx="220">
                  <c:v>-0.30714399999999997</c:v>
                </c:pt>
                <c:pt idx="221">
                  <c:v>-0.26906799999999997</c:v>
                </c:pt>
                <c:pt idx="222">
                  <c:v>-0.28757300000000002</c:v>
                </c:pt>
                <c:pt idx="223">
                  <c:v>-0.195858</c:v>
                </c:pt>
                <c:pt idx="224">
                  <c:v>-0.17454600000000001</c:v>
                </c:pt>
                <c:pt idx="225">
                  <c:v>-0.22533900000000001</c:v>
                </c:pt>
                <c:pt idx="226">
                  <c:v>-0.25386399999999998</c:v>
                </c:pt>
                <c:pt idx="227">
                  <c:v>-0.26675599999999999</c:v>
                </c:pt>
                <c:pt idx="228">
                  <c:v>-0.26048399999999999</c:v>
                </c:pt>
                <c:pt idx="229">
                  <c:v>-0.31113499999999999</c:v>
                </c:pt>
                <c:pt idx="230">
                  <c:v>-0.39812799999999998</c:v>
                </c:pt>
                <c:pt idx="231">
                  <c:v>-0.402225</c:v>
                </c:pt>
                <c:pt idx="232">
                  <c:v>-0.35107699999999997</c:v>
                </c:pt>
                <c:pt idx="233">
                  <c:v>-0.32538400000000001</c:v>
                </c:pt>
                <c:pt idx="234">
                  <c:v>-0.25826500000000002</c:v>
                </c:pt>
                <c:pt idx="235">
                  <c:v>-0.22306400000000001</c:v>
                </c:pt>
                <c:pt idx="236">
                  <c:v>-0.29703600000000002</c:v>
                </c:pt>
                <c:pt idx="237">
                  <c:v>-0.32567400000000002</c:v>
                </c:pt>
                <c:pt idx="238">
                  <c:v>-0.28763100000000003</c:v>
                </c:pt>
                <c:pt idx="239">
                  <c:v>-0.27322299999999999</c:v>
                </c:pt>
                <c:pt idx="240">
                  <c:v>-0.26913300000000001</c:v>
                </c:pt>
                <c:pt idx="241">
                  <c:v>-0.21843799999999999</c:v>
                </c:pt>
                <c:pt idx="242">
                  <c:v>-0.19568199999999999</c:v>
                </c:pt>
                <c:pt idx="243">
                  <c:v>-0.28191899999999998</c:v>
                </c:pt>
                <c:pt idx="244">
                  <c:v>-0.29699599999999998</c:v>
                </c:pt>
                <c:pt idx="245">
                  <c:v>-0.29163899999999998</c:v>
                </c:pt>
                <c:pt idx="246">
                  <c:v>-0.29727100000000001</c:v>
                </c:pt>
                <c:pt idx="247">
                  <c:v>-0.31642300000000001</c:v>
                </c:pt>
                <c:pt idx="248">
                  <c:v>-0.28864800000000002</c:v>
                </c:pt>
                <c:pt idx="249">
                  <c:v>-0.28034300000000001</c:v>
                </c:pt>
                <c:pt idx="250">
                  <c:v>-0.34815699999999999</c:v>
                </c:pt>
                <c:pt idx="251">
                  <c:v>-0.38216499999999998</c:v>
                </c:pt>
                <c:pt idx="252">
                  <c:v>-0.37393300000000002</c:v>
                </c:pt>
                <c:pt idx="253">
                  <c:v>-0.37654900000000002</c:v>
                </c:pt>
                <c:pt idx="254">
                  <c:v>-0.37499900000000003</c:v>
                </c:pt>
                <c:pt idx="255">
                  <c:v>-0.34884799999999999</c:v>
                </c:pt>
                <c:pt idx="256">
                  <c:v>-0.31542300000000001</c:v>
                </c:pt>
                <c:pt idx="257">
                  <c:v>-0.38299699999999998</c:v>
                </c:pt>
                <c:pt idx="258">
                  <c:v>-0.39013700000000001</c:v>
                </c:pt>
                <c:pt idx="259">
                  <c:v>-0.37072500000000003</c:v>
                </c:pt>
                <c:pt idx="260">
                  <c:v>-0.378718</c:v>
                </c:pt>
                <c:pt idx="261">
                  <c:v>-0.40177800000000002</c:v>
                </c:pt>
                <c:pt idx="262">
                  <c:v>-0.37298799999999999</c:v>
                </c:pt>
                <c:pt idx="263">
                  <c:v>-0.36856499999999998</c:v>
                </c:pt>
                <c:pt idx="264">
                  <c:v>-0.42939899999999998</c:v>
                </c:pt>
                <c:pt idx="265">
                  <c:v>-0.45787899999999998</c:v>
                </c:pt>
                <c:pt idx="266">
                  <c:v>-0.46356999999999998</c:v>
                </c:pt>
                <c:pt idx="267">
                  <c:v>-0.45280500000000001</c:v>
                </c:pt>
                <c:pt idx="268">
                  <c:v>-0.43259300000000001</c:v>
                </c:pt>
                <c:pt idx="269">
                  <c:v>-0.39911799999999997</c:v>
                </c:pt>
                <c:pt idx="270">
                  <c:v>-0.37528400000000001</c:v>
                </c:pt>
                <c:pt idx="271">
                  <c:v>-0.43873400000000001</c:v>
                </c:pt>
                <c:pt idx="272">
                  <c:v>-0.42328900000000003</c:v>
                </c:pt>
                <c:pt idx="273">
                  <c:v>-0.38001699999999999</c:v>
                </c:pt>
                <c:pt idx="274">
                  <c:v>-0.38441900000000001</c:v>
                </c:pt>
                <c:pt idx="275">
                  <c:v>-0.36988900000000002</c:v>
                </c:pt>
                <c:pt idx="276">
                  <c:v>-0.32764300000000002</c:v>
                </c:pt>
                <c:pt idx="277">
                  <c:v>-0.30390099999999998</c:v>
                </c:pt>
                <c:pt idx="278">
                  <c:v>-0.36722100000000002</c:v>
                </c:pt>
                <c:pt idx="279">
                  <c:v>-0.389791</c:v>
                </c:pt>
                <c:pt idx="280">
                  <c:v>-0.36033700000000002</c:v>
                </c:pt>
                <c:pt idx="281">
                  <c:v>-0.36932500000000001</c:v>
                </c:pt>
                <c:pt idx="282">
                  <c:v>-0.41117599999999999</c:v>
                </c:pt>
                <c:pt idx="283">
                  <c:v>-0.39807300000000001</c:v>
                </c:pt>
                <c:pt idx="284">
                  <c:v>-0.39886700000000003</c:v>
                </c:pt>
                <c:pt idx="285">
                  <c:v>-0.462175</c:v>
                </c:pt>
                <c:pt idx="286">
                  <c:v>-0.48218499999999997</c:v>
                </c:pt>
                <c:pt idx="287">
                  <c:v>-0.507826</c:v>
                </c:pt>
                <c:pt idx="288">
                  <c:v>-0.52855799999999997</c:v>
                </c:pt>
                <c:pt idx="289">
                  <c:v>-0.48330600000000001</c:v>
                </c:pt>
                <c:pt idx="290">
                  <c:v>-0.426479</c:v>
                </c:pt>
                <c:pt idx="291">
                  <c:v>-0.39397900000000002</c:v>
                </c:pt>
                <c:pt idx="292">
                  <c:v>-0.41344900000000001</c:v>
                </c:pt>
                <c:pt idx="293">
                  <c:v>-0.41699599999999998</c:v>
                </c:pt>
                <c:pt idx="294">
                  <c:v>-0.37559399999999998</c:v>
                </c:pt>
                <c:pt idx="295">
                  <c:v>-0.34219500000000003</c:v>
                </c:pt>
                <c:pt idx="296">
                  <c:v>-0.36964200000000003</c:v>
                </c:pt>
                <c:pt idx="297">
                  <c:v>-0.30907200000000001</c:v>
                </c:pt>
                <c:pt idx="298">
                  <c:v>-0.29065000000000002</c:v>
                </c:pt>
                <c:pt idx="299">
                  <c:v>-0.34274900000000003</c:v>
                </c:pt>
                <c:pt idx="300">
                  <c:v>-0.26853700000000003</c:v>
                </c:pt>
                <c:pt idx="301">
                  <c:v>-0.13600799999999999</c:v>
                </c:pt>
                <c:pt idx="302">
                  <c:v>-7.0519999999999999E-2</c:v>
                </c:pt>
                <c:pt idx="303">
                  <c:v>4.1765999999999998E-2</c:v>
                </c:pt>
                <c:pt idx="304">
                  <c:v>0.193166</c:v>
                </c:pt>
                <c:pt idx="305">
                  <c:v>0.277777</c:v>
                </c:pt>
                <c:pt idx="306">
                  <c:v>0.19647000000000001</c:v>
                </c:pt>
                <c:pt idx="307">
                  <c:v>0.120495</c:v>
                </c:pt>
                <c:pt idx="308">
                  <c:v>3.7239000000000001E-2</c:v>
                </c:pt>
                <c:pt idx="309">
                  <c:v>0.122554</c:v>
                </c:pt>
                <c:pt idx="310">
                  <c:v>0.12884599999999999</c:v>
                </c:pt>
                <c:pt idx="311">
                  <c:v>0.24951599999999999</c:v>
                </c:pt>
                <c:pt idx="312">
                  <c:v>0.23069700000000001</c:v>
                </c:pt>
                <c:pt idx="313">
                  <c:v>0.187445</c:v>
                </c:pt>
                <c:pt idx="314">
                  <c:v>0.33574599999999999</c:v>
                </c:pt>
                <c:pt idx="315">
                  <c:v>0.37459199999999998</c:v>
                </c:pt>
                <c:pt idx="316">
                  <c:v>0.244593</c:v>
                </c:pt>
                <c:pt idx="317">
                  <c:v>0.12748399999999999</c:v>
                </c:pt>
                <c:pt idx="318">
                  <c:v>0.10628</c:v>
                </c:pt>
                <c:pt idx="319">
                  <c:v>0.116927</c:v>
                </c:pt>
                <c:pt idx="320">
                  <c:v>3.1129999999999999E-3</c:v>
                </c:pt>
                <c:pt idx="321">
                  <c:v>-0.117352</c:v>
                </c:pt>
                <c:pt idx="322">
                  <c:v>-0.197435</c:v>
                </c:pt>
                <c:pt idx="323">
                  <c:v>-0.18987299999999999</c:v>
                </c:pt>
                <c:pt idx="324">
                  <c:v>-0.19862199999999999</c:v>
                </c:pt>
                <c:pt idx="325">
                  <c:v>-0.189444</c:v>
                </c:pt>
                <c:pt idx="326">
                  <c:v>-0.21091499999999999</c:v>
                </c:pt>
                <c:pt idx="327">
                  <c:v>-0.26105899999999999</c:v>
                </c:pt>
                <c:pt idx="328">
                  <c:v>-0.29464699999999999</c:v>
                </c:pt>
                <c:pt idx="329">
                  <c:v>-0.28420400000000001</c:v>
                </c:pt>
                <c:pt idx="330">
                  <c:v>-0.28045900000000001</c:v>
                </c:pt>
                <c:pt idx="331">
                  <c:v>-0.26263199999999998</c:v>
                </c:pt>
                <c:pt idx="332">
                  <c:v>-0.23974699999999999</c:v>
                </c:pt>
                <c:pt idx="333">
                  <c:v>-0.18652099999999999</c:v>
                </c:pt>
                <c:pt idx="334">
                  <c:v>-0.23210800000000001</c:v>
                </c:pt>
                <c:pt idx="335">
                  <c:v>-0.27788200000000002</c:v>
                </c:pt>
                <c:pt idx="336">
                  <c:v>-0.24040400000000001</c:v>
                </c:pt>
                <c:pt idx="337">
                  <c:v>-0.219328</c:v>
                </c:pt>
                <c:pt idx="338">
                  <c:v>-0.21377299999999999</c:v>
                </c:pt>
                <c:pt idx="339">
                  <c:v>-0.14155899999999999</c:v>
                </c:pt>
                <c:pt idx="340">
                  <c:v>-7.8616000000000005E-2</c:v>
                </c:pt>
                <c:pt idx="341">
                  <c:v>-0.105654</c:v>
                </c:pt>
                <c:pt idx="342">
                  <c:v>-0.117774</c:v>
                </c:pt>
                <c:pt idx="343">
                  <c:v>-7.0305999999999993E-2</c:v>
                </c:pt>
                <c:pt idx="344">
                  <c:v>-3.8372000000000003E-2</c:v>
                </c:pt>
                <c:pt idx="345">
                  <c:v>4.7130000000000002E-3</c:v>
                </c:pt>
                <c:pt idx="346">
                  <c:v>2.7949999999999999E-2</c:v>
                </c:pt>
                <c:pt idx="347">
                  <c:v>2.5801000000000001E-2</c:v>
                </c:pt>
                <c:pt idx="348">
                  <c:v>-6.6957000000000003E-2</c:v>
                </c:pt>
                <c:pt idx="349">
                  <c:v>-0.104659</c:v>
                </c:pt>
                <c:pt idx="350">
                  <c:v>-6.5662999999999999E-2</c:v>
                </c:pt>
                <c:pt idx="351">
                  <c:v>-6.0983999999999997E-2</c:v>
                </c:pt>
                <c:pt idx="352">
                  <c:v>-0.113257</c:v>
                </c:pt>
                <c:pt idx="353">
                  <c:v>-0.12687499999999999</c:v>
                </c:pt>
                <c:pt idx="354">
                  <c:v>-8.3513000000000004E-2</c:v>
                </c:pt>
                <c:pt idx="355">
                  <c:v>-0.13017300000000001</c:v>
                </c:pt>
                <c:pt idx="356">
                  <c:v>-0.200492</c:v>
                </c:pt>
                <c:pt idx="357">
                  <c:v>-0.205844</c:v>
                </c:pt>
                <c:pt idx="358">
                  <c:v>-0.152531</c:v>
                </c:pt>
                <c:pt idx="359">
                  <c:v>-0.11051900000000001</c:v>
                </c:pt>
                <c:pt idx="360">
                  <c:v>-4.7349000000000002E-2</c:v>
                </c:pt>
                <c:pt idx="361">
                  <c:v>-2.4636999999999999E-2</c:v>
                </c:pt>
                <c:pt idx="362">
                  <c:v>-0.12928700000000001</c:v>
                </c:pt>
                <c:pt idx="363">
                  <c:v>-0.13032199999999999</c:v>
                </c:pt>
                <c:pt idx="364">
                  <c:v>-7.2144E-2</c:v>
                </c:pt>
                <c:pt idx="365">
                  <c:v>-6.5245999999999998E-2</c:v>
                </c:pt>
                <c:pt idx="366">
                  <c:v>-1.4482999999999999E-2</c:v>
                </c:pt>
                <c:pt idx="367">
                  <c:v>9.5880999999999994E-2</c:v>
                </c:pt>
                <c:pt idx="368">
                  <c:v>0.18920799999999999</c:v>
                </c:pt>
                <c:pt idx="369">
                  <c:v>0.12556</c:v>
                </c:pt>
                <c:pt idx="370">
                  <c:v>0.16473399999999999</c:v>
                </c:pt>
                <c:pt idx="371">
                  <c:v>0.33313100000000001</c:v>
                </c:pt>
                <c:pt idx="372">
                  <c:v>0.35730899999999999</c:v>
                </c:pt>
                <c:pt idx="373">
                  <c:v>0.34828300000000001</c:v>
                </c:pt>
                <c:pt idx="374">
                  <c:v>0.40437099999999998</c:v>
                </c:pt>
                <c:pt idx="375">
                  <c:v>0.421653</c:v>
                </c:pt>
                <c:pt idx="376">
                  <c:v>0.21302299999999999</c:v>
                </c:pt>
                <c:pt idx="377">
                  <c:v>8.7078000000000003E-2</c:v>
                </c:pt>
                <c:pt idx="378">
                  <c:v>3.8713999999999998E-2</c:v>
                </c:pt>
                <c:pt idx="379">
                  <c:v>3.0280000000000001E-2</c:v>
                </c:pt>
                <c:pt idx="380">
                  <c:v>3.0217999999999998E-2</c:v>
                </c:pt>
                <c:pt idx="381">
                  <c:v>5.1773E-2</c:v>
                </c:pt>
                <c:pt idx="382">
                  <c:v>9.7852999999999996E-2</c:v>
                </c:pt>
                <c:pt idx="383">
                  <c:v>-1.0315E-2</c:v>
                </c:pt>
                <c:pt idx="384">
                  <c:v>-6.3991999999999993E-2</c:v>
                </c:pt>
                <c:pt idx="385">
                  <c:v>-3.431E-2</c:v>
                </c:pt>
                <c:pt idx="386">
                  <c:v>-8.5646E-2</c:v>
                </c:pt>
                <c:pt idx="387">
                  <c:v>-0.114956</c:v>
                </c:pt>
                <c:pt idx="388">
                  <c:v>-5.2936999999999998E-2</c:v>
                </c:pt>
                <c:pt idx="389">
                  <c:v>9.3499999999999996E-4</c:v>
                </c:pt>
                <c:pt idx="390">
                  <c:v>-7.8851000000000004E-2</c:v>
                </c:pt>
                <c:pt idx="391">
                  <c:v>-5.1189999999999999E-2</c:v>
                </c:pt>
                <c:pt idx="392">
                  <c:v>-7.5986999999999999E-2</c:v>
                </c:pt>
                <c:pt idx="393">
                  <c:v>-7.2620000000000002E-3</c:v>
                </c:pt>
                <c:pt idx="394">
                  <c:v>0.128002</c:v>
                </c:pt>
                <c:pt idx="395">
                  <c:v>0.224437</c:v>
                </c:pt>
                <c:pt idx="396">
                  <c:v>0.28216200000000002</c:v>
                </c:pt>
                <c:pt idx="397">
                  <c:v>0.14086599999999999</c:v>
                </c:pt>
                <c:pt idx="398">
                  <c:v>0.17741100000000001</c:v>
                </c:pt>
                <c:pt idx="399">
                  <c:v>0.29580499999999998</c:v>
                </c:pt>
                <c:pt idx="400">
                  <c:v>0.25067</c:v>
                </c:pt>
                <c:pt idx="401">
                  <c:v>0.17593300000000001</c:v>
                </c:pt>
                <c:pt idx="402">
                  <c:v>0.20758599999999999</c:v>
                </c:pt>
                <c:pt idx="403">
                  <c:v>0.25667899999999999</c:v>
                </c:pt>
                <c:pt idx="404">
                  <c:v>0.12718699999999999</c:v>
                </c:pt>
                <c:pt idx="405">
                  <c:v>0.13305500000000001</c:v>
                </c:pt>
                <c:pt idx="406">
                  <c:v>9.1770000000000004E-2</c:v>
                </c:pt>
                <c:pt idx="407">
                  <c:v>0.11745</c:v>
                </c:pt>
                <c:pt idx="408">
                  <c:v>0.183368</c:v>
                </c:pt>
                <c:pt idx="409">
                  <c:v>0.32950099999999999</c:v>
                </c:pt>
                <c:pt idx="410">
                  <c:v>0.452845</c:v>
                </c:pt>
                <c:pt idx="411">
                  <c:v>0.312338</c:v>
                </c:pt>
                <c:pt idx="412">
                  <c:v>0.34744700000000001</c:v>
                </c:pt>
                <c:pt idx="413">
                  <c:v>0.493342</c:v>
                </c:pt>
                <c:pt idx="414">
                  <c:v>0.61051200000000005</c:v>
                </c:pt>
                <c:pt idx="415">
                  <c:v>0.69648100000000002</c:v>
                </c:pt>
                <c:pt idx="416">
                  <c:v>0.92220000000000002</c:v>
                </c:pt>
                <c:pt idx="417">
                  <c:v>1.0577190000000001</c:v>
                </c:pt>
                <c:pt idx="418">
                  <c:v>0.77096299999999995</c:v>
                </c:pt>
                <c:pt idx="419">
                  <c:v>0.65548300000000004</c:v>
                </c:pt>
                <c:pt idx="420">
                  <c:v>0.66243600000000002</c:v>
                </c:pt>
                <c:pt idx="421">
                  <c:v>0.60809599999999997</c:v>
                </c:pt>
                <c:pt idx="422">
                  <c:v>0.43279099999999998</c:v>
                </c:pt>
                <c:pt idx="423">
                  <c:v>0.43842599999999998</c:v>
                </c:pt>
                <c:pt idx="424">
                  <c:v>0.49762699999999999</c:v>
                </c:pt>
                <c:pt idx="425">
                  <c:v>0.33210699999999999</c:v>
                </c:pt>
                <c:pt idx="426">
                  <c:v>0.27560600000000002</c:v>
                </c:pt>
                <c:pt idx="427">
                  <c:v>0.28529700000000002</c:v>
                </c:pt>
                <c:pt idx="428">
                  <c:v>0.35234500000000002</c:v>
                </c:pt>
                <c:pt idx="429">
                  <c:v>0.38844299999999998</c:v>
                </c:pt>
                <c:pt idx="430">
                  <c:v>0.45360299999999998</c:v>
                </c:pt>
                <c:pt idx="431">
                  <c:v>0.471086</c:v>
                </c:pt>
                <c:pt idx="432">
                  <c:v>0.274094</c:v>
                </c:pt>
                <c:pt idx="433">
                  <c:v>0.158112</c:v>
                </c:pt>
                <c:pt idx="434">
                  <c:v>0.17671500000000001</c:v>
                </c:pt>
                <c:pt idx="435">
                  <c:v>0.195274</c:v>
                </c:pt>
                <c:pt idx="436">
                  <c:v>0.12856200000000001</c:v>
                </c:pt>
                <c:pt idx="437">
                  <c:v>0.214529</c:v>
                </c:pt>
                <c:pt idx="438">
                  <c:v>0.319658</c:v>
                </c:pt>
                <c:pt idx="439">
                  <c:v>0.22595000000000001</c:v>
                </c:pt>
                <c:pt idx="440">
                  <c:v>0.13613900000000001</c:v>
                </c:pt>
                <c:pt idx="441">
                  <c:v>0.18831899999999999</c:v>
                </c:pt>
                <c:pt idx="442">
                  <c:v>0.18116399999999999</c:v>
                </c:pt>
                <c:pt idx="443">
                  <c:v>0.13437199999999999</c:v>
                </c:pt>
                <c:pt idx="444">
                  <c:v>0.24420900000000001</c:v>
                </c:pt>
                <c:pt idx="445">
                  <c:v>0.31035099999999999</c:v>
                </c:pt>
                <c:pt idx="446">
                  <c:v>0.213002</c:v>
                </c:pt>
                <c:pt idx="447">
                  <c:v>8.4195999999999993E-2</c:v>
                </c:pt>
                <c:pt idx="448">
                  <c:v>0.12173299999999999</c:v>
                </c:pt>
                <c:pt idx="449">
                  <c:v>0.16040599999999999</c:v>
                </c:pt>
                <c:pt idx="450">
                  <c:v>0.15950900000000001</c:v>
                </c:pt>
                <c:pt idx="451">
                  <c:v>0.13520699999999999</c:v>
                </c:pt>
                <c:pt idx="452">
                  <c:v>0.12759899999999999</c:v>
                </c:pt>
                <c:pt idx="453">
                  <c:v>5.4504999999999998E-2</c:v>
                </c:pt>
                <c:pt idx="454">
                  <c:v>-3.3758999999999997E-2</c:v>
                </c:pt>
                <c:pt idx="455">
                  <c:v>-3.0356999999999999E-2</c:v>
                </c:pt>
                <c:pt idx="456">
                  <c:v>-0.100605</c:v>
                </c:pt>
                <c:pt idx="457">
                  <c:v>-0.20224300000000001</c:v>
                </c:pt>
                <c:pt idx="458">
                  <c:v>-0.16255900000000001</c:v>
                </c:pt>
                <c:pt idx="459">
                  <c:v>-0.142599</c:v>
                </c:pt>
                <c:pt idx="460">
                  <c:v>-0.217663</c:v>
                </c:pt>
                <c:pt idx="461">
                  <c:v>-0.26914900000000003</c:v>
                </c:pt>
                <c:pt idx="462">
                  <c:v>-0.26252999999999999</c:v>
                </c:pt>
                <c:pt idx="463">
                  <c:v>-0.29846</c:v>
                </c:pt>
                <c:pt idx="464">
                  <c:v>-0.27807399999999999</c:v>
                </c:pt>
                <c:pt idx="465">
                  <c:v>-0.26653300000000002</c:v>
                </c:pt>
                <c:pt idx="466">
                  <c:v>-0.245145</c:v>
                </c:pt>
                <c:pt idx="467">
                  <c:v>-0.29852000000000001</c:v>
                </c:pt>
                <c:pt idx="468">
                  <c:v>-0.33650999999999998</c:v>
                </c:pt>
                <c:pt idx="469">
                  <c:v>-0.328291</c:v>
                </c:pt>
                <c:pt idx="470">
                  <c:v>-0.32794000000000001</c:v>
                </c:pt>
                <c:pt idx="471">
                  <c:v>-0.33314100000000002</c:v>
                </c:pt>
                <c:pt idx="472">
                  <c:v>-0.31112800000000002</c:v>
                </c:pt>
                <c:pt idx="473">
                  <c:v>-0.29447699999999999</c:v>
                </c:pt>
                <c:pt idx="474">
                  <c:v>-0.33632699999999999</c:v>
                </c:pt>
                <c:pt idx="475">
                  <c:v>-0.37525500000000001</c:v>
                </c:pt>
                <c:pt idx="476">
                  <c:v>-0.37444100000000002</c:v>
                </c:pt>
                <c:pt idx="477">
                  <c:v>-0.37143500000000002</c:v>
                </c:pt>
                <c:pt idx="478">
                  <c:v>-0.35726200000000002</c:v>
                </c:pt>
                <c:pt idx="479">
                  <c:v>-0.39313700000000001</c:v>
                </c:pt>
                <c:pt idx="480">
                  <c:v>-0.41592099999999999</c:v>
                </c:pt>
                <c:pt idx="481">
                  <c:v>-0.47228100000000001</c:v>
                </c:pt>
                <c:pt idx="482">
                  <c:v>-0.49447600000000003</c:v>
                </c:pt>
                <c:pt idx="483">
                  <c:v>-0.46807100000000001</c:v>
                </c:pt>
                <c:pt idx="484">
                  <c:v>-0.456654</c:v>
                </c:pt>
                <c:pt idx="485">
                  <c:v>-0.41318300000000002</c:v>
                </c:pt>
                <c:pt idx="486">
                  <c:v>-0.25661299999999998</c:v>
                </c:pt>
                <c:pt idx="487">
                  <c:v>-0.190134</c:v>
                </c:pt>
                <c:pt idx="488">
                  <c:v>-0.24515700000000001</c:v>
                </c:pt>
                <c:pt idx="489">
                  <c:v>-0.200958</c:v>
                </c:pt>
                <c:pt idx="490">
                  <c:v>-6.7605999999999999E-2</c:v>
                </c:pt>
                <c:pt idx="491">
                  <c:v>7.5830000000000003E-3</c:v>
                </c:pt>
                <c:pt idx="492">
                  <c:v>9.3505000000000005E-2</c:v>
                </c:pt>
                <c:pt idx="493">
                  <c:v>0.16689100000000001</c:v>
                </c:pt>
                <c:pt idx="494">
                  <c:v>0.216949</c:v>
                </c:pt>
                <c:pt idx="495">
                  <c:v>3.8191999999999997E-2</c:v>
                </c:pt>
                <c:pt idx="496">
                  <c:v>-7.3967000000000005E-2</c:v>
                </c:pt>
                <c:pt idx="497">
                  <c:v>6.5360000000000001E-3</c:v>
                </c:pt>
                <c:pt idx="498">
                  <c:v>8.2336999999999994E-2</c:v>
                </c:pt>
                <c:pt idx="499">
                  <c:v>0.16655900000000001</c:v>
                </c:pt>
                <c:pt idx="500">
                  <c:v>0.33104299999999998</c:v>
                </c:pt>
                <c:pt idx="501">
                  <c:v>0.39452900000000002</c:v>
                </c:pt>
                <c:pt idx="502">
                  <c:v>0.33774399999999999</c:v>
                </c:pt>
                <c:pt idx="503">
                  <c:v>0.138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JIP_v_den_pozitivity_7dni_z_HOSP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0.37404580152</c:v>
                </c:pt>
                <c:pt idx="1">
                  <c:v>-0.67901234567000002</c:v>
                </c:pt>
                <c:pt idx="2">
                  <c:v>1</c:v>
                </c:pt>
                <c:pt idx="3">
                  <c:v>-0.53416149067999996</c:v>
                </c:pt>
                <c:pt idx="4">
                  <c:v>0.40782122905000001</c:v>
                </c:pt>
                <c:pt idx="5">
                  <c:v>-0.51494565216999999</c:v>
                </c:pt>
                <c:pt idx="6">
                  <c:v>9.5008051519999998E-2</c:v>
                </c:pt>
                <c:pt idx="7">
                  <c:v>-0.54439252336999999</c:v>
                </c:pt>
                <c:pt idx="8">
                  <c:v>1.0330578400000001E-3</c:v>
                </c:pt>
                <c:pt idx="9">
                  <c:v>-0.52199170124000005</c:v>
                </c:pt>
                <c:pt idx="10">
                  <c:v>0.48484848485999998</c:v>
                </c:pt>
                <c:pt idx="11">
                  <c:v>-0.41984732823999998</c:v>
                </c:pt>
                <c:pt idx="12">
                  <c:v>2.3645833333100001</c:v>
                </c:pt>
                <c:pt idx="13">
                  <c:v>-0.11977401129</c:v>
                </c:pt>
                <c:pt idx="14">
                  <c:v>0.66184971100000001</c:v>
                </c:pt>
                <c:pt idx="15">
                  <c:v>-0.31989247311000002</c:v>
                </c:pt>
                <c:pt idx="16">
                  <c:v>1.43220338986</c:v>
                </c:pt>
                <c:pt idx="17">
                  <c:v>-0.31816367265000001</c:v>
                </c:pt>
                <c:pt idx="18">
                  <c:v>1.0514705882599999</c:v>
                </c:pt>
                <c:pt idx="19">
                  <c:v>-7.2172351879999999E-2</c:v>
                </c:pt>
                <c:pt idx="20">
                  <c:v>0.40983606556000002</c:v>
                </c:pt>
                <c:pt idx="21">
                  <c:v>-0.30926216639999998</c:v>
                </c:pt>
                <c:pt idx="22">
                  <c:v>1.02962962968</c:v>
                </c:pt>
                <c:pt idx="23">
                  <c:v>-0.19549295775</c:v>
                </c:pt>
                <c:pt idx="24">
                  <c:v>0.65706757012999994</c:v>
                </c:pt>
                <c:pt idx="25">
                  <c:v>-6.8127545999999997E-2</c:v>
                </c:pt>
                <c:pt idx="26">
                  <c:v>0.75265017668</c:v>
                </c:pt>
                <c:pt idx="27">
                  <c:v>0.30704129992000001</c:v>
                </c:pt>
                <c:pt idx="28">
                  <c:v>0.75296655876999996</c:v>
                </c:pt>
                <c:pt idx="29">
                  <c:v>0.3427407623</c:v>
                </c:pt>
                <c:pt idx="30">
                  <c:v>0.28007699711</c:v>
                </c:pt>
                <c:pt idx="31">
                  <c:v>-0.13168908819</c:v>
                </c:pt>
                <c:pt idx="32">
                  <c:v>1.15384615386</c:v>
                </c:pt>
                <c:pt idx="33">
                  <c:v>-0.11081604426</c:v>
                </c:pt>
                <c:pt idx="34">
                  <c:v>0.87473233404999995</c:v>
                </c:pt>
                <c:pt idx="35">
                  <c:v>-0.140232678</c:v>
                </c:pt>
                <c:pt idx="36">
                  <c:v>0.44847012039</c:v>
                </c:pt>
                <c:pt idx="37">
                  <c:v>-0.27903600465</c:v>
                </c:pt>
                <c:pt idx="38">
                  <c:v>0.98454106280999998</c:v>
                </c:pt>
                <c:pt idx="39">
                  <c:v>-0.19490905767</c:v>
                </c:pt>
                <c:pt idx="40">
                  <c:v>0.44429891324999998</c:v>
                </c:pt>
                <c:pt idx="41">
                  <c:v>-0.11790824915000001</c:v>
                </c:pt>
                <c:pt idx="42">
                  <c:v>0.26104972374000002</c:v>
                </c:pt>
                <c:pt idx="43">
                  <c:v>5.3414901389999998E-2</c:v>
                </c:pt>
                <c:pt idx="44">
                  <c:v>0.16730301978000001</c:v>
                </c:pt>
                <c:pt idx="45">
                  <c:v>7.0622379870000002E-2</c:v>
                </c:pt>
                <c:pt idx="46">
                  <c:v>0.14344313016999999</c:v>
                </c:pt>
                <c:pt idx="47">
                  <c:v>-4.5128287519999997E-2</c:v>
                </c:pt>
                <c:pt idx="48">
                  <c:v>5.1173485120000001E-2</c:v>
                </c:pt>
                <c:pt idx="49">
                  <c:v>-7.2830578509999994E-2</c:v>
                </c:pt>
                <c:pt idx="50">
                  <c:v>0.43545751632000002</c:v>
                </c:pt>
                <c:pt idx="51">
                  <c:v>-3.5646984909999999E-2</c:v>
                </c:pt>
                <c:pt idx="52">
                  <c:v>0.38399268832</c:v>
                </c:pt>
                <c:pt idx="53">
                  <c:v>0.39850427350000001</c:v>
                </c:pt>
                <c:pt idx="54">
                  <c:v>0.49116531162999999</c:v>
                </c:pt>
                <c:pt idx="55">
                  <c:v>0.18672414686</c:v>
                </c:pt>
                <c:pt idx="56">
                  <c:v>0.91380389627000003</c:v>
                </c:pt>
                <c:pt idx="57">
                  <c:v>-0.1174360201</c:v>
                </c:pt>
                <c:pt idx="58">
                  <c:v>1.04493105876</c:v>
                </c:pt>
                <c:pt idx="59">
                  <c:v>-0.25166500167</c:v>
                </c:pt>
                <c:pt idx="60">
                  <c:v>0.79714795007999995</c:v>
                </c:pt>
                <c:pt idx="61">
                  <c:v>-0.14372214851000001</c:v>
                </c:pt>
                <c:pt idx="62">
                  <c:v>-0.20845967185</c:v>
                </c:pt>
                <c:pt idx="63">
                  <c:v>-5.704099822E-2</c:v>
                </c:pt>
                <c:pt idx="64">
                  <c:v>-0.26427249166</c:v>
                </c:pt>
                <c:pt idx="65">
                  <c:v>0.17157254098999999</c:v>
                </c:pt>
                <c:pt idx="66">
                  <c:v>-6.0133513520000001E-2</c:v>
                </c:pt>
                <c:pt idx="67">
                  <c:v>0.19016557952999999</c:v>
                </c:pt>
                <c:pt idx="68">
                  <c:v>5.770609317E-2</c:v>
                </c:pt>
                <c:pt idx="69">
                  <c:v>0.40865778309</c:v>
                </c:pt>
                <c:pt idx="70">
                  <c:v>0.15711776559999999</c:v>
                </c:pt>
                <c:pt idx="71">
                  <c:v>0.25903547505000002</c:v>
                </c:pt>
                <c:pt idx="72">
                  <c:v>-8.4567584000000001E-3</c:v>
                </c:pt>
                <c:pt idx="73">
                  <c:v>4.9382847979999998E-2</c:v>
                </c:pt>
                <c:pt idx="74">
                  <c:v>-4.0198922509999999E-2</c:v>
                </c:pt>
                <c:pt idx="75">
                  <c:v>-0.24743049214000001</c:v>
                </c:pt>
                <c:pt idx="76">
                  <c:v>6.9176165449999993E-2</c:v>
                </c:pt>
                <c:pt idx="77">
                  <c:v>0.22665875534999999</c:v>
                </c:pt>
                <c:pt idx="78">
                  <c:v>1.23031497E-3</c:v>
                </c:pt>
                <c:pt idx="79">
                  <c:v>5.7940131899999997E-2</c:v>
                </c:pt>
                <c:pt idx="80">
                  <c:v>-0.18104628869</c:v>
                </c:pt>
                <c:pt idx="81">
                  <c:v>0.17858774890000001</c:v>
                </c:pt>
                <c:pt idx="82">
                  <c:v>-0.34423856398000002</c:v>
                </c:pt>
                <c:pt idx="83">
                  <c:v>1.6641664170000001E-2</c:v>
                </c:pt>
                <c:pt idx="84">
                  <c:v>-0.45446759920000002</c:v>
                </c:pt>
                <c:pt idx="85">
                  <c:v>5.7867557700000002E-2</c:v>
                </c:pt>
                <c:pt idx="86">
                  <c:v>-0.54405286344000003</c:v>
                </c:pt>
                <c:pt idx="87">
                  <c:v>0.32772384034000002</c:v>
                </c:pt>
                <c:pt idx="88">
                  <c:v>-0.45114853329999999</c:v>
                </c:pt>
                <c:pt idx="89">
                  <c:v>0.37551690186999998</c:v>
                </c:pt>
                <c:pt idx="90">
                  <c:v>-0.41159333812999999</c:v>
                </c:pt>
                <c:pt idx="91">
                  <c:v>3.7348272599999999E-3</c:v>
                </c:pt>
                <c:pt idx="92">
                  <c:v>-0.39278870186999998</c:v>
                </c:pt>
                <c:pt idx="93">
                  <c:v>-0.20083536372999999</c:v>
                </c:pt>
                <c:pt idx="94">
                  <c:v>-0.32927516627999998</c:v>
                </c:pt>
                <c:pt idx="95">
                  <c:v>-0.34786204362000001</c:v>
                </c:pt>
                <c:pt idx="96">
                  <c:v>-0.34440127164000001</c:v>
                </c:pt>
                <c:pt idx="97">
                  <c:v>-0.28627188580000001</c:v>
                </c:pt>
                <c:pt idx="98">
                  <c:v>-0.31572626834</c:v>
                </c:pt>
                <c:pt idx="99">
                  <c:v>-0.20813858971999999</c:v>
                </c:pt>
                <c:pt idx="100">
                  <c:v>-0.17998217996999999</c:v>
                </c:pt>
                <c:pt idx="101">
                  <c:v>-5.5265448209999998E-2</c:v>
                </c:pt>
                <c:pt idx="102">
                  <c:v>-0.30311311787</c:v>
                </c:pt>
                <c:pt idx="103">
                  <c:v>5.4171180940000001E-2</c:v>
                </c:pt>
                <c:pt idx="104">
                  <c:v>-0.21984496123</c:v>
                </c:pt>
                <c:pt idx="105">
                  <c:v>0.16303803801</c:v>
                </c:pt>
                <c:pt idx="106">
                  <c:v>-0.28353192788999998</c:v>
                </c:pt>
                <c:pt idx="107">
                  <c:v>0.43912780131000001</c:v>
                </c:pt>
                <c:pt idx="108">
                  <c:v>1.3760232650000001E-2</c:v>
                </c:pt>
                <c:pt idx="109">
                  <c:v>0.25272119034000001</c:v>
                </c:pt>
                <c:pt idx="110">
                  <c:v>0.10406166616</c:v>
                </c:pt>
                <c:pt idx="111">
                  <c:v>-8.1245074850000001E-2</c:v>
                </c:pt>
                <c:pt idx="112">
                  <c:v>9.2089985479999997E-2</c:v>
                </c:pt>
                <c:pt idx="113">
                  <c:v>-0.10081931021</c:v>
                </c:pt>
                <c:pt idx="114">
                  <c:v>6.2930115339999995E-2</c:v>
                </c:pt>
                <c:pt idx="115">
                  <c:v>3.983024315E-2</c:v>
                </c:pt>
                <c:pt idx="116">
                  <c:v>-2.520507084E-2</c:v>
                </c:pt>
                <c:pt idx="117">
                  <c:v>0.43733049722</c:v>
                </c:pt>
                <c:pt idx="118">
                  <c:v>-0.22187883248000001</c:v>
                </c:pt>
                <c:pt idx="119">
                  <c:v>-5.7404425350000003E-2</c:v>
                </c:pt>
                <c:pt idx="120">
                  <c:v>-0.27556130309999999</c:v>
                </c:pt>
                <c:pt idx="121">
                  <c:v>-0.20663838457</c:v>
                </c:pt>
                <c:pt idx="122">
                  <c:v>-0.31034872868000002</c:v>
                </c:pt>
                <c:pt idx="123">
                  <c:v>-0.14342795038</c:v>
                </c:pt>
                <c:pt idx="124">
                  <c:v>0.57285253591999996</c:v>
                </c:pt>
                <c:pt idx="125">
                  <c:v>-0.26582844515999998</c:v>
                </c:pt>
                <c:pt idx="126">
                  <c:v>0.48324258921000002</c:v>
                </c:pt>
                <c:pt idx="127">
                  <c:v>-0.30303647848999998</c:v>
                </c:pt>
                <c:pt idx="128">
                  <c:v>1.5385149201799999</c:v>
                </c:pt>
                <c:pt idx="129">
                  <c:v>-0.39649415692000001</c:v>
                </c:pt>
                <c:pt idx="130">
                  <c:v>1.3388841688199999</c:v>
                </c:pt>
                <c:pt idx="131">
                  <c:v>-0.19499693798000001</c:v>
                </c:pt>
                <c:pt idx="132">
                  <c:v>1.21804422378</c:v>
                </c:pt>
                <c:pt idx="133">
                  <c:v>-0.21717724289000001</c:v>
                </c:pt>
                <c:pt idx="134">
                  <c:v>1.2799468792099999</c:v>
                </c:pt>
                <c:pt idx="135">
                  <c:v>0.74972067039000001</c:v>
                </c:pt>
                <c:pt idx="136">
                  <c:v>1.4088970140399999</c:v>
                </c:pt>
                <c:pt idx="137">
                  <c:v>9.9862752119999995E-2</c:v>
                </c:pt>
                <c:pt idx="138">
                  <c:v>0.88839893884999999</c:v>
                </c:pt>
                <c:pt idx="139">
                  <c:v>0.41642555089</c:v>
                </c:pt>
                <c:pt idx="140">
                  <c:v>0.63732718894999996</c:v>
                </c:pt>
                <c:pt idx="141">
                  <c:v>-0.30361911972</c:v>
                </c:pt>
                <c:pt idx="142">
                  <c:v>0.38228699554000001</c:v>
                </c:pt>
                <c:pt idx="143">
                  <c:v>-0.40324858756999998</c:v>
                </c:pt>
                <c:pt idx="144">
                  <c:v>0.54836813721</c:v>
                </c:pt>
                <c:pt idx="145">
                  <c:v>-0.34651898733999997</c:v>
                </c:pt>
                <c:pt idx="146">
                  <c:v>1.3023118544700001</c:v>
                </c:pt>
                <c:pt idx="147">
                  <c:v>-0.48201361902000001</c:v>
                </c:pt>
                <c:pt idx="148">
                  <c:v>1.4356321838799999</c:v>
                </c:pt>
                <c:pt idx="149">
                  <c:v>-0.46855302417</c:v>
                </c:pt>
                <c:pt idx="150">
                  <c:v>1.3913824056999999</c:v>
                </c:pt>
                <c:pt idx="151">
                  <c:v>-0.38795381832999998</c:v>
                </c:pt>
                <c:pt idx="152">
                  <c:v>0.86219354838999995</c:v>
                </c:pt>
                <c:pt idx="153">
                  <c:v>-0.20808897875999999</c:v>
                </c:pt>
                <c:pt idx="154">
                  <c:v>0.98961762469000003</c:v>
                </c:pt>
                <c:pt idx="155">
                  <c:v>0.35339195977999999</c:v>
                </c:pt>
                <c:pt idx="156">
                  <c:v>0.96254921260000004</c:v>
                </c:pt>
                <c:pt idx="157">
                  <c:v>-1.7441060750000001E-2</c:v>
                </c:pt>
                <c:pt idx="158">
                  <c:v>1.0454278728499999</c:v>
                </c:pt>
                <c:pt idx="159">
                  <c:v>0.14962369675000001</c:v>
                </c:pt>
                <c:pt idx="160">
                  <c:v>0.14439549682</c:v>
                </c:pt>
                <c:pt idx="161">
                  <c:v>0.14466634192</c:v>
                </c:pt>
                <c:pt idx="162">
                  <c:v>0.27241880757999998</c:v>
                </c:pt>
                <c:pt idx="163">
                  <c:v>1.7654680910000001E-2</c:v>
                </c:pt>
                <c:pt idx="164">
                  <c:v>0.70410628017999999</c:v>
                </c:pt>
                <c:pt idx="165">
                  <c:v>0.27298444129999999</c:v>
                </c:pt>
                <c:pt idx="166">
                  <c:v>0.79253063148000003</c:v>
                </c:pt>
                <c:pt idx="167">
                  <c:v>0.1048820369</c:v>
                </c:pt>
                <c:pt idx="168">
                  <c:v>0.35316013369999999</c:v>
                </c:pt>
                <c:pt idx="169">
                  <c:v>0.23450889915000001</c:v>
                </c:pt>
                <c:pt idx="170">
                  <c:v>-0.14452805848</c:v>
                </c:pt>
                <c:pt idx="171">
                  <c:v>-1.245847175E-2</c:v>
                </c:pt>
                <c:pt idx="172">
                  <c:v>-0.29798941799000001</c:v>
                </c:pt>
                <c:pt idx="173">
                  <c:v>-0.23201042604</c:v>
                </c:pt>
                <c:pt idx="174">
                  <c:v>-0.29058662082999998</c:v>
                </c:pt>
                <c:pt idx="175">
                  <c:v>-0.13573063714</c:v>
                </c:pt>
                <c:pt idx="176">
                  <c:v>-0.15164770111</c:v>
                </c:pt>
                <c:pt idx="177">
                  <c:v>9.3946586399999994E-3</c:v>
                </c:pt>
                <c:pt idx="178">
                  <c:v>-7.8586665649999998E-2</c:v>
                </c:pt>
                <c:pt idx="179">
                  <c:v>-0.13822115385</c:v>
                </c:pt>
                <c:pt idx="180">
                  <c:v>4.29922615E-3</c:v>
                </c:pt>
                <c:pt idx="181">
                  <c:v>-0.25136363636999998</c:v>
                </c:pt>
                <c:pt idx="182">
                  <c:v>1.7879886679999998E-2</c:v>
                </c:pt>
                <c:pt idx="183">
                  <c:v>-0.34569549771000002</c:v>
                </c:pt>
                <c:pt idx="184">
                  <c:v>-9.5693779899999998E-2</c:v>
                </c:pt>
                <c:pt idx="185">
                  <c:v>-0.29547702615999999</c:v>
                </c:pt>
                <c:pt idx="186">
                  <c:v>-0.13875218287999999</c:v>
                </c:pt>
                <c:pt idx="187">
                  <c:v>-0.27214897276</c:v>
                </c:pt>
                <c:pt idx="188">
                  <c:v>-0.20811333332000001</c:v>
                </c:pt>
                <c:pt idx="189">
                  <c:v>-0.12233009709000001</c:v>
                </c:pt>
                <c:pt idx="190">
                  <c:v>-0.20945626477000001</c:v>
                </c:pt>
                <c:pt idx="191">
                  <c:v>-0.11186719781</c:v>
                </c:pt>
                <c:pt idx="192">
                  <c:v>-0.13408755531</c:v>
                </c:pt>
                <c:pt idx="193">
                  <c:v>-2.8695336049999999E-2</c:v>
                </c:pt>
                <c:pt idx="194">
                  <c:v>-0.14991850006999999</c:v>
                </c:pt>
                <c:pt idx="195">
                  <c:v>-0.27046599496000001</c:v>
                </c:pt>
                <c:pt idx="196">
                  <c:v>-0.35530495553000002</c:v>
                </c:pt>
                <c:pt idx="197">
                  <c:v>-0.24193811075999999</c:v>
                </c:pt>
                <c:pt idx="198">
                  <c:v>-0.37803621864999998</c:v>
                </c:pt>
                <c:pt idx="199">
                  <c:v>-0.28732490605</c:v>
                </c:pt>
                <c:pt idx="200">
                  <c:v>-0.34038676305999999</c:v>
                </c:pt>
                <c:pt idx="201">
                  <c:v>-0.36272501473000002</c:v>
                </c:pt>
                <c:pt idx="202">
                  <c:v>-0.28690556683000001</c:v>
                </c:pt>
                <c:pt idx="203">
                  <c:v>-0.14866591506999999</c:v>
                </c:pt>
                <c:pt idx="204">
                  <c:v>-0.41702619414999997</c:v>
                </c:pt>
                <c:pt idx="205">
                  <c:v>-2.7788649719999999E-2</c:v>
                </c:pt>
                <c:pt idx="206">
                  <c:v>-0.38679433473000002</c:v>
                </c:pt>
                <c:pt idx="207">
                  <c:v>-1.9840478549999999E-2</c:v>
                </c:pt>
                <c:pt idx="208">
                  <c:v>0.27527294784</c:v>
                </c:pt>
                <c:pt idx="209">
                  <c:v>-0.30658333331999998</c:v>
                </c:pt>
                <c:pt idx="210">
                  <c:v>0.94474039350000005</c:v>
                </c:pt>
                <c:pt idx="211">
                  <c:v>-0.21382793831999999</c:v>
                </c:pt>
                <c:pt idx="212">
                  <c:v>1.1575784553999999</c:v>
                </c:pt>
                <c:pt idx="213">
                  <c:v>-6.5516437380000001E-2</c:v>
                </c:pt>
                <c:pt idx="214">
                  <c:v>0.86122448980999999</c:v>
                </c:pt>
                <c:pt idx="215">
                  <c:v>0.10002410220000001</c:v>
                </c:pt>
                <c:pt idx="216">
                  <c:v>3.3391843040000001E-2</c:v>
                </c:pt>
                <c:pt idx="217">
                  <c:v>0.64324251413</c:v>
                </c:pt>
                <c:pt idx="218">
                  <c:v>6.7927170839999995E-2</c:v>
                </c:pt>
                <c:pt idx="219">
                  <c:v>2.1054964539699998</c:v>
                </c:pt>
                <c:pt idx="220">
                  <c:v>0.18541773796</c:v>
                </c:pt>
                <c:pt idx="221">
                  <c:v>1.4538268506600001</c:v>
                </c:pt>
                <c:pt idx="222">
                  <c:v>-0.10793965421</c:v>
                </c:pt>
                <c:pt idx="223">
                  <c:v>-0.14065886431999999</c:v>
                </c:pt>
                <c:pt idx="224">
                  <c:v>-2.5581320130000001E-2</c:v>
                </c:pt>
                <c:pt idx="225">
                  <c:v>-0.25264895373000001</c:v>
                </c:pt>
                <c:pt idx="226">
                  <c:v>0.17537210959999999</c:v>
                </c:pt>
                <c:pt idx="227">
                  <c:v>-8.7977254249999998E-2</c:v>
                </c:pt>
                <c:pt idx="228">
                  <c:v>0.12550893962000001</c:v>
                </c:pt>
                <c:pt idx="229">
                  <c:v>0.24044406968000001</c:v>
                </c:pt>
                <c:pt idx="230">
                  <c:v>0.32363636363999998</c:v>
                </c:pt>
                <c:pt idx="231">
                  <c:v>-0.16456953642</c:v>
                </c:pt>
                <c:pt idx="232">
                  <c:v>-0.2472875226</c:v>
                </c:pt>
                <c:pt idx="233">
                  <c:v>-0.10461828464</c:v>
                </c:pt>
                <c:pt idx="234">
                  <c:v>-0.39542322834999999</c:v>
                </c:pt>
                <c:pt idx="235">
                  <c:v>-0.39968992248000001</c:v>
                </c:pt>
                <c:pt idx="236">
                  <c:v>0.24224598928999999</c:v>
                </c:pt>
                <c:pt idx="237">
                  <c:v>-0.44791081131999999</c:v>
                </c:pt>
                <c:pt idx="238">
                  <c:v>-0.23101824602000001</c:v>
                </c:pt>
                <c:pt idx="239">
                  <c:v>-0.24372253608</c:v>
                </c:pt>
                <c:pt idx="240">
                  <c:v>-0.19047619046</c:v>
                </c:pt>
                <c:pt idx="241">
                  <c:v>-0.12901113295</c:v>
                </c:pt>
                <c:pt idx="242">
                  <c:v>-0.16034985423000001</c:v>
                </c:pt>
                <c:pt idx="243">
                  <c:v>0.18603874415999999</c:v>
                </c:pt>
                <c:pt idx="244">
                  <c:v>-0.20425981003999999</c:v>
                </c:pt>
                <c:pt idx="245">
                  <c:v>0.27250177178000001</c:v>
                </c:pt>
                <c:pt idx="246">
                  <c:v>0.15638766519</c:v>
                </c:pt>
                <c:pt idx="247">
                  <c:v>0.74418604649999998</c:v>
                </c:pt>
                <c:pt idx="248">
                  <c:v>-0.40047581285</c:v>
                </c:pt>
                <c:pt idx="249">
                  <c:v>-0.26080892607</c:v>
                </c:pt>
                <c:pt idx="250">
                  <c:v>4.1565217379999998E-2</c:v>
                </c:pt>
                <c:pt idx="251">
                  <c:v>-0.40522875817999998</c:v>
                </c:pt>
                <c:pt idx="252">
                  <c:v>-0.31175337187000002</c:v>
                </c:pt>
                <c:pt idx="253">
                  <c:v>-0.43259557343999999</c:v>
                </c:pt>
                <c:pt idx="254">
                  <c:v>1.05932202E-3</c:v>
                </c:pt>
                <c:pt idx="255">
                  <c:v>-0.52348224513999997</c:v>
                </c:pt>
                <c:pt idx="256">
                  <c:v>-0.12529550828</c:v>
                </c:pt>
                <c:pt idx="257">
                  <c:v>0</c:v>
                </c:pt>
                <c:pt idx="258">
                  <c:v>-0.11956521739000001</c:v>
                </c:pt>
                <c:pt idx="259">
                  <c:v>0</c:v>
                </c:pt>
                <c:pt idx="260">
                  <c:v>0</c:v>
                </c:pt>
                <c:pt idx="261">
                  <c:v>-0.39459459460000001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-0.57590361446000005</c:v>
                </c:pt>
                <c:pt idx="266">
                  <c:v>0</c:v>
                </c:pt>
                <c:pt idx="267">
                  <c:v>-0.40932642486999998</c:v>
                </c:pt>
                <c:pt idx="268">
                  <c:v>0</c:v>
                </c:pt>
                <c:pt idx="270">
                  <c:v>-0.24092409240000001</c:v>
                </c:pt>
                <c:pt idx="272">
                  <c:v>-0.52631578947000002</c:v>
                </c:pt>
                <c:pt idx="273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-0.64</c:v>
                </c:pt>
                <c:pt idx="282">
                  <c:v>5.6000000010000002E-2</c:v>
                </c:pt>
                <c:pt idx="285">
                  <c:v>7.5268817200000004E-2</c:v>
                </c:pt>
                <c:pt idx="286">
                  <c:v>7.9545454540000005E-2</c:v>
                </c:pt>
                <c:pt idx="288">
                  <c:v>0.84615384614</c:v>
                </c:pt>
                <c:pt idx="294">
                  <c:v>-0.72307692307000004</c:v>
                </c:pt>
                <c:pt idx="300">
                  <c:v>-0.48571428572000003</c:v>
                </c:pt>
                <c:pt idx="301">
                  <c:v>-0.26666666667</c:v>
                </c:pt>
                <c:pt idx="310">
                  <c:v>-3.999999999E-2</c:v>
                </c:pt>
                <c:pt idx="316">
                  <c:v>0.15789473682999999</c:v>
                </c:pt>
                <c:pt idx="318">
                  <c:v>5.263157894E-2</c:v>
                </c:pt>
                <c:pt idx="324">
                  <c:v>0</c:v>
                </c:pt>
                <c:pt idx="327">
                  <c:v>-0.28260869565000002</c:v>
                </c:pt>
                <c:pt idx="328">
                  <c:v>0</c:v>
                </c:pt>
                <c:pt idx="331">
                  <c:v>-0.33333333332999998</c:v>
                </c:pt>
                <c:pt idx="333">
                  <c:v>0</c:v>
                </c:pt>
                <c:pt idx="339">
                  <c:v>0</c:v>
                </c:pt>
                <c:pt idx="344">
                  <c:v>-0.56097560975000005</c:v>
                </c:pt>
                <c:pt idx="346">
                  <c:v>-0.54999999999000004</c:v>
                </c:pt>
                <c:pt idx="350">
                  <c:v>-0.54081632653</c:v>
                </c:pt>
                <c:pt idx="356">
                  <c:v>3.5714285710000002E-2</c:v>
                </c:pt>
                <c:pt idx="358">
                  <c:v>0.77049180328</c:v>
                </c:pt>
                <c:pt idx="360">
                  <c:v>-0.56363636364000003</c:v>
                </c:pt>
                <c:pt idx="361">
                  <c:v>-0.75</c:v>
                </c:pt>
                <c:pt idx="362">
                  <c:v>-0.61764705882000004</c:v>
                </c:pt>
                <c:pt idx="365">
                  <c:v>-0.81999999998999995</c:v>
                </c:pt>
                <c:pt idx="366">
                  <c:v>-0.81132075471999998</c:v>
                </c:pt>
                <c:pt idx="367">
                  <c:v>-0.25</c:v>
                </c:pt>
                <c:pt idx="368">
                  <c:v>-0.43548387096000002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6">
                  <c:v>0</c:v>
                </c:pt>
                <c:pt idx="378">
                  <c:v>0</c:v>
                </c:pt>
                <c:pt idx="382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-9.0909090900000003E-2</c:v>
                </c:pt>
                <c:pt idx="391">
                  <c:v>0.40259740260999999</c:v>
                </c:pt>
                <c:pt idx="392">
                  <c:v>9.2715231780000004E-2</c:v>
                </c:pt>
                <c:pt idx="393">
                  <c:v>-5.8823529419999999E-2</c:v>
                </c:pt>
                <c:pt idx="394">
                  <c:v>-5.5248618799999998E-3</c:v>
                </c:pt>
                <c:pt idx="395">
                  <c:v>-5.4054054000000004E-3</c:v>
                </c:pt>
                <c:pt idx="396">
                  <c:v>0</c:v>
                </c:pt>
                <c:pt idx="397">
                  <c:v>2.9850746250000001E-2</c:v>
                </c:pt>
                <c:pt idx="398">
                  <c:v>0</c:v>
                </c:pt>
                <c:pt idx="399">
                  <c:v>8.4016393430000003E-2</c:v>
                </c:pt>
                <c:pt idx="400">
                  <c:v>0</c:v>
                </c:pt>
                <c:pt idx="401">
                  <c:v>1.85501858738</c:v>
                </c:pt>
                <c:pt idx="402">
                  <c:v>-0.48615916953999999</c:v>
                </c:pt>
                <c:pt idx="403">
                  <c:v>2.5753424657899999</c:v>
                </c:pt>
                <c:pt idx="404">
                  <c:v>-0.53953488372000002</c:v>
                </c:pt>
                <c:pt idx="405">
                  <c:v>0.85365853657000001</c:v>
                </c:pt>
                <c:pt idx="406">
                  <c:v>-0.56285714285999999</c:v>
                </c:pt>
                <c:pt idx="407">
                  <c:v>1.6323119777499999</c:v>
                </c:pt>
                <c:pt idx="408">
                  <c:v>-0.44297082228000001</c:v>
                </c:pt>
                <c:pt idx="409">
                  <c:v>1.7352941176900001</c:v>
                </c:pt>
                <c:pt idx="410">
                  <c:v>-0.39583333332999998</c:v>
                </c:pt>
                <c:pt idx="411">
                  <c:v>0</c:v>
                </c:pt>
                <c:pt idx="412">
                  <c:v>-0.18106206014000001</c:v>
                </c:pt>
                <c:pt idx="413">
                  <c:v>0</c:v>
                </c:pt>
                <c:pt idx="414">
                  <c:v>7.5414781299999997E-2</c:v>
                </c:pt>
                <c:pt idx="415">
                  <c:v>0.81621621623999996</c:v>
                </c:pt>
                <c:pt idx="416">
                  <c:v>0.40831295842999998</c:v>
                </c:pt>
                <c:pt idx="417">
                  <c:v>0.11191860465</c:v>
                </c:pt>
                <c:pt idx="418">
                  <c:v>1.0370370370799999</c:v>
                </c:pt>
                <c:pt idx="419">
                  <c:v>-0.23543123542</c:v>
                </c:pt>
                <c:pt idx="420">
                  <c:v>0.28657074341</c:v>
                </c:pt>
                <c:pt idx="421">
                  <c:v>-0.31778189396000001</c:v>
                </c:pt>
                <c:pt idx="422">
                  <c:v>-0.15485564303999999</c:v>
                </c:pt>
                <c:pt idx="423">
                  <c:v>-0.12125603866</c:v>
                </c:pt>
                <c:pt idx="424">
                  <c:v>-9.4577899790000003E-2</c:v>
                </c:pt>
                <c:pt idx="425">
                  <c:v>0.18467741934000001</c:v>
                </c:pt>
                <c:pt idx="426">
                  <c:v>-0.22095783871999999</c:v>
                </c:pt>
                <c:pt idx="427">
                  <c:v>2.38019169333</c:v>
                </c:pt>
                <c:pt idx="428">
                  <c:v>-4.23908436E-3</c:v>
                </c:pt>
                <c:pt idx="429">
                  <c:v>0</c:v>
                </c:pt>
                <c:pt idx="430">
                  <c:v>0.46282767511</c:v>
                </c:pt>
                <c:pt idx="431">
                  <c:v>0.86153846150000002</c:v>
                </c:pt>
                <c:pt idx="432">
                  <c:v>0.1466773633</c:v>
                </c:pt>
                <c:pt idx="433">
                  <c:v>0.24933078392999999</c:v>
                </c:pt>
                <c:pt idx="434">
                  <c:v>5.2023121399999997E-2</c:v>
                </c:pt>
                <c:pt idx="435">
                  <c:v>-0.10641969316</c:v>
                </c:pt>
                <c:pt idx="436">
                  <c:v>-9.7988131419999999E-2</c:v>
                </c:pt>
                <c:pt idx="437">
                  <c:v>4.5977011489999997E-2</c:v>
                </c:pt>
                <c:pt idx="438">
                  <c:v>-0.15148698885</c:v>
                </c:pt>
                <c:pt idx="439">
                  <c:v>-0.12501168334000001</c:v>
                </c:pt>
                <c:pt idx="440">
                  <c:v>-0.21406090333</c:v>
                </c:pt>
                <c:pt idx="441">
                  <c:v>-0.21865384614</c:v>
                </c:pt>
                <c:pt idx="442">
                  <c:v>8.6295567970000001E-2</c:v>
                </c:pt>
                <c:pt idx="443">
                  <c:v>-1.310761574E-2</c:v>
                </c:pt>
                <c:pt idx="444">
                  <c:v>0.68188286811999999</c:v>
                </c:pt>
                <c:pt idx="445">
                  <c:v>-8.9670438709999994E-2</c:v>
                </c:pt>
                <c:pt idx="446">
                  <c:v>0.50040621266999996</c:v>
                </c:pt>
                <c:pt idx="447">
                  <c:v>-4.3813064249999999E-2</c:v>
                </c:pt>
                <c:pt idx="448">
                  <c:v>0.33817741444999999</c:v>
                </c:pt>
                <c:pt idx="449">
                  <c:v>0.27332594271999999</c:v>
                </c:pt>
                <c:pt idx="450">
                  <c:v>0.11519255184</c:v>
                </c:pt>
                <c:pt idx="451">
                  <c:v>0.60688073394999997</c:v>
                </c:pt>
                <c:pt idx="452">
                  <c:v>0.20331057315000001</c:v>
                </c:pt>
                <c:pt idx="453">
                  <c:v>0.87128690089000005</c:v>
                </c:pt>
                <c:pt idx="454">
                  <c:v>0.27081929332999999</c:v>
                </c:pt>
                <c:pt idx="455">
                  <c:v>0.75601338631000004</c:v>
                </c:pt>
                <c:pt idx="456">
                  <c:v>-0.14303706367999999</c:v>
                </c:pt>
                <c:pt idx="457">
                  <c:v>0.33822975520999998</c:v>
                </c:pt>
                <c:pt idx="458">
                  <c:v>-6.7168134599999998E-2</c:v>
                </c:pt>
                <c:pt idx="459">
                  <c:v>0.32445026938999999</c:v>
                </c:pt>
                <c:pt idx="460">
                  <c:v>-3.0174866769999999E-2</c:v>
                </c:pt>
                <c:pt idx="461">
                  <c:v>0.16589841127999999</c:v>
                </c:pt>
                <c:pt idx="462">
                  <c:v>5.1340306330000002E-2</c:v>
                </c:pt>
                <c:pt idx="463">
                  <c:v>0.813556693</c:v>
                </c:pt>
                <c:pt idx="464">
                  <c:v>-0.18782074953</c:v>
                </c:pt>
                <c:pt idx="465">
                  <c:v>1.3651188167899999</c:v>
                </c:pt>
                <c:pt idx="466">
                  <c:v>-0.26273375985000003</c:v>
                </c:pt>
                <c:pt idx="467">
                  <c:v>0.54715385271000005</c:v>
                </c:pt>
                <c:pt idx="468">
                  <c:v>-0.27075018798</c:v>
                </c:pt>
                <c:pt idx="469">
                  <c:v>1.0903711672900001</c:v>
                </c:pt>
                <c:pt idx="470">
                  <c:v>-0.29596468320000002</c:v>
                </c:pt>
                <c:pt idx="471">
                  <c:v>1.1280873061500001</c:v>
                </c:pt>
                <c:pt idx="472">
                  <c:v>-0.31768577280999999</c:v>
                </c:pt>
                <c:pt idx="473">
                  <c:v>1.00523824549</c:v>
                </c:pt>
                <c:pt idx="474">
                  <c:v>-0.19810752686999999</c:v>
                </c:pt>
                <c:pt idx="475">
                  <c:v>-5.3646733500000002E-2</c:v>
                </c:pt>
                <c:pt idx="476">
                  <c:v>-9.4827586209999995E-2</c:v>
                </c:pt>
                <c:pt idx="477">
                  <c:v>-0.21080617495000001</c:v>
                </c:pt>
                <c:pt idx="478">
                  <c:v>0.22656946133</c:v>
                </c:pt>
                <c:pt idx="479">
                  <c:v>-0.20575479564999999</c:v>
                </c:pt>
                <c:pt idx="480">
                  <c:v>-0.22132796779</c:v>
                </c:pt>
                <c:pt idx="481">
                  <c:v>0.24661005342</c:v>
                </c:pt>
                <c:pt idx="482">
                  <c:v>-0.38500273672000002</c:v>
                </c:pt>
                <c:pt idx="483">
                  <c:v>0.41858244582999998</c:v>
                </c:pt>
                <c:pt idx="484">
                  <c:v>-0.26605392157000002</c:v>
                </c:pt>
                <c:pt idx="485">
                  <c:v>0.116357206</c:v>
                </c:pt>
                <c:pt idx="486">
                  <c:v>-0.42942583732</c:v>
                </c:pt>
                <c:pt idx="487">
                  <c:v>0.14141414139</c:v>
                </c:pt>
                <c:pt idx="488">
                  <c:v>-0.31727901517000001</c:v>
                </c:pt>
                <c:pt idx="489">
                  <c:v>4.2285714289999998E-2</c:v>
                </c:pt>
                <c:pt idx="490">
                  <c:v>-0.31803338172000001</c:v>
                </c:pt>
                <c:pt idx="491">
                  <c:v>0.77719406678000003</c:v>
                </c:pt>
                <c:pt idx="492">
                  <c:v>-0.14022009229999999</c:v>
                </c:pt>
                <c:pt idx="493">
                  <c:v>-1.8890977449999999E-2</c:v>
                </c:pt>
                <c:pt idx="494">
                  <c:v>0.21978751661000001</c:v>
                </c:pt>
                <c:pt idx="495">
                  <c:v>-0.40165175498</c:v>
                </c:pt>
                <c:pt idx="496">
                  <c:v>0.30991124258000002</c:v>
                </c:pt>
                <c:pt idx="497">
                  <c:v>-0.35297239915</c:v>
                </c:pt>
                <c:pt idx="498">
                  <c:v>-4.3193717270000001E-2</c:v>
                </c:pt>
                <c:pt idx="499">
                  <c:v>-0.30499075785000002</c:v>
                </c:pt>
                <c:pt idx="500">
                  <c:v>-0.36058700209</c:v>
                </c:pt>
                <c:pt idx="501">
                  <c:v>0.70682730922000003</c:v>
                </c:pt>
                <c:pt idx="502">
                  <c:v>-0.49613924878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3D-4B5B-BD8A-6E8D963D7D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JIP_v_den_pozitivity65_7dni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</c:formatCode>
                <c:ptCount val="504"/>
                <c:pt idx="0">
                  <c:v>0.1977555</c:v>
                </c:pt>
                <c:pt idx="1">
                  <c:v>0.24719440000000001</c:v>
                </c:pt>
                <c:pt idx="2">
                  <c:v>0.24719440000000001</c:v>
                </c:pt>
                <c:pt idx="3">
                  <c:v>0.3955111</c:v>
                </c:pt>
                <c:pt idx="4">
                  <c:v>0.44495000000000001</c:v>
                </c:pt>
                <c:pt idx="5">
                  <c:v>0.54382779999999997</c:v>
                </c:pt>
                <c:pt idx="6">
                  <c:v>0.59326670000000004</c:v>
                </c:pt>
                <c:pt idx="7">
                  <c:v>0.59326670000000004</c:v>
                </c:pt>
                <c:pt idx="8">
                  <c:v>0.59326670000000004</c:v>
                </c:pt>
                <c:pt idx="9">
                  <c:v>0.79102220000000001</c:v>
                </c:pt>
                <c:pt idx="10">
                  <c:v>0.84046109999999996</c:v>
                </c:pt>
                <c:pt idx="11">
                  <c:v>0.79102220000000001</c:v>
                </c:pt>
                <c:pt idx="12">
                  <c:v>0.84046109999999996</c:v>
                </c:pt>
                <c:pt idx="13">
                  <c:v>0.79102220000000001</c:v>
                </c:pt>
                <c:pt idx="14">
                  <c:v>1.1865334000000001</c:v>
                </c:pt>
                <c:pt idx="15">
                  <c:v>1.1370944999999999</c:v>
                </c:pt>
                <c:pt idx="16">
                  <c:v>1.2359723</c:v>
                </c:pt>
                <c:pt idx="17">
                  <c:v>1.1865334000000001</c:v>
                </c:pt>
                <c:pt idx="18">
                  <c:v>1.2359723</c:v>
                </c:pt>
                <c:pt idx="19">
                  <c:v>1.3842890000000001</c:v>
                </c:pt>
                <c:pt idx="20">
                  <c:v>1.4831666999999999</c:v>
                </c:pt>
                <c:pt idx="21">
                  <c:v>1.4337279000000001</c:v>
                </c:pt>
                <c:pt idx="22">
                  <c:v>1.9281168</c:v>
                </c:pt>
                <c:pt idx="23">
                  <c:v>2.2247501000000001</c:v>
                </c:pt>
                <c:pt idx="24">
                  <c:v>2.4719446</c:v>
                </c:pt>
                <c:pt idx="25">
                  <c:v>2.5708224</c:v>
                </c:pt>
                <c:pt idx="26">
                  <c:v>2.4719446</c:v>
                </c:pt>
                <c:pt idx="27">
                  <c:v>2.6202613000000001</c:v>
                </c:pt>
                <c:pt idx="28">
                  <c:v>2.7191391</c:v>
                </c:pt>
                <c:pt idx="29">
                  <c:v>2.5708224</c:v>
                </c:pt>
                <c:pt idx="30">
                  <c:v>2.4225056999999999</c:v>
                </c:pt>
                <c:pt idx="31">
                  <c:v>2.6202613000000001</c:v>
                </c:pt>
                <c:pt idx="32">
                  <c:v>2.6202613000000001</c:v>
                </c:pt>
                <c:pt idx="33">
                  <c:v>2.8674558000000001</c:v>
                </c:pt>
                <c:pt idx="34">
                  <c:v>4.1528669999999996</c:v>
                </c:pt>
                <c:pt idx="35">
                  <c:v>4.4495003000000004</c:v>
                </c:pt>
                <c:pt idx="36">
                  <c:v>5.2899615000000004</c:v>
                </c:pt>
                <c:pt idx="37">
                  <c:v>5.5371560000000004</c:v>
                </c:pt>
                <c:pt idx="38">
                  <c:v>5.9821059999999999</c:v>
                </c:pt>
                <c:pt idx="39">
                  <c:v>6.7731282999999998</c:v>
                </c:pt>
                <c:pt idx="40">
                  <c:v>7.0697616999999999</c:v>
                </c:pt>
                <c:pt idx="41">
                  <c:v>6.5753728000000002</c:v>
                </c:pt>
                <c:pt idx="42">
                  <c:v>6.6742505000000003</c:v>
                </c:pt>
                <c:pt idx="43">
                  <c:v>6.5259339000000001</c:v>
                </c:pt>
                <c:pt idx="44">
                  <c:v>6.9708838999999996</c:v>
                </c:pt>
                <c:pt idx="45">
                  <c:v>7.4652728000000002</c:v>
                </c:pt>
                <c:pt idx="46">
                  <c:v>6.9214450000000003</c:v>
                </c:pt>
                <c:pt idx="47">
                  <c:v>7.3169561999999999</c:v>
                </c:pt>
                <c:pt idx="48">
                  <c:v>7.7619062000000003</c:v>
                </c:pt>
                <c:pt idx="49">
                  <c:v>8.1079784000000004</c:v>
                </c:pt>
                <c:pt idx="50">
                  <c:v>8.5034896</c:v>
                </c:pt>
                <c:pt idx="51">
                  <c:v>8.9484396000000004</c:v>
                </c:pt>
                <c:pt idx="52">
                  <c:v>9.0967562999999991</c:v>
                </c:pt>
                <c:pt idx="53">
                  <c:v>10.0855342</c:v>
                </c:pt>
                <c:pt idx="54">
                  <c:v>10.5304842</c:v>
                </c:pt>
                <c:pt idx="55">
                  <c:v>11.667578799999999</c:v>
                </c:pt>
                <c:pt idx="56">
                  <c:v>12.755234400000001</c:v>
                </c:pt>
                <c:pt idx="57">
                  <c:v>12.508039999999999</c:v>
                </c:pt>
                <c:pt idx="58">
                  <c:v>12.9035511</c:v>
                </c:pt>
                <c:pt idx="59">
                  <c:v>13.0024289</c:v>
                </c:pt>
                <c:pt idx="60">
                  <c:v>13.200184500000001</c:v>
                </c:pt>
                <c:pt idx="61">
                  <c:v>12.705795500000001</c:v>
                </c:pt>
                <c:pt idx="62">
                  <c:v>12.95299</c:v>
                </c:pt>
                <c:pt idx="63">
                  <c:v>12.508039999999999</c:v>
                </c:pt>
                <c:pt idx="64">
                  <c:v>12.656356600000001</c:v>
                </c:pt>
                <c:pt idx="65">
                  <c:v>12.95299</c:v>
                </c:pt>
                <c:pt idx="66">
                  <c:v>13.2990622</c:v>
                </c:pt>
                <c:pt idx="67">
                  <c:v>12.9035511</c:v>
                </c:pt>
                <c:pt idx="68">
                  <c:v>12.6069177</c:v>
                </c:pt>
                <c:pt idx="69">
                  <c:v>11.519262100000001</c:v>
                </c:pt>
                <c:pt idx="70">
                  <c:v>11.123750899999999</c:v>
                </c:pt>
                <c:pt idx="71">
                  <c:v>11.519262100000001</c:v>
                </c:pt>
                <c:pt idx="72">
                  <c:v>10.4316064</c:v>
                </c:pt>
                <c:pt idx="73">
                  <c:v>9.4922675000000005</c:v>
                </c:pt>
                <c:pt idx="74">
                  <c:v>9.0473174000000007</c:v>
                </c:pt>
                <c:pt idx="75">
                  <c:v>8.7506841000000009</c:v>
                </c:pt>
                <c:pt idx="76">
                  <c:v>8.7506841000000009</c:v>
                </c:pt>
                <c:pt idx="77">
                  <c:v>7.8607839999999998</c:v>
                </c:pt>
                <c:pt idx="78">
                  <c:v>7.0697616999999999</c:v>
                </c:pt>
                <c:pt idx="79">
                  <c:v>7.1686395000000003</c:v>
                </c:pt>
                <c:pt idx="80">
                  <c:v>6.7731282999999998</c:v>
                </c:pt>
                <c:pt idx="81">
                  <c:v>6.9708838999999996</c:v>
                </c:pt>
                <c:pt idx="82">
                  <c:v>6.9708838999999996</c:v>
                </c:pt>
                <c:pt idx="83">
                  <c:v>5.7843505000000004</c:v>
                </c:pt>
                <c:pt idx="84">
                  <c:v>6.0315449000000001</c:v>
                </c:pt>
                <c:pt idx="85">
                  <c:v>5.9821059999999999</c:v>
                </c:pt>
                <c:pt idx="86">
                  <c:v>5.6360337999999999</c:v>
                </c:pt>
                <c:pt idx="87">
                  <c:v>5.5865948999999997</c:v>
                </c:pt>
                <c:pt idx="88">
                  <c:v>5.1416449000000002</c:v>
                </c:pt>
                <c:pt idx="89">
                  <c:v>5.1416449000000002</c:v>
                </c:pt>
                <c:pt idx="90">
                  <c:v>5.6854727</c:v>
                </c:pt>
                <c:pt idx="91">
                  <c:v>5.5865948999999997</c:v>
                </c:pt>
                <c:pt idx="92">
                  <c:v>5.5865948999999997</c:v>
                </c:pt>
                <c:pt idx="93">
                  <c:v>6.0315449000000001</c:v>
                </c:pt>
                <c:pt idx="94">
                  <c:v>6.3776172000000004</c:v>
                </c:pt>
                <c:pt idx="95">
                  <c:v>6.3281783000000003</c:v>
                </c:pt>
                <c:pt idx="96">
                  <c:v>6.4764949999999999</c:v>
                </c:pt>
                <c:pt idx="97">
                  <c:v>5.9821059999999999</c:v>
                </c:pt>
                <c:pt idx="98">
                  <c:v>6.3281783000000003</c:v>
                </c:pt>
                <c:pt idx="99">
                  <c:v>6.1798615999999997</c:v>
                </c:pt>
                <c:pt idx="100">
                  <c:v>5.8337893999999997</c:v>
                </c:pt>
                <c:pt idx="101">
                  <c:v>5.1910837000000001</c:v>
                </c:pt>
                <c:pt idx="102">
                  <c:v>5.4877171000000002</c:v>
                </c:pt>
                <c:pt idx="103">
                  <c:v>5.2899615000000004</c:v>
                </c:pt>
                <c:pt idx="104">
                  <c:v>5.8832282999999999</c:v>
                </c:pt>
                <c:pt idx="105">
                  <c:v>5.4877171000000002</c:v>
                </c:pt>
                <c:pt idx="106">
                  <c:v>5.4382782000000001</c:v>
                </c:pt>
                <c:pt idx="107">
                  <c:v>5.2405226000000003</c:v>
                </c:pt>
                <c:pt idx="108">
                  <c:v>5.3394003999999997</c:v>
                </c:pt>
                <c:pt idx="109">
                  <c:v>4.9933281999999997</c:v>
                </c:pt>
                <c:pt idx="110">
                  <c:v>5.1416449000000002</c:v>
                </c:pt>
                <c:pt idx="111">
                  <c:v>4.9933281999999997</c:v>
                </c:pt>
                <c:pt idx="112">
                  <c:v>4.9933281999999997</c:v>
                </c:pt>
                <c:pt idx="113">
                  <c:v>5.5865948999999997</c:v>
                </c:pt>
                <c:pt idx="114">
                  <c:v>5.1910837000000001</c:v>
                </c:pt>
                <c:pt idx="115">
                  <c:v>5.3888392999999999</c:v>
                </c:pt>
                <c:pt idx="116">
                  <c:v>5.4877171000000002</c:v>
                </c:pt>
                <c:pt idx="117">
                  <c:v>6.2787394000000001</c:v>
                </c:pt>
                <c:pt idx="118">
                  <c:v>6.8225671999999999</c:v>
                </c:pt>
                <c:pt idx="119">
                  <c:v>7.9102228999999999</c:v>
                </c:pt>
                <c:pt idx="120">
                  <c:v>8.2068562000000007</c:v>
                </c:pt>
                <c:pt idx="121">
                  <c:v>8.9484396000000004</c:v>
                </c:pt>
                <c:pt idx="122">
                  <c:v>8.8990007000000002</c:v>
                </c:pt>
                <c:pt idx="123">
                  <c:v>9.3933897000000002</c:v>
                </c:pt>
                <c:pt idx="124">
                  <c:v>9.1461951999999993</c:v>
                </c:pt>
                <c:pt idx="125">
                  <c:v>8.9978785000000006</c:v>
                </c:pt>
                <c:pt idx="126">
                  <c:v>8.9978785000000006</c:v>
                </c:pt>
                <c:pt idx="127">
                  <c:v>8.8990007000000002</c:v>
                </c:pt>
                <c:pt idx="128">
                  <c:v>8.9484396000000004</c:v>
                </c:pt>
                <c:pt idx="129">
                  <c:v>9.6900230000000001</c:v>
                </c:pt>
                <c:pt idx="130">
                  <c:v>9.9866563999999993</c:v>
                </c:pt>
                <c:pt idx="131">
                  <c:v>9.6405840999999999</c:v>
                </c:pt>
                <c:pt idx="132">
                  <c:v>9.6405840999999999</c:v>
                </c:pt>
                <c:pt idx="133">
                  <c:v>8.8001229999999993</c:v>
                </c:pt>
                <c:pt idx="134">
                  <c:v>8.2562951000000009</c:v>
                </c:pt>
                <c:pt idx="135">
                  <c:v>8.5529285000000002</c:v>
                </c:pt>
                <c:pt idx="136">
                  <c:v>8.5529285000000002</c:v>
                </c:pt>
                <c:pt idx="137">
                  <c:v>7.8607839999999998</c:v>
                </c:pt>
                <c:pt idx="138">
                  <c:v>7.5641505999999996</c:v>
                </c:pt>
                <c:pt idx="139">
                  <c:v>7.5147117000000003</c:v>
                </c:pt>
                <c:pt idx="140">
                  <c:v>7.7124673000000001</c:v>
                </c:pt>
                <c:pt idx="141">
                  <c:v>8.0091006999999994</c:v>
                </c:pt>
                <c:pt idx="142">
                  <c:v>7.1686395000000003</c:v>
                </c:pt>
                <c:pt idx="143">
                  <c:v>7.0697616999999999</c:v>
                </c:pt>
                <c:pt idx="144">
                  <c:v>7.0697616999999999</c:v>
                </c:pt>
                <c:pt idx="145">
                  <c:v>7.0697616999999999</c:v>
                </c:pt>
                <c:pt idx="146">
                  <c:v>6.7236893999999996</c:v>
                </c:pt>
                <c:pt idx="147">
                  <c:v>7.0203227999999998</c:v>
                </c:pt>
                <c:pt idx="148">
                  <c:v>6.3281783000000003</c:v>
                </c:pt>
                <c:pt idx="149">
                  <c:v>6.5753728000000002</c:v>
                </c:pt>
                <c:pt idx="150">
                  <c:v>6.4764949999999999</c:v>
                </c:pt>
                <c:pt idx="151">
                  <c:v>6.5259339000000001</c:v>
                </c:pt>
                <c:pt idx="152">
                  <c:v>6.5753728000000002</c:v>
                </c:pt>
                <c:pt idx="153">
                  <c:v>6.8720061000000001</c:v>
                </c:pt>
                <c:pt idx="154">
                  <c:v>6.0809838000000003</c:v>
                </c:pt>
                <c:pt idx="155">
                  <c:v>6.3281783000000003</c:v>
                </c:pt>
                <c:pt idx="156">
                  <c:v>6.8225671999999999</c:v>
                </c:pt>
                <c:pt idx="157">
                  <c:v>6.6248116000000001</c:v>
                </c:pt>
                <c:pt idx="158">
                  <c:v>6.6742505000000003</c:v>
                </c:pt>
                <c:pt idx="159">
                  <c:v>6.5753728000000002</c:v>
                </c:pt>
                <c:pt idx="160">
                  <c:v>6.2787394000000001</c:v>
                </c:pt>
                <c:pt idx="161">
                  <c:v>7.4158339</c:v>
                </c:pt>
                <c:pt idx="162">
                  <c:v>7.7619062000000003</c:v>
                </c:pt>
                <c:pt idx="163">
                  <c:v>7.2180783999999996</c:v>
                </c:pt>
                <c:pt idx="164">
                  <c:v>7.0697616999999999</c:v>
                </c:pt>
                <c:pt idx="165">
                  <c:v>6.6248116000000001</c:v>
                </c:pt>
                <c:pt idx="166">
                  <c:v>7.0203227999999998</c:v>
                </c:pt>
                <c:pt idx="167">
                  <c:v>6.7731282999999998</c:v>
                </c:pt>
                <c:pt idx="168">
                  <c:v>6.2293004999999999</c:v>
                </c:pt>
                <c:pt idx="169">
                  <c:v>6.7236893999999996</c:v>
                </c:pt>
                <c:pt idx="170">
                  <c:v>7.1192006000000001</c:v>
                </c:pt>
                <c:pt idx="171">
                  <c:v>7.0203227999999998</c:v>
                </c:pt>
                <c:pt idx="172">
                  <c:v>7.7124673000000001</c:v>
                </c:pt>
                <c:pt idx="173">
                  <c:v>8.1079784000000004</c:v>
                </c:pt>
                <c:pt idx="174">
                  <c:v>8.5529285000000002</c:v>
                </c:pt>
                <c:pt idx="175">
                  <c:v>8.4046117999999996</c:v>
                </c:pt>
                <c:pt idx="176">
                  <c:v>8.0091006999999994</c:v>
                </c:pt>
                <c:pt idx="177">
                  <c:v>8.1079784000000004</c:v>
                </c:pt>
                <c:pt idx="178">
                  <c:v>8.0091006999999994</c:v>
                </c:pt>
                <c:pt idx="179">
                  <c:v>7.5641505999999996</c:v>
                </c:pt>
                <c:pt idx="180">
                  <c:v>7.3663949999999998</c:v>
                </c:pt>
                <c:pt idx="181">
                  <c:v>7.6135894999999998</c:v>
                </c:pt>
                <c:pt idx="182">
                  <c:v>8.1079784000000004</c:v>
                </c:pt>
                <c:pt idx="183">
                  <c:v>8.1079784000000004</c:v>
                </c:pt>
                <c:pt idx="184">
                  <c:v>7.8607839999999998</c:v>
                </c:pt>
                <c:pt idx="185">
                  <c:v>8.5034896</c:v>
                </c:pt>
                <c:pt idx="186">
                  <c:v>8.7012452000000007</c:v>
                </c:pt>
                <c:pt idx="187">
                  <c:v>8.2068562000000007</c:v>
                </c:pt>
                <c:pt idx="188">
                  <c:v>8.7012452000000007</c:v>
                </c:pt>
                <c:pt idx="189">
                  <c:v>7.9102228999999999</c:v>
                </c:pt>
                <c:pt idx="190">
                  <c:v>7.9102228999999999</c:v>
                </c:pt>
                <c:pt idx="191">
                  <c:v>8.1574173000000005</c:v>
                </c:pt>
                <c:pt idx="192">
                  <c:v>8.7012452000000007</c:v>
                </c:pt>
                <c:pt idx="193">
                  <c:v>8.4540506999999998</c:v>
                </c:pt>
                <c:pt idx="194">
                  <c:v>8.7506841000000009</c:v>
                </c:pt>
                <c:pt idx="195">
                  <c:v>8.3057339999999993</c:v>
                </c:pt>
                <c:pt idx="196">
                  <c:v>8.2068562000000007</c:v>
                </c:pt>
                <c:pt idx="197">
                  <c:v>7.9596618000000001</c:v>
                </c:pt>
                <c:pt idx="198">
                  <c:v>7.3663949999999998</c:v>
                </c:pt>
                <c:pt idx="199">
                  <c:v>6.5259339000000001</c:v>
                </c:pt>
                <c:pt idx="200">
                  <c:v>6.6742505000000003</c:v>
                </c:pt>
                <c:pt idx="201">
                  <c:v>6.2787394000000001</c:v>
                </c:pt>
                <c:pt idx="202">
                  <c:v>6.1304226999999996</c:v>
                </c:pt>
                <c:pt idx="203">
                  <c:v>6.7236893999999996</c:v>
                </c:pt>
                <c:pt idx="204">
                  <c:v>6.5753728000000002</c:v>
                </c:pt>
                <c:pt idx="205">
                  <c:v>6.9214450000000003</c:v>
                </c:pt>
                <c:pt idx="206">
                  <c:v>6.7236893999999996</c:v>
                </c:pt>
                <c:pt idx="207">
                  <c:v>6.6248116000000001</c:v>
                </c:pt>
                <c:pt idx="208">
                  <c:v>6.7236893999999996</c:v>
                </c:pt>
                <c:pt idx="209">
                  <c:v>6.6248116000000001</c:v>
                </c:pt>
                <c:pt idx="210">
                  <c:v>5.8832282999999999</c:v>
                </c:pt>
                <c:pt idx="211">
                  <c:v>5.6360337999999999</c:v>
                </c:pt>
                <c:pt idx="212">
                  <c:v>5.3394003999999997</c:v>
                </c:pt>
                <c:pt idx="213">
                  <c:v>5.0427670999999998</c:v>
                </c:pt>
                <c:pt idx="214">
                  <c:v>4.9933281999999997</c:v>
                </c:pt>
                <c:pt idx="215">
                  <c:v>4.9438893000000004</c:v>
                </c:pt>
                <c:pt idx="216">
                  <c:v>3.9551113999999998</c:v>
                </c:pt>
                <c:pt idx="217">
                  <c:v>4.3506226000000003</c:v>
                </c:pt>
                <c:pt idx="218">
                  <c:v>4.6472559000000002</c:v>
                </c:pt>
                <c:pt idx="219">
                  <c:v>4.7461336999999997</c:v>
                </c:pt>
                <c:pt idx="220">
                  <c:v>4.9438893000000004</c:v>
                </c:pt>
                <c:pt idx="221">
                  <c:v>5.1416449000000002</c:v>
                </c:pt>
                <c:pt idx="222">
                  <c:v>5.2405226000000003</c:v>
                </c:pt>
                <c:pt idx="223">
                  <c:v>5.9821059999999999</c:v>
                </c:pt>
                <c:pt idx="224">
                  <c:v>5.4382782000000001</c:v>
                </c:pt>
                <c:pt idx="225">
                  <c:v>5.092206</c:v>
                </c:pt>
                <c:pt idx="226">
                  <c:v>4.7461336999999997</c:v>
                </c:pt>
                <c:pt idx="227">
                  <c:v>4.4000614999999996</c:v>
                </c:pt>
                <c:pt idx="228">
                  <c:v>4.0539892000000002</c:v>
                </c:pt>
                <c:pt idx="229">
                  <c:v>3.7079168999999998</c:v>
                </c:pt>
                <c:pt idx="230">
                  <c:v>3.5101613999999999</c:v>
                </c:pt>
                <c:pt idx="231">
                  <c:v>3.5101613999999999</c:v>
                </c:pt>
                <c:pt idx="232">
                  <c:v>3.3124058000000001</c:v>
                </c:pt>
                <c:pt idx="233">
                  <c:v>3.3124058000000001</c:v>
                </c:pt>
                <c:pt idx="234">
                  <c:v>3.5596003000000001</c:v>
                </c:pt>
                <c:pt idx="235">
                  <c:v>3.5101613999999999</c:v>
                </c:pt>
                <c:pt idx="236">
                  <c:v>3.6090391999999998</c:v>
                </c:pt>
                <c:pt idx="237">
                  <c:v>3.3124058000000001</c:v>
                </c:pt>
                <c:pt idx="238">
                  <c:v>3.1146501999999998</c:v>
                </c:pt>
                <c:pt idx="239">
                  <c:v>3.1640891</c:v>
                </c:pt>
                <c:pt idx="240">
                  <c:v>3.0157723999999999</c:v>
                </c:pt>
                <c:pt idx="241">
                  <c:v>2.5708224</c:v>
                </c:pt>
                <c:pt idx="242">
                  <c:v>2.2741889999999998</c:v>
                </c:pt>
                <c:pt idx="243">
                  <c:v>2.0764334999999998</c:v>
                </c:pt>
                <c:pt idx="244">
                  <c:v>1.7798001000000001</c:v>
                </c:pt>
                <c:pt idx="245">
                  <c:v>2.0269946000000001</c:v>
                </c:pt>
                <c:pt idx="246">
                  <c:v>1.8786779</c:v>
                </c:pt>
                <c:pt idx="247">
                  <c:v>1.6809223</c:v>
                </c:pt>
                <c:pt idx="248">
                  <c:v>1.8786779</c:v>
                </c:pt>
                <c:pt idx="249">
                  <c:v>2.0764334999999998</c:v>
                </c:pt>
                <c:pt idx="250">
                  <c:v>2.0764334999999998</c:v>
                </c:pt>
                <c:pt idx="251">
                  <c:v>2.1258724</c:v>
                </c:pt>
                <c:pt idx="252">
                  <c:v>1.8292390000000001</c:v>
                </c:pt>
                <c:pt idx="253">
                  <c:v>1.8292390000000001</c:v>
                </c:pt>
                <c:pt idx="254">
                  <c:v>1.7798001000000001</c:v>
                </c:pt>
                <c:pt idx="255">
                  <c:v>1.4831666999999999</c:v>
                </c:pt>
                <c:pt idx="256">
                  <c:v>1.3842890000000001</c:v>
                </c:pt>
                <c:pt idx="257">
                  <c:v>1.2359723</c:v>
                </c:pt>
                <c:pt idx="258">
                  <c:v>0.88990000000000002</c:v>
                </c:pt>
                <c:pt idx="259">
                  <c:v>0.79102220000000001</c:v>
                </c:pt>
                <c:pt idx="260">
                  <c:v>0.69214450000000005</c:v>
                </c:pt>
                <c:pt idx="261">
                  <c:v>0.54382779999999997</c:v>
                </c:pt>
                <c:pt idx="262">
                  <c:v>0.59326670000000004</c:v>
                </c:pt>
                <c:pt idx="263">
                  <c:v>0.54382779999999997</c:v>
                </c:pt>
                <c:pt idx="264">
                  <c:v>0.59326670000000004</c:v>
                </c:pt>
                <c:pt idx="265">
                  <c:v>0.59326670000000004</c:v>
                </c:pt>
                <c:pt idx="266">
                  <c:v>0.49438890000000002</c:v>
                </c:pt>
                <c:pt idx="267">
                  <c:v>0.54382779999999997</c:v>
                </c:pt>
                <c:pt idx="268">
                  <c:v>0.49438890000000002</c:v>
                </c:pt>
                <c:pt idx="269">
                  <c:v>0.3460722</c:v>
                </c:pt>
                <c:pt idx="270">
                  <c:v>0.3460722</c:v>
                </c:pt>
                <c:pt idx="271">
                  <c:v>0.3460722</c:v>
                </c:pt>
                <c:pt idx="272">
                  <c:v>0.49438890000000002</c:v>
                </c:pt>
                <c:pt idx="273">
                  <c:v>0.54382779999999997</c:v>
                </c:pt>
                <c:pt idx="274">
                  <c:v>0.3955111</c:v>
                </c:pt>
                <c:pt idx="275">
                  <c:v>0.49438890000000002</c:v>
                </c:pt>
                <c:pt idx="276">
                  <c:v>0.54382779999999997</c:v>
                </c:pt>
                <c:pt idx="277">
                  <c:v>0.49438890000000002</c:v>
                </c:pt>
                <c:pt idx="278">
                  <c:v>0.44495000000000001</c:v>
                </c:pt>
                <c:pt idx="279">
                  <c:v>0.29663329999999999</c:v>
                </c:pt>
                <c:pt idx="280">
                  <c:v>0.24719440000000001</c:v>
                </c:pt>
                <c:pt idx="281">
                  <c:v>0.24719440000000001</c:v>
                </c:pt>
                <c:pt idx="282">
                  <c:v>0.24719440000000001</c:v>
                </c:pt>
                <c:pt idx="283">
                  <c:v>0.24719440000000001</c:v>
                </c:pt>
                <c:pt idx="284">
                  <c:v>0.24719440000000001</c:v>
                </c:pt>
                <c:pt idx="285">
                  <c:v>0.24719440000000001</c:v>
                </c:pt>
                <c:pt idx="286">
                  <c:v>0.29663329999999999</c:v>
                </c:pt>
                <c:pt idx="287">
                  <c:v>0.29663329999999999</c:v>
                </c:pt>
                <c:pt idx="288">
                  <c:v>0.29663329999999999</c:v>
                </c:pt>
                <c:pt idx="289">
                  <c:v>0.1977555</c:v>
                </c:pt>
                <c:pt idx="290">
                  <c:v>0.29663329999999999</c:v>
                </c:pt>
                <c:pt idx="291">
                  <c:v>0.29663329999999999</c:v>
                </c:pt>
                <c:pt idx="292">
                  <c:v>0.3460722</c:v>
                </c:pt>
                <c:pt idx="293">
                  <c:v>0.24719440000000001</c:v>
                </c:pt>
                <c:pt idx="294">
                  <c:v>0.24719440000000001</c:v>
                </c:pt>
                <c:pt idx="295">
                  <c:v>0.1977555</c:v>
                </c:pt>
                <c:pt idx="296">
                  <c:v>0.1977555</c:v>
                </c:pt>
                <c:pt idx="297">
                  <c:v>4.9438799999999998E-2</c:v>
                </c:pt>
                <c:pt idx="298">
                  <c:v>4.9438799999999998E-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4.9438799999999998E-2</c:v>
                </c:pt>
                <c:pt idx="310">
                  <c:v>4.9438799999999998E-2</c:v>
                </c:pt>
                <c:pt idx="311">
                  <c:v>4.9438799999999998E-2</c:v>
                </c:pt>
                <c:pt idx="312">
                  <c:v>4.9438799999999998E-2</c:v>
                </c:pt>
                <c:pt idx="313">
                  <c:v>4.9438799999999998E-2</c:v>
                </c:pt>
                <c:pt idx="314">
                  <c:v>9.8877699999999999E-2</c:v>
                </c:pt>
                <c:pt idx="315">
                  <c:v>9.8877699999999999E-2</c:v>
                </c:pt>
                <c:pt idx="316">
                  <c:v>4.9438799999999998E-2</c:v>
                </c:pt>
                <c:pt idx="317">
                  <c:v>4.9438799999999998E-2</c:v>
                </c:pt>
                <c:pt idx="318">
                  <c:v>4.9438799999999998E-2</c:v>
                </c:pt>
                <c:pt idx="319">
                  <c:v>4.9438799999999998E-2</c:v>
                </c:pt>
                <c:pt idx="320">
                  <c:v>9.8877699999999999E-2</c:v>
                </c:pt>
                <c:pt idx="321">
                  <c:v>9.8877699999999999E-2</c:v>
                </c:pt>
                <c:pt idx="322">
                  <c:v>9.8877699999999999E-2</c:v>
                </c:pt>
                <c:pt idx="323">
                  <c:v>9.8877699999999999E-2</c:v>
                </c:pt>
                <c:pt idx="324">
                  <c:v>9.8877699999999999E-2</c:v>
                </c:pt>
                <c:pt idx="325">
                  <c:v>0.14831659999999999</c:v>
                </c:pt>
                <c:pt idx="326">
                  <c:v>0.14831659999999999</c:v>
                </c:pt>
                <c:pt idx="327">
                  <c:v>9.8877699999999999E-2</c:v>
                </c:pt>
                <c:pt idx="328">
                  <c:v>9.8877699999999999E-2</c:v>
                </c:pt>
                <c:pt idx="329">
                  <c:v>9.8877699999999999E-2</c:v>
                </c:pt>
                <c:pt idx="330">
                  <c:v>9.8877699999999999E-2</c:v>
                </c:pt>
                <c:pt idx="331">
                  <c:v>0.14831659999999999</c:v>
                </c:pt>
                <c:pt idx="332">
                  <c:v>0.14831659999999999</c:v>
                </c:pt>
                <c:pt idx="333">
                  <c:v>0.1977555</c:v>
                </c:pt>
                <c:pt idx="334">
                  <c:v>0.1977555</c:v>
                </c:pt>
                <c:pt idx="335">
                  <c:v>0.14831659999999999</c:v>
                </c:pt>
                <c:pt idx="336">
                  <c:v>0.14831659999999999</c:v>
                </c:pt>
                <c:pt idx="337">
                  <c:v>0.1977555</c:v>
                </c:pt>
                <c:pt idx="338">
                  <c:v>0.14831659999999999</c:v>
                </c:pt>
                <c:pt idx="339">
                  <c:v>0.14831659999999999</c:v>
                </c:pt>
                <c:pt idx="340">
                  <c:v>9.8877699999999999E-2</c:v>
                </c:pt>
                <c:pt idx="341">
                  <c:v>9.8877699999999999E-2</c:v>
                </c:pt>
                <c:pt idx="342">
                  <c:v>9.8877699999999999E-2</c:v>
                </c:pt>
                <c:pt idx="343">
                  <c:v>9.8877699999999999E-2</c:v>
                </c:pt>
                <c:pt idx="344">
                  <c:v>9.8877699999999999E-2</c:v>
                </c:pt>
                <c:pt idx="345">
                  <c:v>9.8877699999999999E-2</c:v>
                </c:pt>
                <c:pt idx="346">
                  <c:v>4.9438799999999998E-2</c:v>
                </c:pt>
                <c:pt idx="347">
                  <c:v>4.9438799999999998E-2</c:v>
                </c:pt>
                <c:pt idx="348">
                  <c:v>9.8877699999999999E-2</c:v>
                </c:pt>
                <c:pt idx="349">
                  <c:v>9.8877699999999999E-2</c:v>
                </c:pt>
                <c:pt idx="350">
                  <c:v>9.8877699999999999E-2</c:v>
                </c:pt>
                <c:pt idx="351">
                  <c:v>4.9438799999999998E-2</c:v>
                </c:pt>
                <c:pt idx="352">
                  <c:v>4.9438799999999998E-2</c:v>
                </c:pt>
                <c:pt idx="353">
                  <c:v>0.1977555</c:v>
                </c:pt>
                <c:pt idx="354">
                  <c:v>0.24719440000000001</c:v>
                </c:pt>
                <c:pt idx="355">
                  <c:v>0.1977555</c:v>
                </c:pt>
                <c:pt idx="356">
                  <c:v>0.24719440000000001</c:v>
                </c:pt>
                <c:pt idx="357">
                  <c:v>0.29663329999999999</c:v>
                </c:pt>
                <c:pt idx="358">
                  <c:v>0.3460722</c:v>
                </c:pt>
                <c:pt idx="359">
                  <c:v>0.3460722</c:v>
                </c:pt>
                <c:pt idx="360">
                  <c:v>0.1977555</c:v>
                </c:pt>
                <c:pt idx="361">
                  <c:v>0.14831659999999999</c:v>
                </c:pt>
                <c:pt idx="362">
                  <c:v>0.14831659999999999</c:v>
                </c:pt>
                <c:pt idx="363">
                  <c:v>9.8877699999999999E-2</c:v>
                </c:pt>
                <c:pt idx="364">
                  <c:v>4.9438799999999998E-2</c:v>
                </c:pt>
                <c:pt idx="365">
                  <c:v>4.9438799999999998E-2</c:v>
                </c:pt>
                <c:pt idx="366">
                  <c:v>4.9438799999999998E-2</c:v>
                </c:pt>
                <c:pt idx="367">
                  <c:v>0.1977555</c:v>
                </c:pt>
                <c:pt idx="368">
                  <c:v>0.1977555</c:v>
                </c:pt>
                <c:pt idx="369">
                  <c:v>0.24719440000000001</c:v>
                </c:pt>
                <c:pt idx="370">
                  <c:v>0.24719440000000001</c:v>
                </c:pt>
                <c:pt idx="371">
                  <c:v>0.29663329999999999</c:v>
                </c:pt>
                <c:pt idx="372">
                  <c:v>0.24719440000000001</c:v>
                </c:pt>
                <c:pt idx="373">
                  <c:v>0.24719440000000001</c:v>
                </c:pt>
                <c:pt idx="374">
                  <c:v>0.1977555</c:v>
                </c:pt>
                <c:pt idx="375">
                  <c:v>0.1977555</c:v>
                </c:pt>
                <c:pt idx="376">
                  <c:v>0.14831659999999999</c:v>
                </c:pt>
                <c:pt idx="377">
                  <c:v>0.3460722</c:v>
                </c:pt>
                <c:pt idx="378">
                  <c:v>0.3460722</c:v>
                </c:pt>
                <c:pt idx="379">
                  <c:v>0.3460722</c:v>
                </c:pt>
                <c:pt idx="380">
                  <c:v>0.3460722</c:v>
                </c:pt>
                <c:pt idx="381">
                  <c:v>0.29663329999999999</c:v>
                </c:pt>
                <c:pt idx="382">
                  <c:v>0.29663329999999999</c:v>
                </c:pt>
                <c:pt idx="383">
                  <c:v>0.3460722</c:v>
                </c:pt>
                <c:pt idx="384">
                  <c:v>0.14831659999999999</c:v>
                </c:pt>
                <c:pt idx="385">
                  <c:v>9.8877699999999999E-2</c:v>
                </c:pt>
                <c:pt idx="386">
                  <c:v>9.8877699999999999E-2</c:v>
                </c:pt>
                <c:pt idx="387">
                  <c:v>0.14831659999999999</c:v>
                </c:pt>
                <c:pt idx="388">
                  <c:v>9.8877699999999999E-2</c:v>
                </c:pt>
                <c:pt idx="389">
                  <c:v>0.14831659999999999</c:v>
                </c:pt>
                <c:pt idx="390">
                  <c:v>0.14831659999999999</c:v>
                </c:pt>
                <c:pt idx="391">
                  <c:v>0.24719440000000001</c:v>
                </c:pt>
                <c:pt idx="392">
                  <c:v>0.29663329999999999</c:v>
                </c:pt>
                <c:pt idx="393">
                  <c:v>0.3955111</c:v>
                </c:pt>
                <c:pt idx="394">
                  <c:v>0.3955111</c:v>
                </c:pt>
                <c:pt idx="395">
                  <c:v>0.54382779999999997</c:v>
                </c:pt>
                <c:pt idx="396">
                  <c:v>0.49438890000000002</c:v>
                </c:pt>
                <c:pt idx="397">
                  <c:v>0.54382779999999997</c:v>
                </c:pt>
                <c:pt idx="398">
                  <c:v>0.59326670000000004</c:v>
                </c:pt>
                <c:pt idx="399">
                  <c:v>0.84046109999999996</c:v>
                </c:pt>
                <c:pt idx="400">
                  <c:v>1.0382167</c:v>
                </c:pt>
                <c:pt idx="401">
                  <c:v>1.1865334000000001</c:v>
                </c:pt>
                <c:pt idx="402">
                  <c:v>1.0876555999999999</c:v>
                </c:pt>
                <c:pt idx="403">
                  <c:v>1.0876555999999999</c:v>
                </c:pt>
                <c:pt idx="404">
                  <c:v>1.0382167</c:v>
                </c:pt>
                <c:pt idx="405">
                  <c:v>1.2854112</c:v>
                </c:pt>
                <c:pt idx="406">
                  <c:v>1.0876555999999999</c:v>
                </c:pt>
                <c:pt idx="407">
                  <c:v>0.98877780000000004</c:v>
                </c:pt>
                <c:pt idx="408">
                  <c:v>1.0876555999999999</c:v>
                </c:pt>
                <c:pt idx="409">
                  <c:v>1.1865334000000001</c:v>
                </c:pt>
                <c:pt idx="410">
                  <c:v>1.2359723</c:v>
                </c:pt>
                <c:pt idx="411">
                  <c:v>1.1865334000000001</c:v>
                </c:pt>
                <c:pt idx="412">
                  <c:v>0.98877780000000004</c:v>
                </c:pt>
                <c:pt idx="413">
                  <c:v>0.93933889999999998</c:v>
                </c:pt>
                <c:pt idx="414">
                  <c:v>0.98877780000000004</c:v>
                </c:pt>
                <c:pt idx="415">
                  <c:v>0.74158329999999995</c:v>
                </c:pt>
                <c:pt idx="416">
                  <c:v>0.69214450000000005</c:v>
                </c:pt>
                <c:pt idx="417">
                  <c:v>0.79102220000000001</c:v>
                </c:pt>
                <c:pt idx="418">
                  <c:v>1.0382167</c:v>
                </c:pt>
                <c:pt idx="419">
                  <c:v>1.5820445000000001</c:v>
                </c:pt>
                <c:pt idx="420">
                  <c:v>1.6314834</c:v>
                </c:pt>
                <c:pt idx="421">
                  <c:v>1.5820445000000001</c:v>
                </c:pt>
                <c:pt idx="422">
                  <c:v>1.6809223</c:v>
                </c:pt>
                <c:pt idx="423">
                  <c:v>1.9775556999999999</c:v>
                </c:pt>
                <c:pt idx="424">
                  <c:v>1.9775556999999999</c:v>
                </c:pt>
                <c:pt idx="425">
                  <c:v>1.9281168</c:v>
                </c:pt>
                <c:pt idx="426">
                  <c:v>1.9281168</c:v>
                </c:pt>
                <c:pt idx="427">
                  <c:v>2.6202613000000001</c:v>
                </c:pt>
                <c:pt idx="428">
                  <c:v>2.9663335000000002</c:v>
                </c:pt>
                <c:pt idx="429">
                  <c:v>3.2629668999999999</c:v>
                </c:pt>
                <c:pt idx="430">
                  <c:v>3.6584781</c:v>
                </c:pt>
                <c:pt idx="431">
                  <c:v>4.1528669999999996</c:v>
                </c:pt>
                <c:pt idx="432">
                  <c:v>4.4000614999999996</c:v>
                </c:pt>
                <c:pt idx="433">
                  <c:v>4.3506226000000003</c:v>
                </c:pt>
                <c:pt idx="434">
                  <c:v>4.4989391999999997</c:v>
                </c:pt>
                <c:pt idx="435">
                  <c:v>4.8944504000000002</c:v>
                </c:pt>
                <c:pt idx="436">
                  <c:v>5.092206</c:v>
                </c:pt>
                <c:pt idx="437">
                  <c:v>4.7955725999999999</c:v>
                </c:pt>
                <c:pt idx="438">
                  <c:v>4.6472559000000002</c:v>
                </c:pt>
                <c:pt idx="439">
                  <c:v>4.4989391999999997</c:v>
                </c:pt>
                <c:pt idx="440">
                  <c:v>4.6472559000000002</c:v>
                </c:pt>
                <c:pt idx="441">
                  <c:v>4.4989391999999997</c:v>
                </c:pt>
                <c:pt idx="442">
                  <c:v>4.2023058999999998</c:v>
                </c:pt>
                <c:pt idx="443">
                  <c:v>4.8944504000000002</c:v>
                </c:pt>
                <c:pt idx="444">
                  <c:v>5.2899615000000004</c:v>
                </c:pt>
                <c:pt idx="445">
                  <c:v>5.3394003999999997</c:v>
                </c:pt>
                <c:pt idx="446">
                  <c:v>6.2293004999999999</c:v>
                </c:pt>
                <c:pt idx="447">
                  <c:v>7.0203227999999998</c:v>
                </c:pt>
                <c:pt idx="448">
                  <c:v>7.4158339</c:v>
                </c:pt>
                <c:pt idx="449">
                  <c:v>7.1686395000000003</c:v>
                </c:pt>
                <c:pt idx="450">
                  <c:v>7.3169561999999999</c:v>
                </c:pt>
                <c:pt idx="451">
                  <c:v>7.4652728000000002</c:v>
                </c:pt>
                <c:pt idx="452">
                  <c:v>7.6135894999999998</c:v>
                </c:pt>
                <c:pt idx="453">
                  <c:v>6.9708838999999996</c:v>
                </c:pt>
                <c:pt idx="454">
                  <c:v>6.3281783000000003</c:v>
                </c:pt>
                <c:pt idx="455">
                  <c:v>6.2293004999999999</c:v>
                </c:pt>
                <c:pt idx="456">
                  <c:v>6.8225671999999999</c:v>
                </c:pt>
                <c:pt idx="457">
                  <c:v>6.3281783000000003</c:v>
                </c:pt>
                <c:pt idx="458">
                  <c:v>5.6854727</c:v>
                </c:pt>
                <c:pt idx="459">
                  <c:v>5.8832282999999999</c:v>
                </c:pt>
                <c:pt idx="460">
                  <c:v>5.6854727</c:v>
                </c:pt>
                <c:pt idx="461">
                  <c:v>6.0315449000000001</c:v>
                </c:pt>
                <c:pt idx="462">
                  <c:v>5.5865948999999997</c:v>
                </c:pt>
                <c:pt idx="463">
                  <c:v>5.092206</c:v>
                </c:pt>
                <c:pt idx="464">
                  <c:v>4.8944504000000002</c:v>
                </c:pt>
                <c:pt idx="465">
                  <c:v>4.9933281999999997</c:v>
                </c:pt>
                <c:pt idx="466">
                  <c:v>4.6966948000000004</c:v>
                </c:pt>
                <c:pt idx="467">
                  <c:v>4.8450115</c:v>
                </c:pt>
                <c:pt idx="468">
                  <c:v>4.2517448</c:v>
                </c:pt>
                <c:pt idx="469">
                  <c:v>4.6472559000000002</c:v>
                </c:pt>
                <c:pt idx="470">
                  <c:v>4.7955725999999999</c:v>
                </c:pt>
                <c:pt idx="471">
                  <c:v>4.7955725999999999</c:v>
                </c:pt>
                <c:pt idx="472">
                  <c:v>4.6472559000000002</c:v>
                </c:pt>
                <c:pt idx="473">
                  <c:v>4.3011837000000002</c:v>
                </c:pt>
                <c:pt idx="474">
                  <c:v>4.1034281000000004</c:v>
                </c:pt>
                <c:pt idx="475">
                  <c:v>4.3011837000000002</c:v>
                </c:pt>
                <c:pt idx="476">
                  <c:v>4.0539892000000002</c:v>
                </c:pt>
                <c:pt idx="477">
                  <c:v>3.9056725000000001</c:v>
                </c:pt>
                <c:pt idx="478">
                  <c:v>3.8067947000000002</c:v>
                </c:pt>
                <c:pt idx="479">
                  <c:v>3.7079168999999998</c:v>
                </c:pt>
                <c:pt idx="480">
                  <c:v>3.6584781</c:v>
                </c:pt>
                <c:pt idx="481">
                  <c:v>3.7079168999999998</c:v>
                </c:pt>
                <c:pt idx="482">
                  <c:v>3.5596003000000001</c:v>
                </c:pt>
                <c:pt idx="483">
                  <c:v>3.8562335999999999</c:v>
                </c:pt>
                <c:pt idx="484">
                  <c:v>5.5371560000000004</c:v>
                </c:pt>
                <c:pt idx="485">
                  <c:v>5.3888392999999999</c:v>
                </c:pt>
                <c:pt idx="486">
                  <c:v>5.4382782000000001</c:v>
                </c:pt>
                <c:pt idx="487">
                  <c:v>5.7349116000000002</c:v>
                </c:pt>
                <c:pt idx="488">
                  <c:v>5.8337893999999997</c:v>
                </c:pt>
                <c:pt idx="489">
                  <c:v>5.3888392999999999</c:v>
                </c:pt>
                <c:pt idx="490">
                  <c:v>4.6966948000000004</c:v>
                </c:pt>
                <c:pt idx="491">
                  <c:v>2.8180168999999999</c:v>
                </c:pt>
                <c:pt idx="492">
                  <c:v>2.5213835000000002</c:v>
                </c:pt>
                <c:pt idx="493">
                  <c:v>2.7685780000000002</c:v>
                </c:pt>
                <c:pt idx="494">
                  <c:v>2.5213835000000002</c:v>
                </c:pt>
                <c:pt idx="495">
                  <c:v>2.4225056999999999</c:v>
                </c:pt>
                <c:pt idx="496">
                  <c:v>2.7685780000000002</c:v>
                </c:pt>
                <c:pt idx="497">
                  <c:v>2.6697001999999999</c:v>
                </c:pt>
                <c:pt idx="498">
                  <c:v>2.6202613000000001</c:v>
                </c:pt>
                <c:pt idx="499">
                  <c:v>2.5708224</c:v>
                </c:pt>
                <c:pt idx="500">
                  <c:v>2.4225056999999999</c:v>
                </c:pt>
                <c:pt idx="501">
                  <c:v>2.2247501000000001</c:v>
                </c:pt>
                <c:pt idx="502">
                  <c:v>1.9281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DC-463D-8531-AEA8D7694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JIP_v_den_pozitivity65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0</c:v>
                </c:pt>
                <c:pt idx="1">
                  <c:v>-0.39782200000000001</c:v>
                </c:pt>
                <c:pt idx="2">
                  <c:v>0</c:v>
                </c:pt>
                <c:pt idx="3">
                  <c:v>-3.6514999999999999E-2</c:v>
                </c:pt>
                <c:pt idx="4">
                  <c:v>-0.46933200000000003</c:v>
                </c:pt>
                <c:pt idx="5">
                  <c:v>0.324791</c:v>
                </c:pt>
                <c:pt idx="6">
                  <c:v>-0.52829499999999996</c:v>
                </c:pt>
                <c:pt idx="7">
                  <c:v>-0.27738600000000002</c:v>
                </c:pt>
                <c:pt idx="8">
                  <c:v>-0.52829499999999996</c:v>
                </c:pt>
                <c:pt idx="9">
                  <c:v>-0.35767599999999999</c:v>
                </c:pt>
                <c:pt idx="10">
                  <c:v>2.3709999999999998E-3</c:v>
                </c:pt>
                <c:pt idx="11">
                  <c:v>0</c:v>
                </c:pt>
                <c:pt idx="12">
                  <c:v>0</c:v>
                </c:pt>
                <c:pt idx="13">
                  <c:v>-0.35767599999999999</c:v>
                </c:pt>
                <c:pt idx="14">
                  <c:v>0.41511300000000001</c:v>
                </c:pt>
                <c:pt idx="15">
                  <c:v>0.38500899999999999</c:v>
                </c:pt>
                <c:pt idx="16">
                  <c:v>0.474076</c:v>
                </c:pt>
                <c:pt idx="17">
                  <c:v>1.8904540000000001</c:v>
                </c:pt>
                <c:pt idx="18">
                  <c:v>-1.7281999999999999E-2</c:v>
                </c:pt>
                <c:pt idx="19">
                  <c:v>0.12406499999999999</c:v>
                </c:pt>
                <c:pt idx="20">
                  <c:v>0.17926</c:v>
                </c:pt>
                <c:pt idx="21">
                  <c:v>-0.41789399999999999</c:v>
                </c:pt>
                <c:pt idx="22">
                  <c:v>3.5991179999999998</c:v>
                </c:pt>
                <c:pt idx="23">
                  <c:v>-0.45803899999999997</c:v>
                </c:pt>
                <c:pt idx="24">
                  <c:v>0.96543400000000001</c:v>
                </c:pt>
                <c:pt idx="25">
                  <c:v>-0.430668</c:v>
                </c:pt>
                <c:pt idx="26">
                  <c:v>0.474076</c:v>
                </c:pt>
                <c:pt idx="27">
                  <c:v>-0.36169099999999998</c:v>
                </c:pt>
                <c:pt idx="28">
                  <c:v>0.29718699999999998</c:v>
                </c:pt>
                <c:pt idx="29">
                  <c:v>-0.105335</c:v>
                </c:pt>
                <c:pt idx="30">
                  <c:v>0.15567500000000001</c:v>
                </c:pt>
                <c:pt idx="31">
                  <c:v>-0.36169099999999998</c:v>
                </c:pt>
                <c:pt idx="32">
                  <c:v>1.083361</c:v>
                </c:pt>
                <c:pt idx="33">
                  <c:v>-0.50105200000000005</c:v>
                </c:pt>
                <c:pt idx="34">
                  <c:v>0.65096500000000002</c:v>
                </c:pt>
                <c:pt idx="35">
                  <c:v>-0.36239900000000003</c:v>
                </c:pt>
                <c:pt idx="36">
                  <c:v>0.40200999999999998</c:v>
                </c:pt>
                <c:pt idx="37">
                  <c:v>-0.25062200000000001</c:v>
                </c:pt>
                <c:pt idx="38">
                  <c:v>0.58545000000000003</c:v>
                </c:pt>
                <c:pt idx="39">
                  <c:v>0.17854800000000001</c:v>
                </c:pt>
                <c:pt idx="40">
                  <c:v>0.68634300000000004</c:v>
                </c:pt>
                <c:pt idx="41">
                  <c:v>-5.7768E-2</c:v>
                </c:pt>
                <c:pt idx="42">
                  <c:v>0.447274</c:v>
                </c:pt>
                <c:pt idx="43">
                  <c:v>0.13553499999999999</c:v>
                </c:pt>
                <c:pt idx="44">
                  <c:v>0.511598</c:v>
                </c:pt>
                <c:pt idx="45">
                  <c:v>0.21238499999999999</c:v>
                </c:pt>
                <c:pt idx="46">
                  <c:v>0.50087700000000002</c:v>
                </c:pt>
                <c:pt idx="47">
                  <c:v>0.11402900000000001</c:v>
                </c:pt>
                <c:pt idx="48">
                  <c:v>0.42418400000000001</c:v>
                </c:pt>
                <c:pt idx="49">
                  <c:v>0.23446500000000001</c:v>
                </c:pt>
                <c:pt idx="50">
                  <c:v>1.0283279999999999</c:v>
                </c:pt>
                <c:pt idx="51">
                  <c:v>0.55706</c:v>
                </c:pt>
                <c:pt idx="52">
                  <c:v>1.16984</c:v>
                </c:pt>
                <c:pt idx="53">
                  <c:v>0.63792400000000005</c:v>
                </c:pt>
                <c:pt idx="54">
                  <c:v>1.093188</c:v>
                </c:pt>
                <c:pt idx="55">
                  <c:v>0.671929</c:v>
                </c:pt>
                <c:pt idx="56">
                  <c:v>0.90155799999999997</c:v>
                </c:pt>
                <c:pt idx="57">
                  <c:v>0.324791</c:v>
                </c:pt>
                <c:pt idx="58">
                  <c:v>0.346333</c:v>
                </c:pt>
                <c:pt idx="59">
                  <c:v>5.5818E-2</c:v>
                </c:pt>
                <c:pt idx="60">
                  <c:v>0.515011</c:v>
                </c:pt>
                <c:pt idx="61">
                  <c:v>6.7308000000000007E-2</c:v>
                </c:pt>
                <c:pt idx="62">
                  <c:v>-0.31872099999999998</c:v>
                </c:pt>
                <c:pt idx="63">
                  <c:v>0.128526</c:v>
                </c:pt>
                <c:pt idx="64">
                  <c:v>-0.41501100000000002</c:v>
                </c:pt>
                <c:pt idx="65">
                  <c:v>0.21362</c:v>
                </c:pt>
                <c:pt idx="66">
                  <c:v>-0.30051899999999998</c:v>
                </c:pt>
                <c:pt idx="67">
                  <c:v>0.84904000000000002</c:v>
                </c:pt>
                <c:pt idx="68">
                  <c:v>-0.16394700000000001</c:v>
                </c:pt>
                <c:pt idx="69">
                  <c:v>0.75384300000000004</c:v>
                </c:pt>
                <c:pt idx="70">
                  <c:v>-5.7390999999999998E-2</c:v>
                </c:pt>
                <c:pt idx="71">
                  <c:v>1.004392</c:v>
                </c:pt>
                <c:pt idx="72">
                  <c:v>-6.4045000000000005E-2</c:v>
                </c:pt>
                <c:pt idx="73">
                  <c:v>0.28464600000000001</c:v>
                </c:pt>
                <c:pt idx="74">
                  <c:v>-1.4300999999999999E-2</c:v>
                </c:pt>
                <c:pt idx="75">
                  <c:v>-0.169628</c:v>
                </c:pt>
                <c:pt idx="76">
                  <c:v>-4.6619000000000001E-2</c:v>
                </c:pt>
                <c:pt idx="77">
                  <c:v>0.276617</c:v>
                </c:pt>
                <c:pt idx="78">
                  <c:v>-1.9687E-2</c:v>
                </c:pt>
                <c:pt idx="79">
                  <c:v>0.45526299999999997</c:v>
                </c:pt>
                <c:pt idx="80">
                  <c:v>-0.35431299999999999</c:v>
                </c:pt>
                <c:pt idx="81">
                  <c:v>0.69814200000000004</c:v>
                </c:pt>
                <c:pt idx="82">
                  <c:v>-0.37455100000000002</c:v>
                </c:pt>
                <c:pt idx="83">
                  <c:v>8.3919999999999995E-2</c:v>
                </c:pt>
                <c:pt idx="84">
                  <c:v>-0.51579699999999995</c:v>
                </c:pt>
                <c:pt idx="85">
                  <c:v>-8.9205000000000007E-2</c:v>
                </c:pt>
                <c:pt idx="86">
                  <c:v>-0.590638</c:v>
                </c:pt>
                <c:pt idx="87">
                  <c:v>-2.7911999999999999E-2</c:v>
                </c:pt>
                <c:pt idx="88">
                  <c:v>-0.58723599999999998</c:v>
                </c:pt>
                <c:pt idx="89">
                  <c:v>-3.6514999999999999E-2</c:v>
                </c:pt>
                <c:pt idx="90">
                  <c:v>-0.56640000000000001</c:v>
                </c:pt>
                <c:pt idx="91">
                  <c:v>-9.2717999999999995E-2</c:v>
                </c:pt>
                <c:pt idx="92">
                  <c:v>-0.52660099999999999</c:v>
                </c:pt>
                <c:pt idx="93">
                  <c:v>0.130241</c:v>
                </c:pt>
                <c:pt idx="94">
                  <c:v>-0.51361400000000001</c:v>
                </c:pt>
                <c:pt idx="95">
                  <c:v>-0.143568</c:v>
                </c:pt>
                <c:pt idx="96">
                  <c:v>-0.506073</c:v>
                </c:pt>
                <c:pt idx="97">
                  <c:v>-0.19040499999999999</c:v>
                </c:pt>
                <c:pt idx="98">
                  <c:v>-0.43221700000000002</c:v>
                </c:pt>
                <c:pt idx="99">
                  <c:v>-0.20766000000000001</c:v>
                </c:pt>
                <c:pt idx="100">
                  <c:v>-0.315521</c:v>
                </c:pt>
                <c:pt idx="101">
                  <c:v>-9.6731999999999999E-2</c:v>
                </c:pt>
                <c:pt idx="102">
                  <c:v>-0.30246899999999999</c:v>
                </c:pt>
                <c:pt idx="103">
                  <c:v>0.17151</c:v>
                </c:pt>
                <c:pt idx="104">
                  <c:v>-0.401758</c:v>
                </c:pt>
                <c:pt idx="105">
                  <c:v>0.215304</c:v>
                </c:pt>
                <c:pt idx="106">
                  <c:v>-0.24591299999999999</c:v>
                </c:pt>
                <c:pt idx="107">
                  <c:v>0.59577100000000005</c:v>
                </c:pt>
                <c:pt idx="108">
                  <c:v>-0.25962400000000002</c:v>
                </c:pt>
                <c:pt idx="109">
                  <c:v>0.35155500000000001</c:v>
                </c:pt>
                <c:pt idx="110">
                  <c:v>-1.9687E-2</c:v>
                </c:pt>
                <c:pt idx="111">
                  <c:v>1.3665999999999999E-2</c:v>
                </c:pt>
                <c:pt idx="112">
                  <c:v>8.8039000000000006E-2</c:v>
                </c:pt>
                <c:pt idx="113">
                  <c:v>0.36092200000000002</c:v>
                </c:pt>
                <c:pt idx="114">
                  <c:v>0.131129</c:v>
                </c:pt>
                <c:pt idx="115">
                  <c:v>-0.179532</c:v>
                </c:pt>
                <c:pt idx="116">
                  <c:v>0.39506000000000002</c:v>
                </c:pt>
                <c:pt idx="117">
                  <c:v>0.78741000000000005</c:v>
                </c:pt>
                <c:pt idx="118">
                  <c:v>0.30079899999999998</c:v>
                </c:pt>
                <c:pt idx="119">
                  <c:v>-3.6514999999999999E-2</c:v>
                </c:pt>
                <c:pt idx="120">
                  <c:v>4.3152000000000003E-2</c:v>
                </c:pt>
                <c:pt idx="121">
                  <c:v>3.8039999999999997E-2</c:v>
                </c:pt>
                <c:pt idx="122">
                  <c:v>-0.20155500000000001</c:v>
                </c:pt>
                <c:pt idx="123">
                  <c:v>-0.10864</c:v>
                </c:pt>
                <c:pt idx="124">
                  <c:v>0.43181399999999998</c:v>
                </c:pt>
                <c:pt idx="125">
                  <c:v>-0.30141200000000001</c:v>
                </c:pt>
                <c:pt idx="126">
                  <c:v>0.87812699999999999</c:v>
                </c:pt>
                <c:pt idx="127">
                  <c:v>-0.23999799999999999</c:v>
                </c:pt>
                <c:pt idx="128">
                  <c:v>1.8017110000000001</c:v>
                </c:pt>
                <c:pt idx="129">
                  <c:v>-0.36341699999999999</c:v>
                </c:pt>
                <c:pt idx="130">
                  <c:v>1.084514</c:v>
                </c:pt>
                <c:pt idx="131">
                  <c:v>-0.31388700000000003</c:v>
                </c:pt>
                <c:pt idx="132">
                  <c:v>1.4147339999999999</c:v>
                </c:pt>
                <c:pt idx="133">
                  <c:v>-6.0553000000000003E-2</c:v>
                </c:pt>
                <c:pt idx="134">
                  <c:v>0.72333599999999998</c:v>
                </c:pt>
                <c:pt idx="135">
                  <c:v>0.82611400000000001</c:v>
                </c:pt>
                <c:pt idx="136">
                  <c:v>0.53021600000000002</c:v>
                </c:pt>
                <c:pt idx="137">
                  <c:v>0.342669</c:v>
                </c:pt>
                <c:pt idx="138">
                  <c:v>0.35331299999999999</c:v>
                </c:pt>
                <c:pt idx="139">
                  <c:v>0.60444699999999996</c:v>
                </c:pt>
                <c:pt idx="140">
                  <c:v>0.609823</c:v>
                </c:pt>
                <c:pt idx="141">
                  <c:v>-0.37818000000000002</c:v>
                </c:pt>
                <c:pt idx="142">
                  <c:v>0.79557199999999995</c:v>
                </c:pt>
                <c:pt idx="143">
                  <c:v>-0.45111000000000001</c:v>
                </c:pt>
                <c:pt idx="144">
                  <c:v>1.2135069999999999</c:v>
                </c:pt>
                <c:pt idx="145">
                  <c:v>-0.49685000000000001</c:v>
                </c:pt>
                <c:pt idx="146">
                  <c:v>1.8068709999999999</c:v>
                </c:pt>
                <c:pt idx="147">
                  <c:v>-0.45494800000000002</c:v>
                </c:pt>
                <c:pt idx="148">
                  <c:v>0.58505600000000002</c:v>
                </c:pt>
                <c:pt idx="149">
                  <c:v>-0.43844300000000003</c:v>
                </c:pt>
                <c:pt idx="150">
                  <c:v>1.0277579999999999</c:v>
                </c:pt>
                <c:pt idx="151">
                  <c:v>-0.30333199999999999</c:v>
                </c:pt>
                <c:pt idx="152">
                  <c:v>1.058716</c:v>
                </c:pt>
                <c:pt idx="153">
                  <c:v>-0.34789999999999999</c:v>
                </c:pt>
                <c:pt idx="154">
                  <c:v>2.8078509999999999</c:v>
                </c:pt>
                <c:pt idx="155">
                  <c:v>8.0890000000000004E-2</c:v>
                </c:pt>
                <c:pt idx="156">
                  <c:v>7.5444469999999999</c:v>
                </c:pt>
                <c:pt idx="157">
                  <c:v>-0.191744</c:v>
                </c:pt>
                <c:pt idx="158">
                  <c:v>3.1793490000000002</c:v>
                </c:pt>
                <c:pt idx="159">
                  <c:v>-0.29805399999999999</c:v>
                </c:pt>
                <c:pt idx="160">
                  <c:v>-0.107414</c:v>
                </c:pt>
                <c:pt idx="161">
                  <c:v>-9.5236000000000001E-2</c:v>
                </c:pt>
                <c:pt idx="162">
                  <c:v>-0.19750300000000001</c:v>
                </c:pt>
                <c:pt idx="163">
                  <c:v>-0.119363</c:v>
                </c:pt>
                <c:pt idx="164">
                  <c:v>5.0369999999999998E-3</c:v>
                </c:pt>
                <c:pt idx="165">
                  <c:v>0.13155700000000001</c:v>
                </c:pt>
                <c:pt idx="166">
                  <c:v>-1.99E-3</c:v>
                </c:pt>
                <c:pt idx="167">
                  <c:v>0.15689</c:v>
                </c:pt>
                <c:pt idx="168">
                  <c:v>-0.212837</c:v>
                </c:pt>
                <c:pt idx="169">
                  <c:v>0.14844599999999999</c:v>
                </c:pt>
                <c:pt idx="170">
                  <c:v>-0.55019300000000004</c:v>
                </c:pt>
                <c:pt idx="171">
                  <c:v>-0.14349000000000001</c:v>
                </c:pt>
                <c:pt idx="172">
                  <c:v>-0.60130700000000004</c:v>
                </c:pt>
                <c:pt idx="173">
                  <c:v>-1.0791E-2</c:v>
                </c:pt>
                <c:pt idx="174">
                  <c:v>-0.61091700000000004</c:v>
                </c:pt>
                <c:pt idx="175">
                  <c:v>-0.20246700000000001</c:v>
                </c:pt>
                <c:pt idx="176">
                  <c:v>-0.54457</c:v>
                </c:pt>
                <c:pt idx="177">
                  <c:v>-0.42296099999999998</c:v>
                </c:pt>
                <c:pt idx="178">
                  <c:v>-0.49396699999999999</c:v>
                </c:pt>
                <c:pt idx="179">
                  <c:v>-0.46166499999999999</c:v>
                </c:pt>
                <c:pt idx="180">
                  <c:v>-0.47639599999999999</c:v>
                </c:pt>
                <c:pt idx="181">
                  <c:v>-0.53555399999999997</c:v>
                </c:pt>
                <c:pt idx="182">
                  <c:v>-0.34135399999999999</c:v>
                </c:pt>
                <c:pt idx="183">
                  <c:v>-0.56722099999999998</c:v>
                </c:pt>
                <c:pt idx="184">
                  <c:v>-0.18728</c:v>
                </c:pt>
                <c:pt idx="185">
                  <c:v>-0.39481300000000003</c:v>
                </c:pt>
                <c:pt idx="186">
                  <c:v>-0.100386</c:v>
                </c:pt>
                <c:pt idx="187">
                  <c:v>-0.41592400000000002</c:v>
                </c:pt>
                <c:pt idx="188">
                  <c:v>-0.340283</c:v>
                </c:pt>
                <c:pt idx="189">
                  <c:v>-3.4917999999999998E-2</c:v>
                </c:pt>
                <c:pt idx="190">
                  <c:v>-0.47081499999999998</c:v>
                </c:pt>
                <c:pt idx="191">
                  <c:v>0.16111300000000001</c:v>
                </c:pt>
                <c:pt idx="192">
                  <c:v>-0.340283</c:v>
                </c:pt>
                <c:pt idx="193">
                  <c:v>-9.7498000000000001E-2</c:v>
                </c:pt>
                <c:pt idx="194">
                  <c:v>-0.37800099999999998</c:v>
                </c:pt>
                <c:pt idx="195">
                  <c:v>-0.29066500000000001</c:v>
                </c:pt>
                <c:pt idx="196">
                  <c:v>-0.41665600000000003</c:v>
                </c:pt>
                <c:pt idx="197">
                  <c:v>-0.43351699999999999</c:v>
                </c:pt>
                <c:pt idx="198">
                  <c:v>-0.40159600000000001</c:v>
                </c:pt>
                <c:pt idx="199">
                  <c:v>-0.38073899999999999</c:v>
                </c:pt>
                <c:pt idx="200">
                  <c:v>-0.45782200000000001</c:v>
                </c:pt>
                <c:pt idx="201">
                  <c:v>-0.32972099999999999</c:v>
                </c:pt>
                <c:pt idx="202">
                  <c:v>-0.36618099999999998</c:v>
                </c:pt>
                <c:pt idx="203">
                  <c:v>0.435558</c:v>
                </c:pt>
                <c:pt idx="204">
                  <c:v>-0.37682900000000003</c:v>
                </c:pt>
                <c:pt idx="205">
                  <c:v>0.182224</c:v>
                </c:pt>
                <c:pt idx="206">
                  <c:v>-0.36277300000000001</c:v>
                </c:pt>
                <c:pt idx="207">
                  <c:v>-5.7035000000000002E-2</c:v>
                </c:pt>
                <c:pt idx="208">
                  <c:v>0.177592</c:v>
                </c:pt>
                <c:pt idx="209">
                  <c:v>-0.29277599999999998</c:v>
                </c:pt>
                <c:pt idx="210">
                  <c:v>0.22800599999999999</c:v>
                </c:pt>
                <c:pt idx="211">
                  <c:v>-0.39833200000000002</c:v>
                </c:pt>
                <c:pt idx="212">
                  <c:v>0.337391</c:v>
                </c:pt>
                <c:pt idx="213">
                  <c:v>-0.13866500000000001</c:v>
                </c:pt>
                <c:pt idx="214">
                  <c:v>0.56338600000000005</c:v>
                </c:pt>
                <c:pt idx="215">
                  <c:v>-0.39682400000000001</c:v>
                </c:pt>
                <c:pt idx="216">
                  <c:v>-0.138186</c:v>
                </c:pt>
                <c:pt idx="217">
                  <c:v>0.324791</c:v>
                </c:pt>
                <c:pt idx="218">
                  <c:v>-0.29115799999999997</c:v>
                </c:pt>
                <c:pt idx="219">
                  <c:v>1.3123629999999999</c:v>
                </c:pt>
                <c:pt idx="220">
                  <c:v>-0.24591299999999999</c:v>
                </c:pt>
                <c:pt idx="221">
                  <c:v>2.1313260000000001</c:v>
                </c:pt>
                <c:pt idx="222">
                  <c:v>-0.46711200000000003</c:v>
                </c:pt>
                <c:pt idx="223">
                  <c:v>0.27722400000000003</c:v>
                </c:pt>
                <c:pt idx="224">
                  <c:v>0.135131</c:v>
                </c:pt>
                <c:pt idx="225">
                  <c:v>8.7223999999999996E-2</c:v>
                </c:pt>
                <c:pt idx="226">
                  <c:v>0.48598999999999998</c:v>
                </c:pt>
                <c:pt idx="227">
                  <c:v>0.87889200000000001</c:v>
                </c:pt>
                <c:pt idx="228">
                  <c:v>0.69237800000000005</c:v>
                </c:pt>
                <c:pt idx="229">
                  <c:v>0.58333599999999997</c:v>
                </c:pt>
                <c:pt idx="230">
                  <c:v>0.46535199999999999</c:v>
                </c:pt>
                <c:pt idx="231">
                  <c:v>0.49889099999999997</c:v>
                </c:pt>
                <c:pt idx="232">
                  <c:v>0.38279600000000003</c:v>
                </c:pt>
                <c:pt idx="233">
                  <c:v>0.41444599999999998</c:v>
                </c:pt>
                <c:pt idx="234">
                  <c:v>-0.108405</c:v>
                </c:pt>
                <c:pt idx="235">
                  <c:v>-0.250554</c:v>
                </c:pt>
                <c:pt idx="236">
                  <c:v>-0.38835199999999997</c:v>
                </c:pt>
                <c:pt idx="237">
                  <c:v>-0.29277599999999998</c:v>
                </c:pt>
                <c:pt idx="238">
                  <c:v>-0.349879</c:v>
                </c:pt>
                <c:pt idx="239">
                  <c:v>-9.9256999999999998E-2</c:v>
                </c:pt>
                <c:pt idx="240">
                  <c:v>-0.24462100000000001</c:v>
                </c:pt>
                <c:pt idx="241">
                  <c:v>9.7779000000000005E-2</c:v>
                </c:pt>
                <c:pt idx="242">
                  <c:v>-0.287962</c:v>
                </c:pt>
                <c:pt idx="243">
                  <c:v>0.77333600000000002</c:v>
                </c:pt>
                <c:pt idx="244">
                  <c:v>-0.55420199999999997</c:v>
                </c:pt>
                <c:pt idx="245">
                  <c:v>0</c:v>
                </c:pt>
                <c:pt idx="246">
                  <c:v>-0.41179500000000002</c:v>
                </c:pt>
                <c:pt idx="247">
                  <c:v>0</c:v>
                </c:pt>
                <c:pt idx="248">
                  <c:v>-0.426894</c:v>
                </c:pt>
                <c:pt idx="249">
                  <c:v>-0.113331</c:v>
                </c:pt>
                <c:pt idx="250">
                  <c:v>-0.36656699999999998</c:v>
                </c:pt>
                <c:pt idx="251">
                  <c:v>-0.39481300000000003</c:v>
                </c:pt>
                <c:pt idx="252">
                  <c:v>-0.54181900000000005</c:v>
                </c:pt>
                <c:pt idx="253">
                  <c:v>-0.60944299999999996</c:v>
                </c:pt>
                <c:pt idx="254">
                  <c:v>-0.25700400000000001</c:v>
                </c:pt>
                <c:pt idx="255">
                  <c:v>-0.57777699999999999</c:v>
                </c:pt>
                <c:pt idx="256">
                  <c:v>-0.29618499999999998</c:v>
                </c:pt>
                <c:pt idx="257">
                  <c:v>0</c:v>
                </c:pt>
                <c:pt idx="258">
                  <c:v>-0.321322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-9.5096E-2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-0.53555399999999997</c:v>
                </c:pt>
                <c:pt idx="268">
                  <c:v>0</c:v>
                </c:pt>
                <c:pt idx="269">
                  <c:v>-0.70444300000000004</c:v>
                </c:pt>
                <c:pt idx="270">
                  <c:v>-0.47213899999999998</c:v>
                </c:pt>
                <c:pt idx="271">
                  <c:v>0</c:v>
                </c:pt>
                <c:pt idx="272">
                  <c:v>-0.748637</c:v>
                </c:pt>
                <c:pt idx="273">
                  <c:v>0</c:v>
                </c:pt>
                <c:pt idx="274">
                  <c:v>-0.84918199999999999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9.306E-3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-0.81147800000000003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-0.88688699999999998</c:v>
                </c:pt>
                <c:pt idx="287">
                  <c:v>0</c:v>
                </c:pt>
                <c:pt idx="288">
                  <c:v>-0.88688699999999998</c:v>
                </c:pt>
                <c:pt idx="289">
                  <c:v>0</c:v>
                </c:pt>
                <c:pt idx="290">
                  <c:v>-0.54754800000000003</c:v>
                </c:pt>
                <c:pt idx="291">
                  <c:v>0</c:v>
                </c:pt>
                <c:pt idx="292">
                  <c:v>-0.60280500000000004</c:v>
                </c:pt>
                <c:pt idx="293">
                  <c:v>0</c:v>
                </c:pt>
                <c:pt idx="294">
                  <c:v>-0.71628999999999998</c:v>
                </c:pt>
                <c:pt idx="295">
                  <c:v>0</c:v>
                </c:pt>
                <c:pt idx="296">
                  <c:v>-0.77303200000000005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-0.887436</c:v>
                </c:pt>
                <c:pt idx="311">
                  <c:v>0</c:v>
                </c:pt>
                <c:pt idx="312">
                  <c:v>-0.887436</c:v>
                </c:pt>
                <c:pt idx="313">
                  <c:v>0</c:v>
                </c:pt>
                <c:pt idx="314">
                  <c:v>-0.77487200000000001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-0.75912800000000002</c:v>
                </c:pt>
                <c:pt idx="322">
                  <c:v>0</c:v>
                </c:pt>
                <c:pt idx="323">
                  <c:v>-0.75912800000000002</c:v>
                </c:pt>
                <c:pt idx="324">
                  <c:v>0</c:v>
                </c:pt>
                <c:pt idx="325">
                  <c:v>-0.63869299999999996</c:v>
                </c:pt>
                <c:pt idx="326">
                  <c:v>0</c:v>
                </c:pt>
                <c:pt idx="327">
                  <c:v>-0.75912800000000002</c:v>
                </c:pt>
                <c:pt idx="328">
                  <c:v>0</c:v>
                </c:pt>
                <c:pt idx="329">
                  <c:v>0</c:v>
                </c:pt>
                <c:pt idx="330">
                  <c:v>-0.88763000000000003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-0.66230800000000001</c:v>
                </c:pt>
                <c:pt idx="339">
                  <c:v>0</c:v>
                </c:pt>
                <c:pt idx="340">
                  <c:v>-0.77487200000000001</c:v>
                </c:pt>
                <c:pt idx="341">
                  <c:v>0</c:v>
                </c:pt>
                <c:pt idx="342">
                  <c:v>-0.77487200000000001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-0.87616700000000003</c:v>
                </c:pt>
                <c:pt idx="354">
                  <c:v>0</c:v>
                </c:pt>
                <c:pt idx="355">
                  <c:v>-0.75233399999999995</c:v>
                </c:pt>
                <c:pt idx="356">
                  <c:v>0.25</c:v>
                </c:pt>
                <c:pt idx="357">
                  <c:v>-0.62850200000000001</c:v>
                </c:pt>
                <c:pt idx="358">
                  <c:v>-0.17451700000000001</c:v>
                </c:pt>
                <c:pt idx="359">
                  <c:v>-0.56658600000000003</c:v>
                </c:pt>
                <c:pt idx="360">
                  <c:v>-0.76414700000000002</c:v>
                </c:pt>
                <c:pt idx="361">
                  <c:v>0</c:v>
                </c:pt>
                <c:pt idx="362">
                  <c:v>-0.82311000000000001</c:v>
                </c:pt>
                <c:pt idx="363">
                  <c:v>0</c:v>
                </c:pt>
                <c:pt idx="364">
                  <c:v>-0.94103700000000001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-0.52829499999999996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-0.83111000000000002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-0.69041799999999998</c:v>
                </c:pt>
                <c:pt idx="392">
                  <c:v>0</c:v>
                </c:pt>
                <c:pt idx="393">
                  <c:v>-0.75233399999999995</c:v>
                </c:pt>
                <c:pt idx="394">
                  <c:v>0</c:v>
                </c:pt>
                <c:pt idx="395">
                  <c:v>-0.65946000000000005</c:v>
                </c:pt>
                <c:pt idx="396">
                  <c:v>0</c:v>
                </c:pt>
                <c:pt idx="397">
                  <c:v>-0.65946000000000005</c:v>
                </c:pt>
                <c:pt idx="398">
                  <c:v>0</c:v>
                </c:pt>
                <c:pt idx="399">
                  <c:v>5.2575999999999998E-2</c:v>
                </c:pt>
                <c:pt idx="400">
                  <c:v>0</c:v>
                </c:pt>
                <c:pt idx="401">
                  <c:v>0</c:v>
                </c:pt>
                <c:pt idx="402">
                  <c:v>-0.37583699999999998</c:v>
                </c:pt>
                <c:pt idx="403">
                  <c:v>0</c:v>
                </c:pt>
                <c:pt idx="404">
                  <c:v>-0.40420800000000001</c:v>
                </c:pt>
                <c:pt idx="405">
                  <c:v>0</c:v>
                </c:pt>
                <c:pt idx="406">
                  <c:v>-0.68791800000000003</c:v>
                </c:pt>
                <c:pt idx="407">
                  <c:v>0</c:v>
                </c:pt>
                <c:pt idx="408">
                  <c:v>-0.68791800000000003</c:v>
                </c:pt>
                <c:pt idx="409">
                  <c:v>0</c:v>
                </c:pt>
                <c:pt idx="410">
                  <c:v>-0.52714899999999998</c:v>
                </c:pt>
                <c:pt idx="411">
                  <c:v>0</c:v>
                </c:pt>
                <c:pt idx="412">
                  <c:v>-0.62171900000000002</c:v>
                </c:pt>
                <c:pt idx="413">
                  <c:v>0</c:v>
                </c:pt>
                <c:pt idx="414">
                  <c:v>0.13483999999999999</c:v>
                </c:pt>
                <c:pt idx="415">
                  <c:v>-7.1254999999999999E-2</c:v>
                </c:pt>
                <c:pt idx="416">
                  <c:v>0</c:v>
                </c:pt>
                <c:pt idx="417">
                  <c:v>-9.3390000000000001E-3</c:v>
                </c:pt>
                <c:pt idx="418">
                  <c:v>0</c:v>
                </c:pt>
                <c:pt idx="419">
                  <c:v>-0.339559</c:v>
                </c:pt>
                <c:pt idx="420">
                  <c:v>0</c:v>
                </c:pt>
                <c:pt idx="421">
                  <c:v>-9.3390000000000001E-3</c:v>
                </c:pt>
                <c:pt idx="422">
                  <c:v>0.92922800000000005</c:v>
                </c:pt>
                <c:pt idx="423">
                  <c:v>-0.17444899999999999</c:v>
                </c:pt>
                <c:pt idx="424">
                  <c:v>-0.24343899999999999</c:v>
                </c:pt>
                <c:pt idx="425">
                  <c:v>-0.19508800000000001</c:v>
                </c:pt>
                <c:pt idx="426">
                  <c:v>-0.262353</c:v>
                </c:pt>
                <c:pt idx="427">
                  <c:v>2.2815629999999998</c:v>
                </c:pt>
                <c:pt idx="428">
                  <c:v>0.70226</c:v>
                </c:pt>
                <c:pt idx="429">
                  <c:v>1.043237</c:v>
                </c:pt>
                <c:pt idx="430">
                  <c:v>3.1989079999999999</c:v>
                </c:pt>
                <c:pt idx="431">
                  <c:v>4.0193E-2</c:v>
                </c:pt>
                <c:pt idx="432">
                  <c:v>0.26250899999999999</c:v>
                </c:pt>
                <c:pt idx="433">
                  <c:v>-0.22162299999999999</c:v>
                </c:pt>
                <c:pt idx="434">
                  <c:v>3.2703999999999997E-2</c:v>
                </c:pt>
                <c:pt idx="435">
                  <c:v>-0.31891999999999998</c:v>
                </c:pt>
                <c:pt idx="436">
                  <c:v>-0.51296399999999998</c:v>
                </c:pt>
                <c:pt idx="437">
                  <c:v>-0.142017</c:v>
                </c:pt>
                <c:pt idx="438">
                  <c:v>-0.51511300000000004</c:v>
                </c:pt>
                <c:pt idx="439">
                  <c:v>-0.19508800000000001</c:v>
                </c:pt>
                <c:pt idx="440">
                  <c:v>-0.46662500000000001</c:v>
                </c:pt>
                <c:pt idx="441">
                  <c:v>0.12687599999999999</c:v>
                </c:pt>
                <c:pt idx="442">
                  <c:v>-0.196154</c:v>
                </c:pt>
                <c:pt idx="443">
                  <c:v>2.1617999999999998E-2</c:v>
                </c:pt>
                <c:pt idx="444">
                  <c:v>0.51784799999999997</c:v>
                </c:pt>
                <c:pt idx="445">
                  <c:v>0.35735499999999998</c:v>
                </c:pt>
                <c:pt idx="446">
                  <c:v>0.429898</c:v>
                </c:pt>
                <c:pt idx="447">
                  <c:v>0.18978</c:v>
                </c:pt>
                <c:pt idx="448">
                  <c:v>0.21590000000000001</c:v>
                </c:pt>
                <c:pt idx="449">
                  <c:v>0.214917</c:v>
                </c:pt>
                <c:pt idx="450">
                  <c:v>-0.160218</c:v>
                </c:pt>
                <c:pt idx="451">
                  <c:v>0.26518900000000001</c:v>
                </c:pt>
                <c:pt idx="452">
                  <c:v>-0.27181</c:v>
                </c:pt>
                <c:pt idx="453">
                  <c:v>0.77210299999999998</c:v>
                </c:pt>
                <c:pt idx="454">
                  <c:v>-0.273702</c:v>
                </c:pt>
                <c:pt idx="455">
                  <c:v>0.90029700000000001</c:v>
                </c:pt>
                <c:pt idx="456">
                  <c:v>3.8757E-2</c:v>
                </c:pt>
                <c:pt idx="457">
                  <c:v>0.37890099999999999</c:v>
                </c:pt>
                <c:pt idx="458">
                  <c:v>6.5391000000000005E-2</c:v>
                </c:pt>
                <c:pt idx="459">
                  <c:v>0.49560399999999999</c:v>
                </c:pt>
                <c:pt idx="460">
                  <c:v>0.15417400000000001</c:v>
                </c:pt>
                <c:pt idx="461">
                  <c:v>0.31426500000000002</c:v>
                </c:pt>
                <c:pt idx="462">
                  <c:v>0.237202</c:v>
                </c:pt>
                <c:pt idx="463">
                  <c:v>1.5890299999999999</c:v>
                </c:pt>
                <c:pt idx="464">
                  <c:v>-0.29863899999999999</c:v>
                </c:pt>
                <c:pt idx="465">
                  <c:v>0.90406799999999998</c:v>
                </c:pt>
                <c:pt idx="466">
                  <c:v>-0.42792999999999998</c:v>
                </c:pt>
                <c:pt idx="467">
                  <c:v>0.47800900000000002</c:v>
                </c:pt>
                <c:pt idx="468">
                  <c:v>-0.35265800000000003</c:v>
                </c:pt>
                <c:pt idx="469">
                  <c:v>0.77210299999999998</c:v>
                </c:pt>
                <c:pt idx="470">
                  <c:v>-0.101365</c:v>
                </c:pt>
                <c:pt idx="471">
                  <c:v>1.438213</c:v>
                </c:pt>
                <c:pt idx="472">
                  <c:v>-5.6586999999999998E-2</c:v>
                </c:pt>
                <c:pt idx="473">
                  <c:v>0.31211</c:v>
                </c:pt>
                <c:pt idx="474">
                  <c:v>-0.166986</c:v>
                </c:pt>
                <c:pt idx="475">
                  <c:v>-0.27104899999999998</c:v>
                </c:pt>
                <c:pt idx="476">
                  <c:v>-0.17702300000000001</c:v>
                </c:pt>
                <c:pt idx="477">
                  <c:v>-0.458428</c:v>
                </c:pt>
                <c:pt idx="478">
                  <c:v>-7.2645000000000001E-2</c:v>
                </c:pt>
                <c:pt idx="479">
                  <c:v>-0.43443500000000002</c:v>
                </c:pt>
                <c:pt idx="480">
                  <c:v>-0.108776</c:v>
                </c:pt>
                <c:pt idx="481">
                  <c:v>-5.7390999999999998E-2</c:v>
                </c:pt>
                <c:pt idx="482">
                  <c:v>-0.13286300000000001</c:v>
                </c:pt>
                <c:pt idx="483">
                  <c:v>-1.9687E-2</c:v>
                </c:pt>
                <c:pt idx="484">
                  <c:v>0.22625300000000001</c:v>
                </c:pt>
                <c:pt idx="485">
                  <c:v>0.369923</c:v>
                </c:pt>
                <c:pt idx="486">
                  <c:v>1.907E-2</c:v>
                </c:pt>
                <c:pt idx="487">
                  <c:v>0.24962899999999999</c:v>
                </c:pt>
                <c:pt idx="488">
                  <c:v>9.3184000000000003E-2</c:v>
                </c:pt>
                <c:pt idx="489">
                  <c:v>2.7442000000000001E-2</c:v>
                </c:pt>
                <c:pt idx="490">
                  <c:v>-4.6551000000000002E-2</c:v>
                </c:pt>
                <c:pt idx="491">
                  <c:v>-0.28361700000000001</c:v>
                </c:pt>
                <c:pt idx="492">
                  <c:v>-0.31753100000000001</c:v>
                </c:pt>
                <c:pt idx="493">
                  <c:v>-0.39673000000000003</c:v>
                </c:pt>
                <c:pt idx="494">
                  <c:v>0.53555399999999997</c:v>
                </c:pt>
                <c:pt idx="495">
                  <c:v>-0.53812199999999999</c:v>
                </c:pt>
                <c:pt idx="496">
                  <c:v>0.68609799999999999</c:v>
                </c:pt>
                <c:pt idx="497">
                  <c:v>-0.185586</c:v>
                </c:pt>
                <c:pt idx="498">
                  <c:v>6.3847000000000001E-2</c:v>
                </c:pt>
                <c:pt idx="499">
                  <c:v>-0.21575</c:v>
                </c:pt>
                <c:pt idx="500">
                  <c:v>-0.15695000000000001</c:v>
                </c:pt>
                <c:pt idx="501">
                  <c:v>-0.15165200000000001</c:v>
                </c:pt>
                <c:pt idx="502">
                  <c:v>-0.412876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92-4723-A6DD-F9006463A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v_den_pozitivity65_7dni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1.4925373134000001E-2</c:v>
                </c:pt>
                <c:pt idx="1">
                  <c:v>1.7421602787000001E-2</c:v>
                </c:pt>
                <c:pt idx="2">
                  <c:v>1.6233766233000001E-2</c:v>
                </c:pt>
                <c:pt idx="3">
                  <c:v>2.4316109422E-2</c:v>
                </c:pt>
                <c:pt idx="4">
                  <c:v>2.6086956521000002E-2</c:v>
                </c:pt>
                <c:pt idx="5">
                  <c:v>2.9972752043000001E-2</c:v>
                </c:pt>
                <c:pt idx="6">
                  <c:v>3.0379746834999999E-2</c:v>
                </c:pt>
                <c:pt idx="7">
                  <c:v>2.6315789472999999E-2</c:v>
                </c:pt>
                <c:pt idx="8">
                  <c:v>2.34375E-2</c:v>
                </c:pt>
                <c:pt idx="9">
                  <c:v>2.8368794326000001E-2</c:v>
                </c:pt>
                <c:pt idx="10">
                  <c:v>2.7463651049999999E-2</c:v>
                </c:pt>
                <c:pt idx="11">
                  <c:v>2.1505376343999998E-2</c:v>
                </c:pt>
                <c:pt idx="12">
                  <c:v>2.1628498727000001E-2</c:v>
                </c:pt>
                <c:pt idx="13">
                  <c:v>1.9680196800999999E-2</c:v>
                </c:pt>
                <c:pt idx="14">
                  <c:v>2.7939464492999999E-2</c:v>
                </c:pt>
                <c:pt idx="15">
                  <c:v>2.4678111587E-2</c:v>
                </c:pt>
                <c:pt idx="16">
                  <c:v>2.2893772893E-2</c:v>
                </c:pt>
                <c:pt idx="17">
                  <c:v>2.1015761821000001E-2</c:v>
                </c:pt>
                <c:pt idx="18">
                  <c:v>2.2563176894999998E-2</c:v>
                </c:pt>
                <c:pt idx="19">
                  <c:v>2.4800708591E-2</c:v>
                </c:pt>
                <c:pt idx="20">
                  <c:v>2.5466893038999999E-2</c:v>
                </c:pt>
                <c:pt idx="21">
                  <c:v>2.2924901184999999E-2</c:v>
                </c:pt>
                <c:pt idx="22">
                  <c:v>2.9816513760999998E-2</c:v>
                </c:pt>
                <c:pt idx="23">
                  <c:v>3.2918800291999999E-2</c:v>
                </c:pt>
                <c:pt idx="24">
                  <c:v>3.3134526175999997E-2</c:v>
                </c:pt>
                <c:pt idx="25">
                  <c:v>3.3548387095999999E-2</c:v>
                </c:pt>
                <c:pt idx="26">
                  <c:v>3.1685678072999997E-2</c:v>
                </c:pt>
                <c:pt idx="27">
                  <c:v>3.2817337460999997E-2</c:v>
                </c:pt>
                <c:pt idx="28">
                  <c:v>3.3680342927E-2</c:v>
                </c:pt>
                <c:pt idx="29">
                  <c:v>2.9147982062000002E-2</c:v>
                </c:pt>
                <c:pt idx="30">
                  <c:v>2.5179856115E-2</c:v>
                </c:pt>
                <c:pt idx="31">
                  <c:v>2.4917724493999999E-2</c:v>
                </c:pt>
                <c:pt idx="32">
                  <c:v>2.2854678739999999E-2</c:v>
                </c:pt>
                <c:pt idx="33">
                  <c:v>2.3625254581999999E-2</c:v>
                </c:pt>
                <c:pt idx="34">
                  <c:v>2.9640084684999998E-2</c:v>
                </c:pt>
                <c:pt idx="35">
                  <c:v>2.8427037270999999E-2</c:v>
                </c:pt>
                <c:pt idx="36">
                  <c:v>3.0501710376E-2</c:v>
                </c:pt>
                <c:pt idx="37">
                  <c:v>2.9834842834000001E-2</c:v>
                </c:pt>
                <c:pt idx="38">
                  <c:v>2.7733211093000001E-2</c:v>
                </c:pt>
                <c:pt idx="39">
                  <c:v>2.9965004374000001E-2</c:v>
                </c:pt>
                <c:pt idx="40">
                  <c:v>2.9885057470999999E-2</c:v>
                </c:pt>
                <c:pt idx="41">
                  <c:v>2.6950354608999999E-2</c:v>
                </c:pt>
                <c:pt idx="42">
                  <c:v>2.4545454545000001E-2</c:v>
                </c:pt>
                <c:pt idx="43">
                  <c:v>2.1897810218E-2</c:v>
                </c:pt>
                <c:pt idx="44">
                  <c:v>2.1539871677E-2</c:v>
                </c:pt>
                <c:pt idx="45">
                  <c:v>2.1938108381999999E-2</c:v>
                </c:pt>
                <c:pt idx="46">
                  <c:v>1.8679119412000001E-2</c:v>
                </c:pt>
                <c:pt idx="47">
                  <c:v>1.90060357E-2</c:v>
                </c:pt>
                <c:pt idx="48">
                  <c:v>1.8870192306999999E-2</c:v>
                </c:pt>
                <c:pt idx="49">
                  <c:v>1.8514337321999998E-2</c:v>
                </c:pt>
                <c:pt idx="50">
                  <c:v>1.7770430829000001E-2</c:v>
                </c:pt>
                <c:pt idx="51">
                  <c:v>1.7393811262E-2</c:v>
                </c:pt>
                <c:pt idx="52">
                  <c:v>1.6503722306000002E-2</c:v>
                </c:pt>
                <c:pt idx="53">
                  <c:v>1.7419520109000001E-2</c:v>
                </c:pt>
                <c:pt idx="54">
                  <c:v>1.7617866004000001E-2</c:v>
                </c:pt>
                <c:pt idx="55">
                  <c:v>1.8789808916999998E-2</c:v>
                </c:pt>
                <c:pt idx="56">
                  <c:v>1.9449679607E-2</c:v>
                </c:pt>
                <c:pt idx="57">
                  <c:v>1.9114536113E-2</c:v>
                </c:pt>
                <c:pt idx="58">
                  <c:v>1.9549097445E-2</c:v>
                </c:pt>
                <c:pt idx="59">
                  <c:v>1.9477153224999998E-2</c:v>
                </c:pt>
                <c:pt idx="60">
                  <c:v>1.9639573372000001E-2</c:v>
                </c:pt>
                <c:pt idx="61">
                  <c:v>1.8987809383000001E-2</c:v>
                </c:pt>
                <c:pt idx="62">
                  <c:v>1.9283138293000001E-2</c:v>
                </c:pt>
                <c:pt idx="63">
                  <c:v>1.9008264462000001E-2</c:v>
                </c:pt>
                <c:pt idx="64">
                  <c:v>1.839609083E-2</c:v>
                </c:pt>
                <c:pt idx="65">
                  <c:v>1.8320397174999999E-2</c:v>
                </c:pt>
                <c:pt idx="66">
                  <c:v>1.8918348687999999E-2</c:v>
                </c:pt>
                <c:pt idx="67">
                  <c:v>1.8900716923000001E-2</c:v>
                </c:pt>
                <c:pt idx="68">
                  <c:v>1.9035532994000001E-2</c:v>
                </c:pt>
                <c:pt idx="69">
                  <c:v>1.8191755152999999E-2</c:v>
                </c:pt>
                <c:pt idx="70">
                  <c:v>1.8123238018000001E-2</c:v>
                </c:pt>
                <c:pt idx="71">
                  <c:v>1.9914529914000001E-2</c:v>
                </c:pt>
                <c:pt idx="72">
                  <c:v>1.9311733479E-2</c:v>
                </c:pt>
                <c:pt idx="73">
                  <c:v>1.8602848561000002E-2</c:v>
                </c:pt>
                <c:pt idx="74">
                  <c:v>1.8715483739000002E-2</c:v>
                </c:pt>
                <c:pt idx="75">
                  <c:v>1.8740074113000001E-2</c:v>
                </c:pt>
                <c:pt idx="76">
                  <c:v>1.8545683151000001E-2</c:v>
                </c:pt>
                <c:pt idx="77">
                  <c:v>1.8458323658999999E-2</c:v>
                </c:pt>
                <c:pt idx="78">
                  <c:v>1.8335684062E-2</c:v>
                </c:pt>
                <c:pt idx="79">
                  <c:v>1.9727891155999999E-2</c:v>
                </c:pt>
                <c:pt idx="80">
                  <c:v>2.0117474302000001E-2</c:v>
                </c:pt>
                <c:pt idx="81">
                  <c:v>2.1474261346000001E-2</c:v>
                </c:pt>
                <c:pt idx="82">
                  <c:v>2.1569527306000001E-2</c:v>
                </c:pt>
                <c:pt idx="83">
                  <c:v>1.8651362984000001E-2</c:v>
                </c:pt>
                <c:pt idx="84">
                  <c:v>1.8362432269000001E-2</c:v>
                </c:pt>
                <c:pt idx="85">
                  <c:v>1.8626847290000002E-2</c:v>
                </c:pt>
                <c:pt idx="86">
                  <c:v>1.8479494244999999E-2</c:v>
                </c:pt>
                <c:pt idx="87">
                  <c:v>1.9068511643E-2</c:v>
                </c:pt>
                <c:pt idx="88">
                  <c:v>1.8068102849000001E-2</c:v>
                </c:pt>
                <c:pt idx="89">
                  <c:v>1.8248815581E-2</c:v>
                </c:pt>
                <c:pt idx="90">
                  <c:v>2.0882513165000002E-2</c:v>
                </c:pt>
                <c:pt idx="91">
                  <c:v>2.1511517228000002E-2</c:v>
                </c:pt>
                <c:pt idx="92">
                  <c:v>2.1878025169E-2</c:v>
                </c:pt>
                <c:pt idx="93">
                  <c:v>2.4120205613999999E-2</c:v>
                </c:pt>
                <c:pt idx="94">
                  <c:v>2.5468904244000001E-2</c:v>
                </c:pt>
                <c:pt idx="95">
                  <c:v>2.4521072796E-2</c:v>
                </c:pt>
                <c:pt idx="96">
                  <c:v>2.5231124806999999E-2</c:v>
                </c:pt>
                <c:pt idx="97">
                  <c:v>2.3197852759999998E-2</c:v>
                </c:pt>
                <c:pt idx="98">
                  <c:v>2.3943135054E-2</c:v>
                </c:pt>
                <c:pt idx="99">
                  <c:v>2.2385386819E-2</c:v>
                </c:pt>
                <c:pt idx="100">
                  <c:v>2.0500347463000002E-2</c:v>
                </c:pt>
                <c:pt idx="101">
                  <c:v>1.7826825126999998E-2</c:v>
                </c:pt>
                <c:pt idx="102">
                  <c:v>1.8958155421999998E-2</c:v>
                </c:pt>
                <c:pt idx="103">
                  <c:v>1.7881016042E-2</c:v>
                </c:pt>
                <c:pt idx="104">
                  <c:v>1.9400065210000001E-2</c:v>
                </c:pt>
                <c:pt idx="105">
                  <c:v>1.7706173233E-2</c:v>
                </c:pt>
                <c:pt idx="106">
                  <c:v>1.7022593624E-2</c:v>
                </c:pt>
                <c:pt idx="107">
                  <c:v>1.5990345451000001E-2</c:v>
                </c:pt>
                <c:pt idx="108">
                  <c:v>1.548831206E-2</c:v>
                </c:pt>
                <c:pt idx="109">
                  <c:v>1.4167484920000001E-2</c:v>
                </c:pt>
                <c:pt idx="110">
                  <c:v>1.4227086183E-2</c:v>
                </c:pt>
                <c:pt idx="111">
                  <c:v>1.3152754264E-2</c:v>
                </c:pt>
                <c:pt idx="112">
                  <c:v>1.2327596728E-2</c:v>
                </c:pt>
                <c:pt idx="113">
                  <c:v>1.260457334E-2</c:v>
                </c:pt>
                <c:pt idx="114">
                  <c:v>1.2433392539000001E-2</c:v>
                </c:pt>
                <c:pt idx="115">
                  <c:v>1.4315734173E-2</c:v>
                </c:pt>
                <c:pt idx="116">
                  <c:v>1.4883346741E-2</c:v>
                </c:pt>
                <c:pt idx="117">
                  <c:v>1.6710526315000002E-2</c:v>
                </c:pt>
                <c:pt idx="118">
                  <c:v>1.7091899925000001E-2</c:v>
                </c:pt>
                <c:pt idx="119">
                  <c:v>1.7941242430999999E-2</c:v>
                </c:pt>
                <c:pt idx="120">
                  <c:v>1.7180707927000001E-2</c:v>
                </c:pt>
                <c:pt idx="121">
                  <c:v>1.602195273E-2</c:v>
                </c:pt>
                <c:pt idx="122">
                  <c:v>1.5622287796999999E-2</c:v>
                </c:pt>
                <c:pt idx="123">
                  <c:v>1.5837292656E-2</c:v>
                </c:pt>
                <c:pt idx="124">
                  <c:v>1.4820155410999999E-2</c:v>
                </c:pt>
                <c:pt idx="125">
                  <c:v>1.3926084627000001E-2</c:v>
                </c:pt>
                <c:pt idx="126">
                  <c:v>1.3313825896E-2</c:v>
                </c:pt>
                <c:pt idx="127">
                  <c:v>1.2855306384000001E-2</c:v>
                </c:pt>
                <c:pt idx="128">
                  <c:v>1.2342311626E-2</c:v>
                </c:pt>
                <c:pt idx="129">
                  <c:v>1.1825037707E-2</c:v>
                </c:pt>
                <c:pt idx="130">
                  <c:v>1.1775679141000001E-2</c:v>
                </c:pt>
                <c:pt idx="131">
                  <c:v>1.1604379909E-2</c:v>
                </c:pt>
                <c:pt idx="132">
                  <c:v>1.1999261583E-2</c:v>
                </c:pt>
                <c:pt idx="133">
                  <c:v>1.1756158774E-2</c:v>
                </c:pt>
                <c:pt idx="134">
                  <c:v>1.1943073732000001E-2</c:v>
                </c:pt>
                <c:pt idx="135">
                  <c:v>1.3791454081E-2</c:v>
                </c:pt>
                <c:pt idx="136">
                  <c:v>1.4848510856999999E-2</c:v>
                </c:pt>
                <c:pt idx="137">
                  <c:v>1.4575121458999999E-2</c:v>
                </c:pt>
                <c:pt idx="138">
                  <c:v>1.4429878336000001E-2</c:v>
                </c:pt>
                <c:pt idx="139">
                  <c:v>1.5074878508E-2</c:v>
                </c:pt>
                <c:pt idx="140">
                  <c:v>1.6164128069E-2</c:v>
                </c:pt>
                <c:pt idx="141">
                  <c:v>1.7741758843E-2</c:v>
                </c:pt>
                <c:pt idx="142">
                  <c:v>1.6197497764999999E-2</c:v>
                </c:pt>
                <c:pt idx="143">
                  <c:v>1.6516516516000002E-2</c:v>
                </c:pt>
                <c:pt idx="144">
                  <c:v>1.6905071521000001E-2</c:v>
                </c:pt>
                <c:pt idx="145">
                  <c:v>1.7099127107000001E-2</c:v>
                </c:pt>
                <c:pt idx="146">
                  <c:v>1.6464891041000001E-2</c:v>
                </c:pt>
                <c:pt idx="147">
                  <c:v>1.7580784943999998E-2</c:v>
                </c:pt>
                <c:pt idx="148">
                  <c:v>1.5930304914999999E-2</c:v>
                </c:pt>
                <c:pt idx="149">
                  <c:v>1.6552582451000001E-2</c:v>
                </c:pt>
                <c:pt idx="150">
                  <c:v>1.6603295309999998E-2</c:v>
                </c:pt>
                <c:pt idx="151">
                  <c:v>1.6853932584E-2</c:v>
                </c:pt>
                <c:pt idx="152">
                  <c:v>1.6899618804999999E-2</c:v>
                </c:pt>
                <c:pt idx="153">
                  <c:v>1.7738642164E-2</c:v>
                </c:pt>
                <c:pt idx="154">
                  <c:v>1.5640895217999998E-2</c:v>
                </c:pt>
                <c:pt idx="155">
                  <c:v>1.6303655585E-2</c:v>
                </c:pt>
                <c:pt idx="156">
                  <c:v>1.7575140090999999E-2</c:v>
                </c:pt>
                <c:pt idx="157">
                  <c:v>1.6895725633E-2</c:v>
                </c:pt>
                <c:pt idx="158">
                  <c:v>1.6797312429999999E-2</c:v>
                </c:pt>
                <c:pt idx="159">
                  <c:v>1.6550522647999999E-2</c:v>
                </c:pt>
                <c:pt idx="160">
                  <c:v>1.5966809152000001E-2</c:v>
                </c:pt>
                <c:pt idx="161">
                  <c:v>1.8799348289000001E-2</c:v>
                </c:pt>
                <c:pt idx="162">
                  <c:v>1.9798234551999999E-2</c:v>
                </c:pt>
                <c:pt idx="163">
                  <c:v>1.8275128301000001E-2</c:v>
                </c:pt>
                <c:pt idx="164">
                  <c:v>1.8089816570999999E-2</c:v>
                </c:pt>
                <c:pt idx="165">
                  <c:v>1.7046177331000001E-2</c:v>
                </c:pt>
                <c:pt idx="166">
                  <c:v>1.8043202033E-2</c:v>
                </c:pt>
                <c:pt idx="167">
                  <c:v>1.7016519686000001E-2</c:v>
                </c:pt>
                <c:pt idx="168">
                  <c:v>1.509705248E-2</c:v>
                </c:pt>
                <c:pt idx="169">
                  <c:v>1.6148183329000001E-2</c:v>
                </c:pt>
                <c:pt idx="170">
                  <c:v>1.6676317313E-2</c:v>
                </c:pt>
                <c:pt idx="171">
                  <c:v>1.5735815601999999E-2</c:v>
                </c:pt>
                <c:pt idx="172">
                  <c:v>1.6881289902999998E-2</c:v>
                </c:pt>
                <c:pt idx="173">
                  <c:v>1.7508273726000001E-2</c:v>
                </c:pt>
                <c:pt idx="174">
                  <c:v>1.7840569248E-2</c:v>
                </c:pt>
                <c:pt idx="175">
                  <c:v>1.6920473772999999E-2</c:v>
                </c:pt>
                <c:pt idx="176">
                  <c:v>1.5413891531E-2</c:v>
                </c:pt>
                <c:pt idx="177">
                  <c:v>1.5022442061999999E-2</c:v>
                </c:pt>
                <c:pt idx="178">
                  <c:v>1.4346439957000001E-2</c:v>
                </c:pt>
                <c:pt idx="179">
                  <c:v>1.3421052631E-2</c:v>
                </c:pt>
                <c:pt idx="180">
                  <c:v>1.2987012987E-2</c:v>
                </c:pt>
                <c:pt idx="181">
                  <c:v>1.3172525874E-2</c:v>
                </c:pt>
                <c:pt idx="182">
                  <c:v>1.3687197462000001E-2</c:v>
                </c:pt>
                <c:pt idx="183">
                  <c:v>1.3415132924E-2</c:v>
                </c:pt>
                <c:pt idx="184">
                  <c:v>1.2954212155E-2</c:v>
                </c:pt>
                <c:pt idx="185">
                  <c:v>1.4263205903999999E-2</c:v>
                </c:pt>
                <c:pt idx="186">
                  <c:v>1.4286873933999999E-2</c:v>
                </c:pt>
                <c:pt idx="187">
                  <c:v>1.3488258713999999E-2</c:v>
                </c:pt>
                <c:pt idx="188">
                  <c:v>1.4666666666E-2</c:v>
                </c:pt>
                <c:pt idx="189">
                  <c:v>1.3814539803000001E-2</c:v>
                </c:pt>
                <c:pt idx="190">
                  <c:v>1.3993353157E-2</c:v>
                </c:pt>
                <c:pt idx="191">
                  <c:v>1.4990460614999999E-2</c:v>
                </c:pt>
                <c:pt idx="192">
                  <c:v>1.5467088496E-2</c:v>
                </c:pt>
                <c:pt idx="193">
                  <c:v>1.54583258E-2</c:v>
                </c:pt>
                <c:pt idx="194">
                  <c:v>1.6151108676999999E-2</c:v>
                </c:pt>
                <c:pt idx="195">
                  <c:v>1.5217391304000001E-2</c:v>
                </c:pt>
                <c:pt idx="196">
                  <c:v>1.4944184371000001E-2</c:v>
                </c:pt>
                <c:pt idx="197">
                  <c:v>1.4800514799999999E-2</c:v>
                </c:pt>
                <c:pt idx="198">
                  <c:v>1.3750461424E-2</c:v>
                </c:pt>
                <c:pt idx="199">
                  <c:v>1.3176282691E-2</c:v>
                </c:pt>
                <c:pt idx="200">
                  <c:v>1.367781155E-2</c:v>
                </c:pt>
                <c:pt idx="201">
                  <c:v>1.3000307092999999E-2</c:v>
                </c:pt>
                <c:pt idx="202">
                  <c:v>1.3256360914999999E-2</c:v>
                </c:pt>
                <c:pt idx="203">
                  <c:v>1.5239802779E-2</c:v>
                </c:pt>
                <c:pt idx="204">
                  <c:v>1.5726617003000001E-2</c:v>
                </c:pt>
                <c:pt idx="205">
                  <c:v>1.7158965559000001E-2</c:v>
                </c:pt>
                <c:pt idx="206">
                  <c:v>1.7204301075000001E-2</c:v>
                </c:pt>
                <c:pt idx="207">
                  <c:v>1.7404857773E-2</c:v>
                </c:pt>
                <c:pt idx="208">
                  <c:v>1.7930125246999998E-2</c:v>
                </c:pt>
                <c:pt idx="209">
                  <c:v>1.7885744794E-2</c:v>
                </c:pt>
                <c:pt idx="210">
                  <c:v>1.6606195925000001E-2</c:v>
                </c:pt>
                <c:pt idx="211">
                  <c:v>1.6197783460999999E-2</c:v>
                </c:pt>
                <c:pt idx="212">
                  <c:v>1.6028495101999999E-2</c:v>
                </c:pt>
                <c:pt idx="213">
                  <c:v>1.6691212566999999E-2</c:v>
                </c:pt>
                <c:pt idx="214">
                  <c:v>1.7273815631E-2</c:v>
                </c:pt>
                <c:pt idx="215">
                  <c:v>1.7099863201000001E-2</c:v>
                </c:pt>
                <c:pt idx="216">
                  <c:v>1.5926737008999999E-2</c:v>
                </c:pt>
                <c:pt idx="217">
                  <c:v>1.9370460047999999E-2</c:v>
                </c:pt>
                <c:pt idx="218">
                  <c:v>2.1709006927999999E-2</c:v>
                </c:pt>
                <c:pt idx="219">
                  <c:v>2.3289665211E-2</c:v>
                </c:pt>
                <c:pt idx="220">
                  <c:v>2.3326335431999998E-2</c:v>
                </c:pt>
                <c:pt idx="221">
                  <c:v>2.432748538E-2</c:v>
                </c:pt>
                <c:pt idx="222">
                  <c:v>2.5536015416999999E-2</c:v>
                </c:pt>
                <c:pt idx="223">
                  <c:v>2.7270678385999999E-2</c:v>
                </c:pt>
                <c:pt idx="224">
                  <c:v>2.5504289356999998E-2</c:v>
                </c:pt>
                <c:pt idx="225">
                  <c:v>2.6315789472999999E-2</c:v>
                </c:pt>
                <c:pt idx="226">
                  <c:v>2.6644462947E-2</c:v>
                </c:pt>
                <c:pt idx="227">
                  <c:v>2.616877389E-2</c:v>
                </c:pt>
                <c:pt idx="228">
                  <c:v>2.4992380371E-2</c:v>
                </c:pt>
                <c:pt idx="229">
                  <c:v>2.3277467411000001E-2</c:v>
                </c:pt>
                <c:pt idx="230">
                  <c:v>2.2807581111000001E-2</c:v>
                </c:pt>
                <c:pt idx="231">
                  <c:v>2.4381868131E-2</c:v>
                </c:pt>
                <c:pt idx="232">
                  <c:v>2.4425811155000001E-2</c:v>
                </c:pt>
                <c:pt idx="233">
                  <c:v>2.5065469508999998E-2</c:v>
                </c:pt>
                <c:pt idx="234">
                  <c:v>2.8846153845999999E-2</c:v>
                </c:pt>
                <c:pt idx="235">
                  <c:v>2.9497299542000002E-2</c:v>
                </c:pt>
                <c:pt idx="236">
                  <c:v>3.0633655055999999E-2</c:v>
                </c:pt>
                <c:pt idx="237">
                  <c:v>2.9321663019000001E-2</c:v>
                </c:pt>
                <c:pt idx="238">
                  <c:v>2.8899082568000001E-2</c:v>
                </c:pt>
                <c:pt idx="239">
                  <c:v>3.0490709861000002E-2</c:v>
                </c:pt>
                <c:pt idx="240">
                  <c:v>3.0484757620999999E-2</c:v>
                </c:pt>
                <c:pt idx="241">
                  <c:v>2.6422764227E-2</c:v>
                </c:pt>
                <c:pt idx="242">
                  <c:v>2.3185483869999999E-2</c:v>
                </c:pt>
                <c:pt idx="243">
                  <c:v>2.1538461538000001E-2</c:v>
                </c:pt>
                <c:pt idx="244">
                  <c:v>1.9169329073000001E-2</c:v>
                </c:pt>
                <c:pt idx="245">
                  <c:v>2.2739877980999999E-2</c:v>
                </c:pt>
                <c:pt idx="246">
                  <c:v>2.2054556005999999E-2</c:v>
                </c:pt>
                <c:pt idx="247">
                  <c:v>2.0681265205999999E-2</c:v>
                </c:pt>
                <c:pt idx="248">
                  <c:v>2.5000000000000001E-2</c:v>
                </c:pt>
                <c:pt idx="249">
                  <c:v>2.9186935370999999E-2</c:v>
                </c:pt>
                <c:pt idx="250">
                  <c:v>2.9850746268000002E-2</c:v>
                </c:pt>
                <c:pt idx="251">
                  <c:v>3.2526475036999999E-2</c:v>
                </c:pt>
                <c:pt idx="252">
                  <c:v>3.0936454849000001E-2</c:v>
                </c:pt>
                <c:pt idx="253">
                  <c:v>3.4322820036999997E-2</c:v>
                </c:pt>
                <c:pt idx="254">
                  <c:v>3.5643564356000003E-2</c:v>
                </c:pt>
                <c:pt idx="255">
                  <c:v>3.1152647974999999E-2</c:v>
                </c:pt>
                <c:pt idx="256">
                  <c:v>2.9723991506999999E-2</c:v>
                </c:pt>
                <c:pt idx="257">
                  <c:v>2.7262813521999999E-2</c:v>
                </c:pt>
                <c:pt idx="258">
                  <c:v>2.1871202916000001E-2</c:v>
                </c:pt>
                <c:pt idx="259">
                  <c:v>2.0565552699000001E-2</c:v>
                </c:pt>
                <c:pt idx="260">
                  <c:v>1.8995929442999999E-2</c:v>
                </c:pt>
                <c:pt idx="261">
                  <c:v>1.6344725110999998E-2</c:v>
                </c:pt>
                <c:pt idx="262">
                  <c:v>1.9448946514999999E-2</c:v>
                </c:pt>
                <c:pt idx="263">
                  <c:v>1.8998272883999998E-2</c:v>
                </c:pt>
                <c:pt idx="264">
                  <c:v>2.1052631578000001E-2</c:v>
                </c:pt>
                <c:pt idx="265">
                  <c:v>2.3210831721E-2</c:v>
                </c:pt>
                <c:pt idx="266">
                  <c:v>2.1881838074000001E-2</c:v>
                </c:pt>
                <c:pt idx="267">
                  <c:v>2.5943396226E-2</c:v>
                </c:pt>
                <c:pt idx="268">
                  <c:v>2.6246719160000001E-2</c:v>
                </c:pt>
                <c:pt idx="269">
                  <c:v>1.9178082191E-2</c:v>
                </c:pt>
                <c:pt idx="270">
                  <c:v>1.9886363636E-2</c:v>
                </c:pt>
                <c:pt idx="271">
                  <c:v>2.0348837208999999E-2</c:v>
                </c:pt>
                <c:pt idx="272">
                  <c:v>3.0581039755000001E-2</c:v>
                </c:pt>
                <c:pt idx="273">
                  <c:v>3.8062283736999998E-2</c:v>
                </c:pt>
                <c:pt idx="274">
                  <c:v>3.041825095E-2</c:v>
                </c:pt>
                <c:pt idx="275">
                  <c:v>3.8610038610000001E-2</c:v>
                </c:pt>
                <c:pt idx="276">
                  <c:v>4.7826086955999998E-2</c:v>
                </c:pt>
                <c:pt idx="277">
                  <c:v>4.5454545454000003E-2</c:v>
                </c:pt>
                <c:pt idx="278">
                  <c:v>4.2452830188000001E-2</c:v>
                </c:pt>
                <c:pt idx="279">
                  <c:v>3.1578947368000002E-2</c:v>
                </c:pt>
                <c:pt idx="280">
                  <c:v>2.9069767441E-2</c:v>
                </c:pt>
                <c:pt idx="281">
                  <c:v>3.125E-2</c:v>
                </c:pt>
                <c:pt idx="282">
                  <c:v>3.5971223020999997E-2</c:v>
                </c:pt>
                <c:pt idx="283">
                  <c:v>4.2735042734999999E-2</c:v>
                </c:pt>
                <c:pt idx="284">
                  <c:v>4.5871559632999999E-2</c:v>
                </c:pt>
                <c:pt idx="285">
                  <c:v>4.4247787609999999E-2</c:v>
                </c:pt>
                <c:pt idx="286">
                  <c:v>5.9405940593999999E-2</c:v>
                </c:pt>
                <c:pt idx="287">
                  <c:v>6.3157894736000003E-2</c:v>
                </c:pt>
                <c:pt idx="288">
                  <c:v>6.3157894736000003E-2</c:v>
                </c:pt>
                <c:pt idx="289">
                  <c:v>4.9382716048999999E-2</c:v>
                </c:pt>
                <c:pt idx="290">
                  <c:v>6.7415730337000004E-2</c:v>
                </c:pt>
                <c:pt idx="291">
                  <c:v>6.5217391304000005E-2</c:v>
                </c:pt>
                <c:pt idx="292">
                  <c:v>7.9545454545000005E-2</c:v>
                </c:pt>
                <c:pt idx="293">
                  <c:v>5.9523809523000001E-2</c:v>
                </c:pt>
                <c:pt idx="294">
                  <c:v>6.0240963855000003E-2</c:v>
                </c:pt>
                <c:pt idx="295">
                  <c:v>5.7971014491999998E-2</c:v>
                </c:pt>
                <c:pt idx="296">
                  <c:v>6.3492063491999998E-2</c:v>
                </c:pt>
                <c:pt idx="297">
                  <c:v>2.0408163265000001E-2</c:v>
                </c:pt>
                <c:pt idx="298">
                  <c:v>2.0408163265000001E-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2.9411764704999999E-2</c:v>
                </c:pt>
                <c:pt idx="310">
                  <c:v>2.8571428571E-2</c:v>
                </c:pt>
                <c:pt idx="311">
                  <c:v>2.5000000000000001E-2</c:v>
                </c:pt>
                <c:pt idx="312">
                  <c:v>2.6315789472999999E-2</c:v>
                </c:pt>
                <c:pt idx="313">
                  <c:v>2.8571428571E-2</c:v>
                </c:pt>
                <c:pt idx="314">
                  <c:v>3.7037037037000002E-2</c:v>
                </c:pt>
                <c:pt idx="315">
                  <c:v>2.9850746268000002E-2</c:v>
                </c:pt>
                <c:pt idx="316">
                  <c:v>1.4925373134000001E-2</c:v>
                </c:pt>
                <c:pt idx="317">
                  <c:v>1.5151515151E-2</c:v>
                </c:pt>
                <c:pt idx="318">
                  <c:v>1.4705882352E-2</c:v>
                </c:pt>
                <c:pt idx="319">
                  <c:v>1.3888888888E-2</c:v>
                </c:pt>
                <c:pt idx="320">
                  <c:v>2.7397260273000001E-2</c:v>
                </c:pt>
                <c:pt idx="321">
                  <c:v>3.2786885245000001E-2</c:v>
                </c:pt>
                <c:pt idx="322">
                  <c:v>3.5714285714000003E-2</c:v>
                </c:pt>
                <c:pt idx="323">
                  <c:v>3.7037037037000002E-2</c:v>
                </c:pt>
                <c:pt idx="324">
                  <c:v>3.7735849055999998E-2</c:v>
                </c:pt>
                <c:pt idx="325">
                  <c:v>5.6603773583999997E-2</c:v>
                </c:pt>
                <c:pt idx="326">
                  <c:v>0.06</c:v>
                </c:pt>
                <c:pt idx="327">
                  <c:v>4.2553191488999997E-2</c:v>
                </c:pt>
                <c:pt idx="328">
                  <c:v>3.6363636363000003E-2</c:v>
                </c:pt>
                <c:pt idx="329">
                  <c:v>3.6363636363000003E-2</c:v>
                </c:pt>
                <c:pt idx="330">
                  <c:v>3.8461538460999999E-2</c:v>
                </c:pt>
                <c:pt idx="331">
                  <c:v>0.05</c:v>
                </c:pt>
                <c:pt idx="332">
                  <c:v>5.4545454544999997E-2</c:v>
                </c:pt>
                <c:pt idx="333">
                  <c:v>7.5471698113000002E-2</c:v>
                </c:pt>
                <c:pt idx="334">
                  <c:v>7.2727272726999997E-2</c:v>
                </c:pt>
                <c:pt idx="335">
                  <c:v>5.8823529410999997E-2</c:v>
                </c:pt>
                <c:pt idx="336">
                  <c:v>5.7692307691999997E-2</c:v>
                </c:pt>
                <c:pt idx="337">
                  <c:v>7.5471698113000002E-2</c:v>
                </c:pt>
                <c:pt idx="338">
                  <c:v>6.5217391304000005E-2</c:v>
                </c:pt>
                <c:pt idx="339">
                  <c:v>5.7692307691999997E-2</c:v>
                </c:pt>
                <c:pt idx="340">
                  <c:v>3.8461538460999999E-2</c:v>
                </c:pt>
                <c:pt idx="341">
                  <c:v>3.8461538460999999E-2</c:v>
                </c:pt>
                <c:pt idx="342">
                  <c:v>3.8461538460999999E-2</c:v>
                </c:pt>
                <c:pt idx="343">
                  <c:v>3.9215686274000003E-2</c:v>
                </c:pt>
                <c:pt idx="344">
                  <c:v>3.5714285714000003E-2</c:v>
                </c:pt>
                <c:pt idx="345">
                  <c:v>3.5087719298000003E-2</c:v>
                </c:pt>
                <c:pt idx="346">
                  <c:v>1.7857142857000002E-2</c:v>
                </c:pt>
                <c:pt idx="347">
                  <c:v>1.7543859649000001E-2</c:v>
                </c:pt>
                <c:pt idx="348">
                  <c:v>3.3898305083999998E-2</c:v>
                </c:pt>
                <c:pt idx="349">
                  <c:v>3.3898305083999998E-2</c:v>
                </c:pt>
                <c:pt idx="350">
                  <c:v>2.9411764704999999E-2</c:v>
                </c:pt>
                <c:pt idx="351">
                  <c:v>1.4705882352E-2</c:v>
                </c:pt>
                <c:pt idx="352">
                  <c:v>1.5625E-2</c:v>
                </c:pt>
                <c:pt idx="353">
                  <c:v>6.3492063491999998E-2</c:v>
                </c:pt>
                <c:pt idx="354">
                  <c:v>7.4626865671000006E-2</c:v>
                </c:pt>
                <c:pt idx="355">
                  <c:v>5.9701492537000002E-2</c:v>
                </c:pt>
                <c:pt idx="356">
                  <c:v>7.5757575756999998E-2</c:v>
                </c:pt>
                <c:pt idx="357">
                  <c:v>8.9552238805000003E-2</c:v>
                </c:pt>
                <c:pt idx="358">
                  <c:v>9.5890410957999994E-2</c:v>
                </c:pt>
                <c:pt idx="359">
                  <c:v>8.7499999999999994E-2</c:v>
                </c:pt>
                <c:pt idx="360">
                  <c:v>4.9382716048999999E-2</c:v>
                </c:pt>
                <c:pt idx="361">
                  <c:v>3.7499999999999999E-2</c:v>
                </c:pt>
                <c:pt idx="362">
                  <c:v>3.8461538460999999E-2</c:v>
                </c:pt>
                <c:pt idx="363">
                  <c:v>2.5316455695999999E-2</c:v>
                </c:pt>
                <c:pt idx="364">
                  <c:v>1.3157894736E-2</c:v>
                </c:pt>
                <c:pt idx="365">
                  <c:v>1.2048192770999999E-2</c:v>
                </c:pt>
                <c:pt idx="366">
                  <c:v>1.1111111111000001E-2</c:v>
                </c:pt>
                <c:pt idx="367">
                  <c:v>3.6036036036000002E-2</c:v>
                </c:pt>
                <c:pt idx="368">
                  <c:v>3.3898305083999998E-2</c:v>
                </c:pt>
                <c:pt idx="369">
                  <c:v>0.04</c:v>
                </c:pt>
                <c:pt idx="370">
                  <c:v>3.5714285714000003E-2</c:v>
                </c:pt>
                <c:pt idx="371">
                  <c:v>3.7267080745E-2</c:v>
                </c:pt>
                <c:pt idx="372">
                  <c:v>3.125E-2</c:v>
                </c:pt>
                <c:pt idx="373">
                  <c:v>3.0120481926999999E-2</c:v>
                </c:pt>
                <c:pt idx="374">
                  <c:v>2.3529411763999999E-2</c:v>
                </c:pt>
                <c:pt idx="375">
                  <c:v>2.3809523809000002E-2</c:v>
                </c:pt>
                <c:pt idx="376">
                  <c:v>1.8181818180999999E-2</c:v>
                </c:pt>
                <c:pt idx="377">
                  <c:v>3.8888888888000003E-2</c:v>
                </c:pt>
                <c:pt idx="378">
                  <c:v>3.6082474226E-2</c:v>
                </c:pt>
                <c:pt idx="379">
                  <c:v>3.5175879395999997E-2</c:v>
                </c:pt>
                <c:pt idx="380">
                  <c:v>3.3333333333000002E-2</c:v>
                </c:pt>
                <c:pt idx="381">
                  <c:v>2.6785714285000001E-2</c:v>
                </c:pt>
                <c:pt idx="382">
                  <c:v>2.6431718061E-2</c:v>
                </c:pt>
                <c:pt idx="383">
                  <c:v>2.9411764704999999E-2</c:v>
                </c:pt>
                <c:pt idx="384">
                  <c:v>1.2820512819999999E-2</c:v>
                </c:pt>
                <c:pt idx="385">
                  <c:v>8.7719298239999997E-3</c:v>
                </c:pt>
                <c:pt idx="386">
                  <c:v>8.3682008359999994E-3</c:v>
                </c:pt>
                <c:pt idx="387">
                  <c:v>1.304347826E-2</c:v>
                </c:pt>
                <c:pt idx="388">
                  <c:v>9.0497737550000006E-3</c:v>
                </c:pt>
                <c:pt idx="389">
                  <c:v>1.2711864406000001E-2</c:v>
                </c:pt>
                <c:pt idx="390">
                  <c:v>1.2658227847999999E-2</c:v>
                </c:pt>
                <c:pt idx="391">
                  <c:v>1.953125E-2</c:v>
                </c:pt>
                <c:pt idx="392">
                  <c:v>2.5104602510000001E-2</c:v>
                </c:pt>
                <c:pt idx="393">
                  <c:v>3.2000000000000001E-2</c:v>
                </c:pt>
                <c:pt idx="394">
                  <c:v>2.6845637583000001E-2</c:v>
                </c:pt>
                <c:pt idx="395">
                  <c:v>3.2163742689999997E-2</c:v>
                </c:pt>
                <c:pt idx="396">
                  <c:v>2.7624309392000002E-2</c:v>
                </c:pt>
                <c:pt idx="397">
                  <c:v>2.9490616620999999E-2</c:v>
                </c:pt>
                <c:pt idx="398">
                  <c:v>3.1088082901E-2</c:v>
                </c:pt>
                <c:pt idx="399">
                  <c:v>3.6170212765000001E-2</c:v>
                </c:pt>
                <c:pt idx="400">
                  <c:v>3.9399624765000002E-2</c:v>
                </c:pt>
                <c:pt idx="401">
                  <c:v>4.2933810374999999E-2</c:v>
                </c:pt>
                <c:pt idx="402">
                  <c:v>3.8194444443999997E-2</c:v>
                </c:pt>
                <c:pt idx="403">
                  <c:v>3.9145907473000001E-2</c:v>
                </c:pt>
                <c:pt idx="404">
                  <c:v>3.7701974865000001E-2</c:v>
                </c:pt>
                <c:pt idx="405">
                  <c:v>4.3624161073000003E-2</c:v>
                </c:pt>
                <c:pt idx="406">
                  <c:v>3.6666666665999999E-2</c:v>
                </c:pt>
                <c:pt idx="407">
                  <c:v>3.2414910858000003E-2</c:v>
                </c:pt>
                <c:pt idx="408">
                  <c:v>3.4645669290999999E-2</c:v>
                </c:pt>
                <c:pt idx="409">
                  <c:v>3.3379694018999997E-2</c:v>
                </c:pt>
                <c:pt idx="410">
                  <c:v>3.2133676091999998E-2</c:v>
                </c:pt>
                <c:pt idx="411">
                  <c:v>2.9629629628999999E-2</c:v>
                </c:pt>
                <c:pt idx="412">
                  <c:v>2.1436227224000001E-2</c:v>
                </c:pt>
                <c:pt idx="413">
                  <c:v>1.7040358743999999E-2</c:v>
                </c:pt>
                <c:pt idx="414">
                  <c:v>1.5822784810000001E-2</c:v>
                </c:pt>
                <c:pt idx="415">
                  <c:v>1.0423905488999999E-2</c:v>
                </c:pt>
                <c:pt idx="416">
                  <c:v>8.5574572120000001E-3</c:v>
                </c:pt>
                <c:pt idx="417">
                  <c:v>9.1272104959999999E-3</c:v>
                </c:pt>
                <c:pt idx="418">
                  <c:v>1.1351351351000001E-2</c:v>
                </c:pt>
                <c:pt idx="419">
                  <c:v>1.5625E-2</c:v>
                </c:pt>
                <c:pt idx="420">
                  <c:v>1.4187446259E-2</c:v>
                </c:pt>
                <c:pt idx="421">
                  <c:v>1.2568735271E-2</c:v>
                </c:pt>
                <c:pt idx="422">
                  <c:v>1.3296832224999999E-2</c:v>
                </c:pt>
                <c:pt idx="423">
                  <c:v>1.4295925661000001E-2</c:v>
                </c:pt>
                <c:pt idx="424">
                  <c:v>1.3364517205999999E-2</c:v>
                </c:pt>
                <c:pt idx="425">
                  <c:v>1.2476007677E-2</c:v>
                </c:pt>
                <c:pt idx="426">
                  <c:v>1.0939691444E-2</c:v>
                </c:pt>
                <c:pt idx="427">
                  <c:v>1.3582778062000001E-2</c:v>
                </c:pt>
                <c:pt idx="428">
                  <c:v>1.3605442176E-2</c:v>
                </c:pt>
                <c:pt idx="429">
                  <c:v>1.2961508248000001E-2</c:v>
                </c:pt>
                <c:pt idx="430">
                  <c:v>1.3437443254E-2</c:v>
                </c:pt>
                <c:pt idx="431">
                  <c:v>1.4840989399E-2</c:v>
                </c:pt>
                <c:pt idx="432">
                  <c:v>1.5625E-2</c:v>
                </c:pt>
                <c:pt idx="433">
                  <c:v>1.4912726656E-2</c:v>
                </c:pt>
                <c:pt idx="434">
                  <c:v>1.435784159E-2</c:v>
                </c:pt>
                <c:pt idx="435">
                  <c:v>1.5006821282E-2</c:v>
                </c:pt>
                <c:pt idx="436">
                  <c:v>1.535937966E-2</c:v>
                </c:pt>
                <c:pt idx="437">
                  <c:v>1.3623595505000001E-2</c:v>
                </c:pt>
                <c:pt idx="438">
                  <c:v>1.2827510917000001E-2</c:v>
                </c:pt>
                <c:pt idx="439">
                  <c:v>1.2149532710000001E-2</c:v>
                </c:pt>
                <c:pt idx="440">
                  <c:v>1.2091587342E-2</c:v>
                </c:pt>
                <c:pt idx="441">
                  <c:v>1.1035653649999999E-2</c:v>
                </c:pt>
                <c:pt idx="442">
                  <c:v>1.0569510072E-2</c:v>
                </c:pt>
                <c:pt idx="443">
                  <c:v>1.1952191235E-2</c:v>
                </c:pt>
                <c:pt idx="444">
                  <c:v>1.1838902412E-2</c:v>
                </c:pt>
                <c:pt idx="445">
                  <c:v>1.1449167814999999E-2</c:v>
                </c:pt>
                <c:pt idx="446">
                  <c:v>1.3144168579E-2</c:v>
                </c:pt>
                <c:pt idx="447">
                  <c:v>1.4555145550999999E-2</c:v>
                </c:pt>
                <c:pt idx="448">
                  <c:v>1.5073861923E-2</c:v>
                </c:pt>
                <c:pt idx="449">
                  <c:v>1.3799010277E-2</c:v>
                </c:pt>
                <c:pt idx="450">
                  <c:v>1.2716961677E-2</c:v>
                </c:pt>
                <c:pt idx="451">
                  <c:v>1.3267726913000001E-2</c:v>
                </c:pt>
                <c:pt idx="452">
                  <c:v>1.3534891896E-2</c:v>
                </c:pt>
                <c:pt idx="453">
                  <c:v>1.2170910659999999E-2</c:v>
                </c:pt>
                <c:pt idx="454">
                  <c:v>1.0883428279000001E-2</c:v>
                </c:pt>
                <c:pt idx="455">
                  <c:v>1.0853648031E-2</c:v>
                </c:pt>
                <c:pt idx="456">
                  <c:v>1.1588847833E-2</c:v>
                </c:pt>
                <c:pt idx="457">
                  <c:v>1.1310417955000001E-2</c:v>
                </c:pt>
                <c:pt idx="458">
                  <c:v>1.0260528194E-2</c:v>
                </c:pt>
                <c:pt idx="459">
                  <c:v>1.0735227785000001E-2</c:v>
                </c:pt>
                <c:pt idx="460">
                  <c:v>1.0685746143E-2</c:v>
                </c:pt>
                <c:pt idx="461">
                  <c:v>1.1497502591E-2</c:v>
                </c:pt>
                <c:pt idx="462">
                  <c:v>1.0807192041999999E-2</c:v>
                </c:pt>
                <c:pt idx="463">
                  <c:v>1.0262030486999999E-2</c:v>
                </c:pt>
                <c:pt idx="464">
                  <c:v>1.0209343095E-2</c:v>
                </c:pt>
                <c:pt idx="465">
                  <c:v>1.09711058E-2</c:v>
                </c:pt>
                <c:pt idx="466">
                  <c:v>1.0627586978E-2</c:v>
                </c:pt>
                <c:pt idx="467">
                  <c:v>1.1112371017E-2</c:v>
                </c:pt>
                <c:pt idx="468">
                  <c:v>1.0177514792000001E-2</c:v>
                </c:pt>
                <c:pt idx="469">
                  <c:v>1.1477411477E-2</c:v>
                </c:pt>
                <c:pt idx="470">
                  <c:v>1.2431116237E-2</c:v>
                </c:pt>
                <c:pt idx="471">
                  <c:v>1.3311376422999999E-2</c:v>
                </c:pt>
                <c:pt idx="472">
                  <c:v>1.3742690058000001E-2</c:v>
                </c:pt>
                <c:pt idx="473">
                  <c:v>1.3229927007E-2</c:v>
                </c:pt>
                <c:pt idx="474">
                  <c:v>1.2826456498000001E-2</c:v>
                </c:pt>
                <c:pt idx="475">
                  <c:v>1.4213363829E-2</c:v>
                </c:pt>
                <c:pt idx="476">
                  <c:v>1.4391014391E-2</c:v>
                </c:pt>
                <c:pt idx="477">
                  <c:v>1.4635050017999999E-2</c:v>
                </c:pt>
                <c:pt idx="478">
                  <c:v>1.5317286652E-2</c:v>
                </c:pt>
                <c:pt idx="479">
                  <c:v>1.7535655833E-2</c:v>
                </c:pt>
                <c:pt idx="480">
                  <c:v>1.8920992072999999E-2</c:v>
                </c:pt>
                <c:pt idx="481">
                  <c:v>1.9726459758000001E-2</c:v>
                </c:pt>
                <c:pt idx="482">
                  <c:v>1.9677507515000001E-2</c:v>
                </c:pt>
                <c:pt idx="483">
                  <c:v>2.2860492379000001E-2</c:v>
                </c:pt>
                <c:pt idx="484">
                  <c:v>3.4450938171999998E-2</c:v>
                </c:pt>
                <c:pt idx="485">
                  <c:v>3.3850931676999998E-2</c:v>
                </c:pt>
                <c:pt idx="486">
                  <c:v>3.0717676626000001E-2</c:v>
                </c:pt>
                <c:pt idx="487">
                  <c:v>3.2456631224999997E-2</c:v>
                </c:pt>
                <c:pt idx="488">
                  <c:v>3.2988537880000002E-2</c:v>
                </c:pt>
                <c:pt idx="489">
                  <c:v>2.9507309148999999E-2</c:v>
                </c:pt>
                <c:pt idx="490">
                  <c:v>2.5125628140000002E-2</c:v>
                </c:pt>
                <c:pt idx="491">
                  <c:v>1.5244717838000001E-2</c:v>
                </c:pt>
                <c:pt idx="492">
                  <c:v>1.3907826561E-2</c:v>
                </c:pt>
                <c:pt idx="493">
                  <c:v>1.5263014445E-2</c:v>
                </c:pt>
                <c:pt idx="494">
                  <c:v>1.3375295043E-2</c:v>
                </c:pt>
                <c:pt idx="495">
                  <c:v>1.2891344383000001E-2</c:v>
                </c:pt>
                <c:pt idx="496">
                  <c:v>1.6499705361999999E-2</c:v>
                </c:pt>
                <c:pt idx="497">
                  <c:v>1.7509727626000001E-2</c:v>
                </c:pt>
                <c:pt idx="498">
                  <c:v>1.7737617135000001E-2</c:v>
                </c:pt>
                <c:pt idx="499">
                  <c:v>1.7931034482000001E-2</c:v>
                </c:pt>
                <c:pt idx="500">
                  <c:v>1.6798080218999999E-2</c:v>
                </c:pt>
                <c:pt idx="501">
                  <c:v>1.4980026630999999E-2</c:v>
                </c:pt>
                <c:pt idx="502">
                  <c:v>1.274926446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B47-4816-8473-17E3F5392F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v_den_pozitivity65_7dni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0</c:v>
                </c:pt>
                <c:pt idx="1">
                  <c:v>-0.44250871080999998</c:v>
                </c:pt>
                <c:pt idx="2">
                  <c:v>0</c:v>
                </c:pt>
                <c:pt idx="3">
                  <c:v>-2.7355623119999999E-2</c:v>
                </c:pt>
                <c:pt idx="4">
                  <c:v>-0.19130434784</c:v>
                </c:pt>
                <c:pt idx="5">
                  <c:v>0.52861035421000002</c:v>
                </c:pt>
                <c:pt idx="6">
                  <c:v>-0.23037974683000001</c:v>
                </c:pt>
                <c:pt idx="7">
                  <c:v>-0.22368421052000001</c:v>
                </c:pt>
                <c:pt idx="8">
                  <c:v>-0.20312499997</c:v>
                </c:pt>
                <c:pt idx="9">
                  <c:v>-0.25295508274</c:v>
                </c:pt>
                <c:pt idx="10">
                  <c:v>0.6615508886</c:v>
                </c:pt>
                <c:pt idx="11">
                  <c:v>0</c:v>
                </c:pt>
                <c:pt idx="12">
                  <c:v>0</c:v>
                </c:pt>
                <c:pt idx="13">
                  <c:v>-0.32431324315999999</c:v>
                </c:pt>
                <c:pt idx="14">
                  <c:v>1.03958090813</c:v>
                </c:pt>
                <c:pt idx="15">
                  <c:v>0.27092274674</c:v>
                </c:pt>
                <c:pt idx="16">
                  <c:v>1.1863553113800001</c:v>
                </c:pt>
                <c:pt idx="17">
                  <c:v>1.6900175130799999</c:v>
                </c:pt>
                <c:pt idx="18">
                  <c:v>0.79753309266000005</c:v>
                </c:pt>
                <c:pt idx="19">
                  <c:v>0.15736640094000001</c:v>
                </c:pt>
                <c:pt idx="20">
                  <c:v>1.1477079797800001</c:v>
                </c:pt>
                <c:pt idx="21">
                  <c:v>-0.39631093545000001</c:v>
                </c:pt>
                <c:pt idx="22">
                  <c:v>7.0504587169899997</c:v>
                </c:pt>
                <c:pt idx="23">
                  <c:v>-0.40087783467999999</c:v>
                </c:pt>
                <c:pt idx="24">
                  <c:v>1.99315219792</c:v>
                </c:pt>
                <c:pt idx="25">
                  <c:v>-0.31988269796000002</c:v>
                </c:pt>
                <c:pt idx="26">
                  <c:v>0.93282636255999996</c:v>
                </c:pt>
                <c:pt idx="27">
                  <c:v>-0.23207430340999999</c:v>
                </c:pt>
                <c:pt idx="28">
                  <c:v>0.54929577469000002</c:v>
                </c:pt>
                <c:pt idx="29">
                  <c:v>7.0147341439999997E-2</c:v>
                </c:pt>
                <c:pt idx="30">
                  <c:v>0.31438848924000001</c:v>
                </c:pt>
                <c:pt idx="31">
                  <c:v>-0.18020686414000001</c:v>
                </c:pt>
                <c:pt idx="32">
                  <c:v>1.0950122178499999</c:v>
                </c:pt>
                <c:pt idx="33">
                  <c:v>-0.37393075356</c:v>
                </c:pt>
                <c:pt idx="34">
                  <c:v>0.71912491176000004</c:v>
                </c:pt>
                <c:pt idx="35">
                  <c:v>-0.29935714017999998</c:v>
                </c:pt>
                <c:pt idx="36">
                  <c:v>0.52847459779999995</c:v>
                </c:pt>
                <c:pt idx="37">
                  <c:v>-0.24915645533</c:v>
                </c:pt>
                <c:pt idx="38">
                  <c:v>0.83039193219999996</c:v>
                </c:pt>
                <c:pt idx="39">
                  <c:v>0.13224909386</c:v>
                </c:pt>
                <c:pt idx="40">
                  <c:v>0.84689655176</c:v>
                </c:pt>
                <c:pt idx="41">
                  <c:v>-7.4176053419999999E-2</c:v>
                </c:pt>
                <c:pt idx="42">
                  <c:v>0.58429752067999996</c:v>
                </c:pt>
                <c:pt idx="43">
                  <c:v>9.0198123029999994E-2</c:v>
                </c:pt>
                <c:pt idx="44">
                  <c:v>0.52933088909000003</c:v>
                </c:pt>
                <c:pt idx="45">
                  <c:v>0.18465785266000001</c:v>
                </c:pt>
                <c:pt idx="46">
                  <c:v>0.38565104010000001</c:v>
                </c:pt>
                <c:pt idx="47">
                  <c:v>7.384101706E-2</c:v>
                </c:pt>
                <c:pt idx="48">
                  <c:v>0.33688054738000001</c:v>
                </c:pt>
                <c:pt idx="49">
                  <c:v>0.12127455406</c:v>
                </c:pt>
                <c:pt idx="50">
                  <c:v>0.86944932322000001</c:v>
                </c:pt>
                <c:pt idx="51">
                  <c:v>0.37535350485000002</c:v>
                </c:pt>
                <c:pt idx="52">
                  <c:v>1.10422459425</c:v>
                </c:pt>
                <c:pt idx="53">
                  <c:v>0.43652975834000002</c:v>
                </c:pt>
                <c:pt idx="54">
                  <c:v>1.0627584781799999</c:v>
                </c:pt>
                <c:pt idx="55">
                  <c:v>0.54076433122000001</c:v>
                </c:pt>
                <c:pt idx="56">
                  <c:v>0.73345269503999999</c:v>
                </c:pt>
                <c:pt idx="57">
                  <c:v>0.28649138716</c:v>
                </c:pt>
                <c:pt idx="58">
                  <c:v>0.59414003717999997</c:v>
                </c:pt>
                <c:pt idx="59">
                  <c:v>4.1378459110000002E-2</c:v>
                </c:pt>
                <c:pt idx="60">
                  <c:v>0.63990437657999999</c:v>
                </c:pt>
                <c:pt idx="61">
                  <c:v>0.10522145653999999</c:v>
                </c:pt>
                <c:pt idx="62">
                  <c:v>-0.28652388314999999</c:v>
                </c:pt>
                <c:pt idx="63">
                  <c:v>0.18555249464000001</c:v>
                </c:pt>
                <c:pt idx="64">
                  <c:v>-0.35056224795000002</c:v>
                </c:pt>
                <c:pt idx="65">
                  <c:v>0.22535271874999999</c:v>
                </c:pt>
                <c:pt idx="66">
                  <c:v>-0.27588389503999999</c:v>
                </c:pt>
                <c:pt idx="67">
                  <c:v>1.05128368978</c:v>
                </c:pt>
                <c:pt idx="68">
                  <c:v>-0.11857205916999999</c:v>
                </c:pt>
                <c:pt idx="69">
                  <c:v>0.87488776550000003</c:v>
                </c:pt>
                <c:pt idx="70">
                  <c:v>1.9935561809999999E-2</c:v>
                </c:pt>
                <c:pt idx="71">
                  <c:v>1.18064102566</c:v>
                </c:pt>
                <c:pt idx="72">
                  <c:v>-1.0557655270000001E-2</c:v>
                </c:pt>
                <c:pt idx="73">
                  <c:v>0.28566353389999999</c:v>
                </c:pt>
                <c:pt idx="74">
                  <c:v>3.2025246229999998E-2</c:v>
                </c:pt>
                <c:pt idx="75">
                  <c:v>-5.2938064000000002E-4</c:v>
                </c:pt>
                <c:pt idx="76">
                  <c:v>3.1934798239999999E-2</c:v>
                </c:pt>
                <c:pt idx="77">
                  <c:v>0.37329928022999997</c:v>
                </c:pt>
                <c:pt idx="78">
                  <c:v>0.14347993337000001</c:v>
                </c:pt>
                <c:pt idx="79">
                  <c:v>0.50589569160000003</c:v>
                </c:pt>
                <c:pt idx="80">
                  <c:v>-0.24810939794</c:v>
                </c:pt>
                <c:pt idx="81">
                  <c:v>0.75444715208000002</c:v>
                </c:pt>
                <c:pt idx="82">
                  <c:v>-0.23745376992</c:v>
                </c:pt>
                <c:pt idx="83">
                  <c:v>0.12338593974000001</c:v>
                </c:pt>
                <c:pt idx="84">
                  <c:v>-0.46459013277</c:v>
                </c:pt>
                <c:pt idx="85">
                  <c:v>-2.55830511E-2</c:v>
                </c:pt>
                <c:pt idx="86">
                  <c:v>-0.58025148785000003</c:v>
                </c:pt>
                <c:pt idx="87">
                  <c:v>0.1264042235</c:v>
                </c:pt>
                <c:pt idx="88">
                  <c:v>-0.60535459566000005</c:v>
                </c:pt>
                <c:pt idx="89">
                  <c:v>9.7736444990000004E-2</c:v>
                </c:pt>
                <c:pt idx="90">
                  <c:v>-0.58965861630000005</c:v>
                </c:pt>
                <c:pt idx="91">
                  <c:v>6.1234849920000001E-2</c:v>
                </c:pt>
                <c:pt idx="92">
                  <c:v>-0.53691513392000001</c:v>
                </c:pt>
                <c:pt idx="93">
                  <c:v>0.31176810530999999</c:v>
                </c:pt>
                <c:pt idx="94">
                  <c:v>-0.48298124383000002</c:v>
                </c:pt>
                <c:pt idx="95">
                  <c:v>-0.20306513411999999</c:v>
                </c:pt>
                <c:pt idx="96">
                  <c:v>-0.47393104776</c:v>
                </c:pt>
                <c:pt idx="97">
                  <c:v>-0.18420884459</c:v>
                </c:pt>
                <c:pt idx="98">
                  <c:v>-0.40142162365</c:v>
                </c:pt>
                <c:pt idx="99">
                  <c:v>-0.21768963957000001</c:v>
                </c:pt>
                <c:pt idx="100">
                  <c:v>-0.28248783878</c:v>
                </c:pt>
                <c:pt idx="101">
                  <c:v>-9.2105263150000005E-2</c:v>
                </c:pt>
                <c:pt idx="102">
                  <c:v>-0.30486763449999998</c:v>
                </c:pt>
                <c:pt idx="103">
                  <c:v>0.25492221677999999</c:v>
                </c:pt>
                <c:pt idx="104">
                  <c:v>-0.39730464079</c:v>
                </c:pt>
                <c:pt idx="105">
                  <c:v>0.26196725595999998</c:v>
                </c:pt>
                <c:pt idx="106">
                  <c:v>-0.24945837202000001</c:v>
                </c:pt>
                <c:pt idx="107">
                  <c:v>0.61302609751000003</c:v>
                </c:pt>
                <c:pt idx="108">
                  <c:v>-0.28190553172999999</c:v>
                </c:pt>
                <c:pt idx="109">
                  <c:v>0.28137030281999997</c:v>
                </c:pt>
                <c:pt idx="110">
                  <c:v>-8.413132693E-2</c:v>
                </c:pt>
                <c:pt idx="111">
                  <c:v>-5.409775579E-2</c:v>
                </c:pt>
                <c:pt idx="112">
                  <c:v>9.3633938380000004E-2</c:v>
                </c:pt>
                <c:pt idx="113">
                  <c:v>0.16214166202999999</c:v>
                </c:pt>
                <c:pt idx="114">
                  <c:v>0.10124333923000001</c:v>
                </c:pt>
                <c:pt idx="115">
                  <c:v>-0.13300334914</c:v>
                </c:pt>
                <c:pt idx="116">
                  <c:v>0.33454009121</c:v>
                </c:pt>
                <c:pt idx="117">
                  <c:v>1.1500877193000001</c:v>
                </c:pt>
                <c:pt idx="118">
                  <c:v>0.21993435721999999</c:v>
                </c:pt>
                <c:pt idx="119">
                  <c:v>-0.17111459968000001</c:v>
                </c:pt>
                <c:pt idx="120">
                  <c:v>-3.3585179059999998E-2</c:v>
                </c:pt>
                <c:pt idx="121">
                  <c:v>-0.10429654737000001</c:v>
                </c:pt>
                <c:pt idx="122">
                  <c:v>-0.19223582504</c:v>
                </c:pt>
                <c:pt idx="123">
                  <c:v>-0.22045326148</c:v>
                </c:pt>
                <c:pt idx="124">
                  <c:v>0.21895778257000001</c:v>
                </c:pt>
                <c:pt idx="125">
                  <c:v>-0.30116375323</c:v>
                </c:pt>
                <c:pt idx="126">
                  <c:v>0.48449158747999999</c:v>
                </c:pt>
                <c:pt idx="127">
                  <c:v>-0.24539351522</c:v>
                </c:pt>
                <c:pt idx="128">
                  <c:v>1.4376065462500001</c:v>
                </c:pt>
                <c:pt idx="129">
                  <c:v>-0.36053834550000002</c:v>
                </c:pt>
                <c:pt idx="130">
                  <c:v>0.88410866255999998</c:v>
                </c:pt>
                <c:pt idx="131">
                  <c:v>-0.22250654607000001</c:v>
                </c:pt>
                <c:pt idx="132">
                  <c:v>1.1958648698100001</c:v>
                </c:pt>
                <c:pt idx="133">
                  <c:v>0.13887788124</c:v>
                </c:pt>
                <c:pt idx="134">
                  <c:v>0.66207776115000005</c:v>
                </c:pt>
                <c:pt idx="135">
                  <c:v>1.4859095981199999</c:v>
                </c:pt>
                <c:pt idx="136">
                  <c:v>0.33636597713999999</c:v>
                </c:pt>
                <c:pt idx="137">
                  <c:v>0.91517095972999996</c:v>
                </c:pt>
                <c:pt idx="138">
                  <c:v>0.26570647127000002</c:v>
                </c:pt>
                <c:pt idx="139">
                  <c:v>1.1519389071499999</c:v>
                </c:pt>
                <c:pt idx="140">
                  <c:v>0.50326391041999996</c:v>
                </c:pt>
                <c:pt idx="141">
                  <c:v>-0.16452444719000001</c:v>
                </c:pt>
                <c:pt idx="142">
                  <c:v>0.76552725649999998</c:v>
                </c:pt>
                <c:pt idx="143">
                  <c:v>-0.30480480482</c:v>
                </c:pt>
                <c:pt idx="144">
                  <c:v>1.1680754226100001</c:v>
                </c:pt>
                <c:pt idx="145">
                  <c:v>-0.40010562397999999</c:v>
                </c:pt>
                <c:pt idx="146">
                  <c:v>1.87037933829</c:v>
                </c:pt>
                <c:pt idx="147">
                  <c:v>-0.32713541259000001</c:v>
                </c:pt>
                <c:pt idx="148">
                  <c:v>0.58028624761000003</c:v>
                </c:pt>
                <c:pt idx="149">
                  <c:v>-0.28492843811000002</c:v>
                </c:pt>
                <c:pt idx="150">
                  <c:v>0.77240177449000003</c:v>
                </c:pt>
                <c:pt idx="151">
                  <c:v>-8.1460674159999996E-2</c:v>
                </c:pt>
                <c:pt idx="152">
                  <c:v>0.80825921222999997</c:v>
                </c:pt>
                <c:pt idx="153">
                  <c:v>-0.15051613634</c:v>
                </c:pt>
                <c:pt idx="154">
                  <c:v>2.2376653103900002</c:v>
                </c:pt>
                <c:pt idx="155">
                  <c:v>0.32711756462000002</c:v>
                </c:pt>
                <c:pt idx="156">
                  <c:v>6.17065715758</c:v>
                </c:pt>
                <c:pt idx="157">
                  <c:v>-1.7634238189999998E-2</c:v>
                </c:pt>
                <c:pt idx="158">
                  <c:v>2.6534154538600001</c:v>
                </c:pt>
                <c:pt idx="159">
                  <c:v>-0.18695557488</c:v>
                </c:pt>
                <c:pt idx="160">
                  <c:v>4.78218506E-2</c:v>
                </c:pt>
                <c:pt idx="161">
                  <c:v>0.12258965498</c:v>
                </c:pt>
                <c:pt idx="162">
                  <c:v>-3.8885704460000003E-2</c:v>
                </c:pt>
                <c:pt idx="163">
                  <c:v>0.11217209378</c:v>
                </c:pt>
                <c:pt idx="164">
                  <c:v>0.2301075269</c:v>
                </c:pt>
                <c:pt idx="165">
                  <c:v>0.45233430870000002</c:v>
                </c:pt>
                <c:pt idx="166">
                  <c:v>0.29911054645000001</c:v>
                </c:pt>
                <c:pt idx="167">
                  <c:v>0.47363060490999997</c:v>
                </c:pt>
                <c:pt idx="168">
                  <c:v>0.14402108795999999</c:v>
                </c:pt>
                <c:pt idx="169">
                  <c:v>0.34675848973000001</c:v>
                </c:pt>
                <c:pt idx="170">
                  <c:v>-0.30330052112</c:v>
                </c:pt>
                <c:pt idx="171">
                  <c:v>-8.5074721419999999E-2</c:v>
                </c:pt>
                <c:pt idx="172">
                  <c:v>-0.37462494220999998</c:v>
                </c:pt>
                <c:pt idx="173">
                  <c:v>5.5498787479999999E-2</c:v>
                </c:pt>
                <c:pt idx="174">
                  <c:v>-0.39841600495000001</c:v>
                </c:pt>
                <c:pt idx="175">
                  <c:v>-0.13141567962</c:v>
                </c:pt>
                <c:pt idx="176">
                  <c:v>-0.25473834443999999</c:v>
                </c:pt>
                <c:pt idx="177">
                  <c:v>-0.36530182287000001</c:v>
                </c:pt>
                <c:pt idx="178">
                  <c:v>-0.19420828905000001</c:v>
                </c:pt>
                <c:pt idx="179">
                  <c:v>-0.31440789474000003</c:v>
                </c:pt>
                <c:pt idx="180">
                  <c:v>-0.15016233765000001</c:v>
                </c:pt>
                <c:pt idx="181">
                  <c:v>-0.39594559919</c:v>
                </c:pt>
                <c:pt idx="182">
                  <c:v>9.0087512199999997E-2</c:v>
                </c:pt>
                <c:pt idx="183">
                  <c:v>-0.40638036809</c:v>
                </c:pt>
                <c:pt idx="184">
                  <c:v>0.26951279127</c:v>
                </c:pt>
                <c:pt idx="185">
                  <c:v>-0.12875583933000001</c:v>
                </c:pt>
                <c:pt idx="186">
                  <c:v>0.31828882216999999</c:v>
                </c:pt>
                <c:pt idx="187">
                  <c:v>-0.18845643399000001</c:v>
                </c:pt>
                <c:pt idx="188">
                  <c:v>-1.7333333350000001E-2</c:v>
                </c:pt>
                <c:pt idx="189">
                  <c:v>0.33606334953</c:v>
                </c:pt>
                <c:pt idx="190">
                  <c:v>-0.26164483635000002</c:v>
                </c:pt>
                <c:pt idx="191">
                  <c:v>0.51903334240999999</c:v>
                </c:pt>
                <c:pt idx="192">
                  <c:v>-0.13178076571</c:v>
                </c:pt>
                <c:pt idx="193">
                  <c:v>0.19029108659999999</c:v>
                </c:pt>
                <c:pt idx="194">
                  <c:v>-0.18235012318999999</c:v>
                </c:pt>
                <c:pt idx="195">
                  <c:v>-6.1086956509999998E-2</c:v>
                </c:pt>
                <c:pt idx="196">
                  <c:v>-0.26960298885</c:v>
                </c:pt>
                <c:pt idx="197">
                  <c:v>-0.17487129984999999</c:v>
                </c:pt>
                <c:pt idx="198">
                  <c:v>-0.28104730268</c:v>
                </c:pt>
                <c:pt idx="199">
                  <c:v>-8.6444400079999997E-2</c:v>
                </c:pt>
                <c:pt idx="200">
                  <c:v>-0.35909683019999999</c:v>
                </c:pt>
                <c:pt idx="201">
                  <c:v>-0.13710461664000001</c:v>
                </c:pt>
                <c:pt idx="202">
                  <c:v>-0.28536163427</c:v>
                </c:pt>
                <c:pt idx="203">
                  <c:v>0.85544598842999997</c:v>
                </c:pt>
                <c:pt idx="204">
                  <c:v>-0.35651925426999997</c:v>
                </c:pt>
                <c:pt idx="205">
                  <c:v>0.54773869343000003</c:v>
                </c:pt>
                <c:pt idx="206">
                  <c:v>-0.41362007166999998</c:v>
                </c:pt>
                <c:pt idx="207">
                  <c:v>0.3517772871</c:v>
                </c:pt>
                <c:pt idx="208">
                  <c:v>0.11994320778000001</c:v>
                </c:pt>
                <c:pt idx="209">
                  <c:v>-0.10794847838</c:v>
                </c:pt>
                <c:pt idx="210">
                  <c:v>0.56375011635000005</c:v>
                </c:pt>
                <c:pt idx="211">
                  <c:v>-0.27717391303</c:v>
                </c:pt>
                <c:pt idx="212">
                  <c:v>0.70222617999000003</c:v>
                </c:pt>
                <c:pt idx="213">
                  <c:v>4.8109965300000002E-3</c:v>
                </c:pt>
                <c:pt idx="214">
                  <c:v>1.08581323768</c:v>
                </c:pt>
                <c:pt idx="215">
                  <c:v>-0.38196208714000002</c:v>
                </c:pt>
                <c:pt idx="216">
                  <c:v>0.34239640511000002</c:v>
                </c:pt>
                <c:pt idx="217">
                  <c:v>0.33171912834</c:v>
                </c:pt>
                <c:pt idx="218">
                  <c:v>7.4595842930000003E-2</c:v>
                </c:pt>
                <c:pt idx="219">
                  <c:v>0.96098981086000002</c:v>
                </c:pt>
                <c:pt idx="220">
                  <c:v>0.1803125729</c:v>
                </c:pt>
                <c:pt idx="221">
                  <c:v>1.57871345032</c:v>
                </c:pt>
                <c:pt idx="222">
                  <c:v>-0.19306191281000001</c:v>
                </c:pt>
                <c:pt idx="223">
                  <c:v>0.17263917062</c:v>
                </c:pt>
                <c:pt idx="224">
                  <c:v>0.42824020400000001</c:v>
                </c:pt>
                <c:pt idx="225">
                  <c:v>0.2105263158</c:v>
                </c:pt>
                <c:pt idx="226">
                  <c:v>0.69192339713999995</c:v>
                </c:pt>
                <c:pt idx="227">
                  <c:v>0.96265804179000003</c:v>
                </c:pt>
                <c:pt idx="228">
                  <c:v>0.98272884288999995</c:v>
                </c:pt>
                <c:pt idx="229">
                  <c:v>0.47811918060000003</c:v>
                </c:pt>
                <c:pt idx="230">
                  <c:v>0.77138879970999996</c:v>
                </c:pt>
                <c:pt idx="231">
                  <c:v>0.37757554941999999</c:v>
                </c:pt>
                <c:pt idx="232">
                  <c:v>0.75051646612</c:v>
                </c:pt>
                <c:pt idx="233">
                  <c:v>0.41619902727000002</c:v>
                </c:pt>
                <c:pt idx="234">
                  <c:v>0.23461538462000001</c:v>
                </c:pt>
                <c:pt idx="235">
                  <c:v>-0.24781886166</c:v>
                </c:pt>
                <c:pt idx="236">
                  <c:v>-5.0356693260000002E-2</c:v>
                </c:pt>
                <c:pt idx="237">
                  <c:v>-0.23030634574</c:v>
                </c:pt>
                <c:pt idx="238">
                  <c:v>-4.151376146E-2</c:v>
                </c:pt>
                <c:pt idx="239">
                  <c:v>-0.13609655393</c:v>
                </c:pt>
                <c:pt idx="240">
                  <c:v>0.10354822589</c:v>
                </c:pt>
                <c:pt idx="241">
                  <c:v>-2.2357723600000001E-2</c:v>
                </c:pt>
                <c:pt idx="242">
                  <c:v>-2.0413306480000001E-2</c:v>
                </c:pt>
                <c:pt idx="243">
                  <c:v>0.59384615386999995</c:v>
                </c:pt>
                <c:pt idx="244">
                  <c:v>-0.35974440894999998</c:v>
                </c:pt>
                <c:pt idx="245">
                  <c:v>0</c:v>
                </c:pt>
                <c:pt idx="246">
                  <c:v>-0.21706326176999999</c:v>
                </c:pt>
                <c:pt idx="247">
                  <c:v>0</c:v>
                </c:pt>
                <c:pt idx="248">
                  <c:v>-0.15999999997</c:v>
                </c:pt>
                <c:pt idx="249">
                  <c:v>-9.5205003489999995E-2</c:v>
                </c:pt>
                <c:pt idx="250">
                  <c:v>-0.11044776118999999</c:v>
                </c:pt>
                <c:pt idx="251">
                  <c:v>-0.37115481594999999</c:v>
                </c:pt>
                <c:pt idx="252">
                  <c:v>-0.35033444816999998</c:v>
                </c:pt>
                <c:pt idx="253">
                  <c:v>-0.56238404452000001</c:v>
                </c:pt>
                <c:pt idx="254">
                  <c:v>-8.5148514859999996E-2</c:v>
                </c:pt>
                <c:pt idx="255">
                  <c:v>-0.52232606437999995</c:v>
                </c:pt>
                <c:pt idx="256">
                  <c:v>-0.15782024063</c:v>
                </c:pt>
                <c:pt idx="257">
                  <c:v>0</c:v>
                </c:pt>
                <c:pt idx="258">
                  <c:v>-0.20170109352999999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-4.7001620750000001E-2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-6.6037735829999999E-2</c:v>
                </c:pt>
                <c:pt idx="268">
                  <c:v>0</c:v>
                </c:pt>
                <c:pt idx="269">
                  <c:v>-0.38630136988000002</c:v>
                </c:pt>
                <c:pt idx="270">
                  <c:v>-0.58238636363999996</c:v>
                </c:pt>
                <c:pt idx="271">
                  <c:v>0</c:v>
                </c:pt>
                <c:pt idx="272">
                  <c:v>-0.78593272170999995</c:v>
                </c:pt>
                <c:pt idx="273">
                  <c:v>0</c:v>
                </c:pt>
                <c:pt idx="274">
                  <c:v>-0.82509505702999997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.35849056601000001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-0.65827338129000001</c:v>
                </c:pt>
                <c:pt idx="283">
                  <c:v>0</c:v>
                </c:pt>
                <c:pt idx="284">
                  <c:v>0</c:v>
                </c:pt>
                <c:pt idx="285">
                  <c:v>-3.5398230099999997E-2</c:v>
                </c:pt>
                <c:pt idx="286">
                  <c:v>-0.76237623761999995</c:v>
                </c:pt>
                <c:pt idx="287">
                  <c:v>0</c:v>
                </c:pt>
                <c:pt idx="288">
                  <c:v>-0.77894736842000001</c:v>
                </c:pt>
                <c:pt idx="289">
                  <c:v>0</c:v>
                </c:pt>
                <c:pt idx="290">
                  <c:v>-0.39325842696000002</c:v>
                </c:pt>
                <c:pt idx="291">
                  <c:v>0</c:v>
                </c:pt>
                <c:pt idx="292">
                  <c:v>-0.76136363636000004</c:v>
                </c:pt>
                <c:pt idx="293">
                  <c:v>0</c:v>
                </c:pt>
                <c:pt idx="294">
                  <c:v>-0.81927710843000001</c:v>
                </c:pt>
                <c:pt idx="295">
                  <c:v>0</c:v>
                </c:pt>
                <c:pt idx="296">
                  <c:v>-0.68253968253999997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-0.77142857142999999</c:v>
                </c:pt>
                <c:pt idx="311">
                  <c:v>0</c:v>
                </c:pt>
                <c:pt idx="312">
                  <c:v>-0.81578947367999999</c:v>
                </c:pt>
                <c:pt idx="313">
                  <c:v>0</c:v>
                </c:pt>
                <c:pt idx="314">
                  <c:v>-0.59259259258999997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-0.57377049180999995</c:v>
                </c:pt>
                <c:pt idx="322">
                  <c:v>0</c:v>
                </c:pt>
                <c:pt idx="323">
                  <c:v>-0.51851851850999997</c:v>
                </c:pt>
                <c:pt idx="324">
                  <c:v>0</c:v>
                </c:pt>
                <c:pt idx="325">
                  <c:v>-0.43396226416</c:v>
                </c:pt>
                <c:pt idx="326">
                  <c:v>0</c:v>
                </c:pt>
                <c:pt idx="327">
                  <c:v>-0.82978723403999999</c:v>
                </c:pt>
                <c:pt idx="328">
                  <c:v>0</c:v>
                </c:pt>
                <c:pt idx="329">
                  <c:v>0</c:v>
                </c:pt>
                <c:pt idx="330">
                  <c:v>-0.96153846153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-0.80434782607999999</c:v>
                </c:pt>
                <c:pt idx="339">
                  <c:v>0</c:v>
                </c:pt>
                <c:pt idx="340">
                  <c:v>-0.88461538461</c:v>
                </c:pt>
                <c:pt idx="341">
                  <c:v>0</c:v>
                </c:pt>
                <c:pt idx="342">
                  <c:v>-0.92307692307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-0.84126984127000004</c:v>
                </c:pt>
                <c:pt idx="354">
                  <c:v>0</c:v>
                </c:pt>
                <c:pt idx="355">
                  <c:v>-0.70149253731000005</c:v>
                </c:pt>
                <c:pt idx="356">
                  <c:v>0.26893939392999999</c:v>
                </c:pt>
                <c:pt idx="357">
                  <c:v>-0.55223880596999997</c:v>
                </c:pt>
                <c:pt idx="358">
                  <c:v>0.34246575342000002</c:v>
                </c:pt>
                <c:pt idx="359">
                  <c:v>-0.5625</c:v>
                </c:pt>
                <c:pt idx="360">
                  <c:v>-0.53086419753000003</c:v>
                </c:pt>
                <c:pt idx="361">
                  <c:v>0</c:v>
                </c:pt>
                <c:pt idx="362">
                  <c:v>-0.71153846154</c:v>
                </c:pt>
                <c:pt idx="363">
                  <c:v>0</c:v>
                </c:pt>
                <c:pt idx="364">
                  <c:v>-0.88815789473999995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-0.22033898304999999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-0.7380952381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-0.70703124999</c:v>
                </c:pt>
                <c:pt idx="392">
                  <c:v>0</c:v>
                </c:pt>
                <c:pt idx="393">
                  <c:v>-0.72799999998999998</c:v>
                </c:pt>
                <c:pt idx="394">
                  <c:v>0</c:v>
                </c:pt>
                <c:pt idx="395">
                  <c:v>-0.51754385964000005</c:v>
                </c:pt>
                <c:pt idx="396">
                  <c:v>0</c:v>
                </c:pt>
                <c:pt idx="397">
                  <c:v>-0.45442359250999997</c:v>
                </c:pt>
                <c:pt idx="398">
                  <c:v>0</c:v>
                </c:pt>
                <c:pt idx="399">
                  <c:v>0.62765957443999998</c:v>
                </c:pt>
                <c:pt idx="400">
                  <c:v>0</c:v>
                </c:pt>
                <c:pt idx="401">
                  <c:v>0</c:v>
                </c:pt>
                <c:pt idx="402">
                  <c:v>-0.19791666666999999</c:v>
                </c:pt>
                <c:pt idx="403">
                  <c:v>0</c:v>
                </c:pt>
                <c:pt idx="404">
                  <c:v>-0.22710951525</c:v>
                </c:pt>
                <c:pt idx="405">
                  <c:v>0</c:v>
                </c:pt>
                <c:pt idx="406">
                  <c:v>-0.63333333333999997</c:v>
                </c:pt>
                <c:pt idx="407">
                  <c:v>0</c:v>
                </c:pt>
                <c:pt idx="408">
                  <c:v>-0.70551181102000005</c:v>
                </c:pt>
                <c:pt idx="409">
                  <c:v>0</c:v>
                </c:pt>
                <c:pt idx="410">
                  <c:v>-0.74293059126000005</c:v>
                </c:pt>
                <c:pt idx="411">
                  <c:v>0</c:v>
                </c:pt>
                <c:pt idx="412">
                  <c:v>-0.74991068238000003</c:v>
                </c:pt>
                <c:pt idx="413">
                  <c:v>0</c:v>
                </c:pt>
                <c:pt idx="414">
                  <c:v>-3.1645569599999999E-3</c:v>
                </c:pt>
                <c:pt idx="415">
                  <c:v>-9.7289785000000007E-3</c:v>
                </c:pt>
                <c:pt idx="416">
                  <c:v>0</c:v>
                </c:pt>
                <c:pt idx="417">
                  <c:v>0.10439247013</c:v>
                </c:pt>
                <c:pt idx="418">
                  <c:v>0</c:v>
                </c:pt>
                <c:pt idx="419">
                  <c:v>-0.26562499997</c:v>
                </c:pt>
                <c:pt idx="420">
                  <c:v>0</c:v>
                </c:pt>
                <c:pt idx="421">
                  <c:v>0.2568735271</c:v>
                </c:pt>
                <c:pt idx="422">
                  <c:v>0.78177551818000002</c:v>
                </c:pt>
                <c:pt idx="423">
                  <c:v>-1.8346437930000001E-2</c:v>
                </c:pt>
                <c:pt idx="424">
                  <c:v>-0.39414188665</c:v>
                </c:pt>
                <c:pt idx="425">
                  <c:v>-6.0140754980000002E-2</c:v>
                </c:pt>
                <c:pt idx="426">
                  <c:v>-0.33997194952999998</c:v>
                </c:pt>
                <c:pt idx="427">
                  <c:v>2.32778062523</c:v>
                </c:pt>
                <c:pt idx="428">
                  <c:v>0.64625850347000002</c:v>
                </c:pt>
                <c:pt idx="429">
                  <c:v>1.1451296152199999</c:v>
                </c:pt>
                <c:pt idx="430">
                  <c:v>3.8240421287599999</c:v>
                </c:pt>
                <c:pt idx="431">
                  <c:v>0.12197879859999999</c:v>
                </c:pt>
                <c:pt idx="432">
                  <c:v>0.61328125003</c:v>
                </c:pt>
                <c:pt idx="433">
                  <c:v>-0.16275691771</c:v>
                </c:pt>
                <c:pt idx="434">
                  <c:v>0.22615967183999999</c:v>
                </c:pt>
                <c:pt idx="435">
                  <c:v>-0.26800060634</c:v>
                </c:pt>
                <c:pt idx="436">
                  <c:v>-0.3894646585</c:v>
                </c:pt>
                <c:pt idx="437">
                  <c:v>-0.1436597111</c:v>
                </c:pt>
                <c:pt idx="438">
                  <c:v>-0.45541385469000001</c:v>
                </c:pt>
                <c:pt idx="439">
                  <c:v>-0.25193591452000003</c:v>
                </c:pt>
                <c:pt idx="440">
                  <c:v>-0.41113969642999998</c:v>
                </c:pt>
                <c:pt idx="441">
                  <c:v>9.4736842109999997E-2</c:v>
                </c:pt>
                <c:pt idx="442">
                  <c:v>-3.64129984E-2</c:v>
                </c:pt>
                <c:pt idx="443">
                  <c:v>-4.7808764920000003E-2</c:v>
                </c:pt>
                <c:pt idx="444">
                  <c:v>0.68112414252999998</c:v>
                </c:pt>
                <c:pt idx="445">
                  <c:v>0.12774302988</c:v>
                </c:pt>
                <c:pt idx="446">
                  <c:v>0.70348424798999998</c:v>
                </c:pt>
                <c:pt idx="447">
                  <c:v>-1.5101817700000001E-2</c:v>
                </c:pt>
                <c:pt idx="448">
                  <c:v>0.38033507042999998</c:v>
                </c:pt>
                <c:pt idx="449">
                  <c:v>3.032610074E-2</c:v>
                </c:pt>
                <c:pt idx="450">
                  <c:v>-7.5476886059999998E-2</c:v>
                </c:pt>
                <c:pt idx="451">
                  <c:v>5.257300183E-2</c:v>
                </c:pt>
                <c:pt idx="452">
                  <c:v>-6.6092459160000006E-2</c:v>
                </c:pt>
                <c:pt idx="453">
                  <c:v>0.42805351755999999</c:v>
                </c:pt>
                <c:pt idx="454">
                  <c:v>-8.0350310369999997E-2</c:v>
                </c:pt>
                <c:pt idx="455">
                  <c:v>0.59765699035999997</c:v>
                </c:pt>
                <c:pt idx="456">
                  <c:v>-9.0999748089999999E-2</c:v>
                </c:pt>
                <c:pt idx="457">
                  <c:v>0.25060907110000002</c:v>
                </c:pt>
                <c:pt idx="458">
                  <c:v>-7.9709548099999999E-2</c:v>
                </c:pt>
                <c:pt idx="459">
                  <c:v>0.36516313334</c:v>
                </c:pt>
                <c:pt idx="460">
                  <c:v>7.658892397E-2</c:v>
                </c:pt>
                <c:pt idx="461">
                  <c:v>0.24665778100999999</c:v>
                </c:pt>
                <c:pt idx="462">
                  <c:v>0.15440460455999999</c:v>
                </c:pt>
                <c:pt idx="463">
                  <c:v>1.4697286709699999</c:v>
                </c:pt>
                <c:pt idx="464">
                  <c:v>-0.30156082234999998</c:v>
                </c:pt>
                <c:pt idx="465">
                  <c:v>0.85960243332999997</c:v>
                </c:pt>
                <c:pt idx="466">
                  <c:v>-0.42770444121000001</c:v>
                </c:pt>
                <c:pt idx="467">
                  <c:v>0.44460823226000001</c:v>
                </c:pt>
                <c:pt idx="468">
                  <c:v>-0.34673076926000002</c:v>
                </c:pt>
                <c:pt idx="469">
                  <c:v>0.85934065932000003</c:v>
                </c:pt>
                <c:pt idx="470">
                  <c:v>-0.12695314422000001</c:v>
                </c:pt>
                <c:pt idx="471">
                  <c:v>1.72439504143</c:v>
                </c:pt>
                <c:pt idx="472">
                  <c:v>-9.0692007769999999E-2</c:v>
                </c:pt>
                <c:pt idx="473">
                  <c:v>0.46587591238999998</c:v>
                </c:pt>
                <c:pt idx="474">
                  <c:v>-0.24858342348000001</c:v>
                </c:pt>
                <c:pt idx="475">
                  <c:v>-0.18983826174000001</c:v>
                </c:pt>
                <c:pt idx="476">
                  <c:v>-0.23367848366999999</c:v>
                </c:pt>
                <c:pt idx="477">
                  <c:v>-0.4079457038</c:v>
                </c:pt>
                <c:pt idx="478">
                  <c:v>-0.10700218818</c:v>
                </c:pt>
                <c:pt idx="479">
                  <c:v>-0.35644143092000002</c:v>
                </c:pt>
                <c:pt idx="480">
                  <c:v>-0.13720276144999999</c:v>
                </c:pt>
                <c:pt idx="481">
                  <c:v>6.8516570250000006E-2</c:v>
                </c:pt>
                <c:pt idx="482">
                  <c:v>-0.22470620388000001</c:v>
                </c:pt>
                <c:pt idx="483">
                  <c:v>0.12397420868</c:v>
                </c:pt>
                <c:pt idx="484">
                  <c:v>0.21204664299000001</c:v>
                </c:pt>
                <c:pt idx="485">
                  <c:v>0.52893374741999999</c:v>
                </c:pt>
                <c:pt idx="486">
                  <c:v>-7.3743904809999997E-2</c:v>
                </c:pt>
                <c:pt idx="487">
                  <c:v>0.44200175872000003</c:v>
                </c:pt>
                <c:pt idx="488">
                  <c:v>8.1009010559999997E-2</c:v>
                </c:pt>
                <c:pt idx="489">
                  <c:v>0.22455332969</c:v>
                </c:pt>
                <c:pt idx="490">
                  <c:v>-4.5226130650000002E-2</c:v>
                </c:pt>
                <c:pt idx="491">
                  <c:v>-0.17678523671999999</c:v>
                </c:pt>
                <c:pt idx="492">
                  <c:v>-0.32315244067999999</c:v>
                </c:pt>
                <c:pt idx="493">
                  <c:v>-0.32624693375000002</c:v>
                </c:pt>
                <c:pt idx="494">
                  <c:v>0.40774980333999999</c:v>
                </c:pt>
                <c:pt idx="495">
                  <c:v>-0.47306629833000002</c:v>
                </c:pt>
                <c:pt idx="496">
                  <c:v>0.84796700065999997</c:v>
                </c:pt>
                <c:pt idx="497">
                  <c:v>-0.12801556420999999</c:v>
                </c:pt>
                <c:pt idx="498">
                  <c:v>0.12633868807000001</c:v>
                </c:pt>
                <c:pt idx="499">
                  <c:v>-0.14289655174999999</c:v>
                </c:pt>
                <c:pt idx="500">
                  <c:v>-0.12410010283</c:v>
                </c:pt>
                <c:pt idx="501">
                  <c:v>-0.10868841545000001</c:v>
                </c:pt>
                <c:pt idx="502">
                  <c:v>-0.37369238313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DCC-406F-80CC-496A6C4931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JIP_v_den_pozitivity65_7dni_z_HOSP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5.6338028169E-2</c:v>
                </c:pt>
                <c:pt idx="1">
                  <c:v>6.9444444443999997E-2</c:v>
                </c:pt>
                <c:pt idx="2">
                  <c:v>6.4102564102000006E-2</c:v>
                </c:pt>
                <c:pt idx="3">
                  <c:v>0.107142857142</c:v>
                </c:pt>
                <c:pt idx="4">
                  <c:v>8.2474226804000003E-2</c:v>
                </c:pt>
                <c:pt idx="5">
                  <c:v>0.102803738317</c:v>
                </c:pt>
                <c:pt idx="6">
                  <c:v>9.0163934426E-2</c:v>
                </c:pt>
                <c:pt idx="7">
                  <c:v>7.9365079364999994E-2</c:v>
                </c:pt>
                <c:pt idx="8">
                  <c:v>8.8435374149000004E-2</c:v>
                </c:pt>
                <c:pt idx="9">
                  <c:v>9.4594594594000006E-2</c:v>
                </c:pt>
                <c:pt idx="10">
                  <c:v>7.1005917158999995E-2</c:v>
                </c:pt>
                <c:pt idx="11">
                  <c:v>9.4117647058000006E-2</c:v>
                </c:pt>
                <c:pt idx="12">
                  <c:v>7.8651685393000006E-2</c:v>
                </c:pt>
                <c:pt idx="13">
                  <c:v>9.0425531914000004E-2</c:v>
                </c:pt>
                <c:pt idx="14">
                  <c:v>9.4594594594000006E-2</c:v>
                </c:pt>
                <c:pt idx="15">
                  <c:v>8.1896551723999997E-2</c:v>
                </c:pt>
                <c:pt idx="16">
                  <c:v>8.4175084174999998E-2</c:v>
                </c:pt>
                <c:pt idx="17">
                  <c:v>7.6677316292999995E-2</c:v>
                </c:pt>
                <c:pt idx="18">
                  <c:v>7.3746312684000004E-2</c:v>
                </c:pt>
                <c:pt idx="19">
                  <c:v>8.5470085469999998E-2</c:v>
                </c:pt>
                <c:pt idx="20">
                  <c:v>8.0729166665999996E-2</c:v>
                </c:pt>
                <c:pt idx="21">
                  <c:v>8.7939698492000007E-2</c:v>
                </c:pt>
                <c:pt idx="22">
                  <c:v>9.2165898617000003E-2</c:v>
                </c:pt>
                <c:pt idx="23">
                  <c:v>9.6551724137E-2</c:v>
                </c:pt>
                <c:pt idx="24">
                  <c:v>0.10359408033799999</c:v>
                </c:pt>
                <c:pt idx="25">
                  <c:v>0.1</c:v>
                </c:pt>
                <c:pt idx="26">
                  <c:v>9.3690248564999995E-2</c:v>
                </c:pt>
                <c:pt idx="27">
                  <c:v>0.1</c:v>
                </c:pt>
                <c:pt idx="28">
                  <c:v>8.3892617449000007E-2</c:v>
                </c:pt>
                <c:pt idx="29">
                  <c:v>7.4074074074000004E-2</c:v>
                </c:pt>
                <c:pt idx="30">
                  <c:v>7.2463768114999993E-2</c:v>
                </c:pt>
                <c:pt idx="31">
                  <c:v>6.8965517241000002E-2</c:v>
                </c:pt>
                <c:pt idx="32">
                  <c:v>8.1151832460000003E-2</c:v>
                </c:pt>
                <c:pt idx="33">
                  <c:v>8.7438423644999999E-2</c:v>
                </c:pt>
                <c:pt idx="34">
                  <c:v>8.2714740189999997E-2</c:v>
                </c:pt>
                <c:pt idx="35">
                  <c:v>8.8321884200000006E-2</c:v>
                </c:pt>
                <c:pt idx="36">
                  <c:v>9.5365418894000006E-2</c:v>
                </c:pt>
                <c:pt idx="37">
                  <c:v>8.5918854414999996E-2</c:v>
                </c:pt>
                <c:pt idx="38">
                  <c:v>8.6956521738999995E-2</c:v>
                </c:pt>
                <c:pt idx="39">
                  <c:v>8.3730428863E-2</c:v>
                </c:pt>
                <c:pt idx="40">
                  <c:v>8.0550098230999997E-2</c:v>
                </c:pt>
                <c:pt idx="41">
                  <c:v>7.5685339690000006E-2</c:v>
                </c:pt>
                <c:pt idx="42">
                  <c:v>7.1268237934000001E-2</c:v>
                </c:pt>
                <c:pt idx="43">
                  <c:v>6.5410779695999996E-2</c:v>
                </c:pt>
                <c:pt idx="44">
                  <c:v>6.5401897153999994E-2</c:v>
                </c:pt>
                <c:pt idx="45">
                  <c:v>6.3691306369E-2</c:v>
                </c:pt>
                <c:pt idx="46">
                  <c:v>5.5483870966999999E-2</c:v>
                </c:pt>
                <c:pt idx="47">
                  <c:v>5.4640417837999999E-2</c:v>
                </c:pt>
                <c:pt idx="48">
                  <c:v>5.3747161240999999E-2</c:v>
                </c:pt>
                <c:pt idx="49">
                  <c:v>5.3883834849000001E-2</c:v>
                </c:pt>
                <c:pt idx="50">
                  <c:v>5.2096569250000002E-2</c:v>
                </c:pt>
                <c:pt idx="51">
                  <c:v>5.3703157272999999E-2</c:v>
                </c:pt>
                <c:pt idx="52">
                  <c:v>5.2209944750999999E-2</c:v>
                </c:pt>
                <c:pt idx="53">
                  <c:v>5.4347826086000001E-2</c:v>
                </c:pt>
                <c:pt idx="54">
                  <c:v>5.6174089067999998E-2</c:v>
                </c:pt>
                <c:pt idx="55">
                  <c:v>5.7542031729999998E-2</c:v>
                </c:pt>
                <c:pt idx="56">
                  <c:v>5.6007226738000002E-2</c:v>
                </c:pt>
                <c:pt idx="57">
                  <c:v>5.4753722794000002E-2</c:v>
                </c:pt>
                <c:pt idx="58">
                  <c:v>5.4633930545999999E-2</c:v>
                </c:pt>
                <c:pt idx="59">
                  <c:v>5.3327734621000003E-2</c:v>
                </c:pt>
                <c:pt idx="60">
                  <c:v>5.4863895336000001E-2</c:v>
                </c:pt>
                <c:pt idx="61">
                  <c:v>5.4106073567E-2</c:v>
                </c:pt>
                <c:pt idx="62">
                  <c:v>5.2395209579999998E-2</c:v>
                </c:pt>
                <c:pt idx="63">
                  <c:v>5.0541516245000001E-2</c:v>
                </c:pt>
                <c:pt idx="64">
                  <c:v>5.0569948185999997E-2</c:v>
                </c:pt>
                <c:pt idx="65">
                  <c:v>5.1085568326000003E-2</c:v>
                </c:pt>
                <c:pt idx="66">
                  <c:v>5.1259193224000001E-2</c:v>
                </c:pt>
                <c:pt idx="67">
                  <c:v>4.8885857206999998E-2</c:v>
                </c:pt>
                <c:pt idx="68">
                  <c:v>4.7067006723000002E-2</c:v>
                </c:pt>
                <c:pt idx="69">
                  <c:v>4.6623407834E-2</c:v>
                </c:pt>
                <c:pt idx="70">
                  <c:v>4.6836073741000003E-2</c:v>
                </c:pt>
                <c:pt idx="71">
                  <c:v>4.6021840873E-2</c:v>
                </c:pt>
                <c:pt idx="72">
                  <c:v>4.2530282636999997E-2</c:v>
                </c:pt>
                <c:pt idx="73">
                  <c:v>4.0373523756999999E-2</c:v>
                </c:pt>
                <c:pt idx="74">
                  <c:v>3.9484738168000001E-2</c:v>
                </c:pt>
                <c:pt idx="75">
                  <c:v>3.8584276181999999E-2</c:v>
                </c:pt>
                <c:pt idx="76">
                  <c:v>3.6835748792000002E-2</c:v>
                </c:pt>
                <c:pt idx="77">
                  <c:v>3.7679226407999998E-2</c:v>
                </c:pt>
                <c:pt idx="78">
                  <c:v>3.8903924221000002E-2</c:v>
                </c:pt>
                <c:pt idx="79">
                  <c:v>3.6458333332999998E-2</c:v>
                </c:pt>
                <c:pt idx="80">
                  <c:v>3.8707252912000001E-2</c:v>
                </c:pt>
                <c:pt idx="81">
                  <c:v>4.1245136186000002E-2</c:v>
                </c:pt>
                <c:pt idx="82">
                  <c:v>4.0840602695999997E-2</c:v>
                </c:pt>
                <c:pt idx="83">
                  <c:v>3.9183673469000001E-2</c:v>
                </c:pt>
                <c:pt idx="84">
                  <c:v>3.8043478259999999E-2</c:v>
                </c:pt>
                <c:pt idx="85">
                  <c:v>4.0849673202000003E-2</c:v>
                </c:pt>
                <c:pt idx="86">
                  <c:v>4.253509145E-2</c:v>
                </c:pt>
                <c:pt idx="87">
                  <c:v>4.1903099083000002E-2</c:v>
                </c:pt>
                <c:pt idx="88">
                  <c:v>4.0142729704999998E-2</c:v>
                </c:pt>
                <c:pt idx="89">
                  <c:v>4.1095890410000002E-2</c:v>
                </c:pt>
                <c:pt idx="90">
                  <c:v>4.6604527296000002E-2</c:v>
                </c:pt>
                <c:pt idx="91">
                  <c:v>4.5794392523000001E-2</c:v>
                </c:pt>
                <c:pt idx="92">
                  <c:v>4.6102661596000002E-2</c:v>
                </c:pt>
                <c:pt idx="93">
                  <c:v>5.1708217913000003E-2</c:v>
                </c:pt>
                <c:pt idx="94">
                  <c:v>5.1924798566999997E-2</c:v>
                </c:pt>
                <c:pt idx="95">
                  <c:v>5.1647373107000003E-2</c:v>
                </c:pt>
                <c:pt idx="96">
                  <c:v>5.2725647899E-2</c:v>
                </c:pt>
                <c:pt idx="97">
                  <c:v>4.8736462092999998E-2</c:v>
                </c:pt>
                <c:pt idx="98">
                  <c:v>5.0224215246000001E-2</c:v>
                </c:pt>
                <c:pt idx="99">
                  <c:v>4.7370708386999999E-2</c:v>
                </c:pt>
                <c:pt idx="100">
                  <c:v>4.2850896370000002E-2</c:v>
                </c:pt>
                <c:pt idx="101">
                  <c:v>4.3010752687999997E-2</c:v>
                </c:pt>
                <c:pt idx="102">
                  <c:v>4.3821209464999997E-2</c:v>
                </c:pt>
                <c:pt idx="103">
                  <c:v>4.3159257659999999E-2</c:v>
                </c:pt>
                <c:pt idx="104">
                  <c:v>4.5513095748999997E-2</c:v>
                </c:pt>
                <c:pt idx="105">
                  <c:v>4.1701417848000001E-2</c:v>
                </c:pt>
                <c:pt idx="106">
                  <c:v>4.4198895027000001E-2</c:v>
                </c:pt>
                <c:pt idx="107">
                  <c:v>4.3367346937999998E-2</c:v>
                </c:pt>
                <c:pt idx="108">
                  <c:v>3.8032244728999999E-2</c:v>
                </c:pt>
                <c:pt idx="109">
                  <c:v>3.7390943082E-2</c:v>
                </c:pt>
                <c:pt idx="110">
                  <c:v>3.7587773647E-2</c:v>
                </c:pt>
                <c:pt idx="111">
                  <c:v>3.4369885433E-2</c:v>
                </c:pt>
                <c:pt idx="112">
                  <c:v>3.9489429596999998E-2</c:v>
                </c:pt>
                <c:pt idx="113">
                  <c:v>3.8372985418000001E-2</c:v>
                </c:pt>
                <c:pt idx="114">
                  <c:v>3.9215686274000003E-2</c:v>
                </c:pt>
                <c:pt idx="115">
                  <c:v>4.4389642415999998E-2</c:v>
                </c:pt>
                <c:pt idx="116">
                  <c:v>4.4839582528000001E-2</c:v>
                </c:pt>
                <c:pt idx="117">
                  <c:v>4.5454545454000003E-2</c:v>
                </c:pt>
                <c:pt idx="118">
                  <c:v>4.8398091342000002E-2</c:v>
                </c:pt>
                <c:pt idx="119">
                  <c:v>4.8428479794000001E-2</c:v>
                </c:pt>
                <c:pt idx="120">
                  <c:v>4.8712379770000001E-2</c:v>
                </c:pt>
                <c:pt idx="121">
                  <c:v>4.8994619087999999E-2</c:v>
                </c:pt>
                <c:pt idx="122">
                  <c:v>4.8285322359000002E-2</c:v>
                </c:pt>
                <c:pt idx="123">
                  <c:v>4.7225186766000002E-2</c:v>
                </c:pt>
                <c:pt idx="124">
                  <c:v>4.6920052423999999E-2</c:v>
                </c:pt>
                <c:pt idx="125">
                  <c:v>4.5246568378E-2</c:v>
                </c:pt>
                <c:pt idx="126">
                  <c:v>4.3381259295000002E-2</c:v>
                </c:pt>
                <c:pt idx="127">
                  <c:v>4.2348411933999998E-2</c:v>
                </c:pt>
                <c:pt idx="128">
                  <c:v>3.9953271027999997E-2</c:v>
                </c:pt>
                <c:pt idx="129">
                  <c:v>3.9668310174E-2</c:v>
                </c:pt>
                <c:pt idx="130">
                  <c:v>3.9446837451E-2</c:v>
                </c:pt>
                <c:pt idx="131">
                  <c:v>4.0192926045000001E-2</c:v>
                </c:pt>
                <c:pt idx="132">
                  <c:v>3.8679245282999999E-2</c:v>
                </c:pt>
                <c:pt idx="133">
                  <c:v>3.7878787878000003E-2</c:v>
                </c:pt>
                <c:pt idx="134">
                  <c:v>3.7547892720000003E-2</c:v>
                </c:pt>
                <c:pt idx="135">
                  <c:v>4.0161725066999998E-2</c:v>
                </c:pt>
                <c:pt idx="136">
                  <c:v>4.039845047E-2</c:v>
                </c:pt>
                <c:pt idx="137">
                  <c:v>4.0079590675999997E-2</c:v>
                </c:pt>
                <c:pt idx="138">
                  <c:v>3.7585084344E-2</c:v>
                </c:pt>
                <c:pt idx="139">
                  <c:v>4.1041347626000001E-2</c:v>
                </c:pt>
                <c:pt idx="140">
                  <c:v>4.4733502538E-2</c:v>
                </c:pt>
                <c:pt idx="141">
                  <c:v>4.5527412631999997E-2</c:v>
                </c:pt>
                <c:pt idx="142">
                  <c:v>4.3879907620999997E-2</c:v>
                </c:pt>
                <c:pt idx="143">
                  <c:v>4.3800539083000002E-2</c:v>
                </c:pt>
                <c:pt idx="144">
                  <c:v>4.4217687073999999E-2</c:v>
                </c:pt>
                <c:pt idx="145">
                  <c:v>4.5330606680000003E-2</c:v>
                </c:pt>
                <c:pt idx="146">
                  <c:v>4.4459881903000001E-2</c:v>
                </c:pt>
                <c:pt idx="147">
                  <c:v>4.2837078650999998E-2</c:v>
                </c:pt>
                <c:pt idx="148">
                  <c:v>3.8420490927999998E-2</c:v>
                </c:pt>
                <c:pt idx="149">
                  <c:v>3.8998211090999997E-2</c:v>
                </c:pt>
                <c:pt idx="150">
                  <c:v>4.0638606676E-2</c:v>
                </c:pt>
                <c:pt idx="151">
                  <c:v>4.0980607390999998E-2</c:v>
                </c:pt>
                <c:pt idx="152">
                  <c:v>4.1636230825000002E-2</c:v>
                </c:pt>
                <c:pt idx="153">
                  <c:v>4.1606886656999999E-2</c:v>
                </c:pt>
                <c:pt idx="154">
                  <c:v>3.7892457595999997E-2</c:v>
                </c:pt>
                <c:pt idx="155">
                  <c:v>4.1816870944000002E-2</c:v>
                </c:pt>
                <c:pt idx="156">
                  <c:v>4.3725559900000002E-2</c:v>
                </c:pt>
                <c:pt idx="157">
                  <c:v>4.3944265809000002E-2</c:v>
                </c:pt>
                <c:pt idx="158">
                  <c:v>4.4919786096000003E-2</c:v>
                </c:pt>
                <c:pt idx="159">
                  <c:v>4.3045179651E-2</c:v>
                </c:pt>
                <c:pt idx="160">
                  <c:v>4.2293906809999997E-2</c:v>
                </c:pt>
                <c:pt idx="161">
                  <c:v>4.5552367288000002E-2</c:v>
                </c:pt>
                <c:pt idx="162">
                  <c:v>4.8842257596999998E-2</c:v>
                </c:pt>
                <c:pt idx="163">
                  <c:v>4.5997826874000003E-2</c:v>
                </c:pt>
                <c:pt idx="164">
                  <c:v>4.2116630669000003E-2</c:v>
                </c:pt>
                <c:pt idx="165">
                  <c:v>3.9956803455000002E-2</c:v>
                </c:pt>
                <c:pt idx="166">
                  <c:v>3.9971949509000002E-2</c:v>
                </c:pt>
                <c:pt idx="167">
                  <c:v>4.0028338646E-2</c:v>
                </c:pt>
                <c:pt idx="168">
                  <c:v>4.1434540388999998E-2</c:v>
                </c:pt>
                <c:pt idx="169">
                  <c:v>4.3129388163999999E-2</c:v>
                </c:pt>
                <c:pt idx="170">
                  <c:v>4.2077580539000001E-2</c:v>
                </c:pt>
                <c:pt idx="171">
                  <c:v>4.3701799484999998E-2</c:v>
                </c:pt>
                <c:pt idx="172">
                  <c:v>4.5799115602999999E-2</c:v>
                </c:pt>
                <c:pt idx="173">
                  <c:v>4.8619824340999998E-2</c:v>
                </c:pt>
                <c:pt idx="174">
                  <c:v>4.6462192529000003E-2</c:v>
                </c:pt>
                <c:pt idx="175">
                  <c:v>4.4324648097999998E-2</c:v>
                </c:pt>
                <c:pt idx="176">
                  <c:v>4.1480155177000003E-2</c:v>
                </c:pt>
                <c:pt idx="177">
                  <c:v>4.2786932638999998E-2</c:v>
                </c:pt>
                <c:pt idx="178">
                  <c:v>4.0490447675999998E-2</c:v>
                </c:pt>
                <c:pt idx="179">
                  <c:v>3.9346079245999997E-2</c:v>
                </c:pt>
                <c:pt idx="180">
                  <c:v>3.7880867415999997E-2</c:v>
                </c:pt>
                <c:pt idx="181">
                  <c:v>3.9705495660999998E-2</c:v>
                </c:pt>
                <c:pt idx="182">
                  <c:v>4.1315990817999998E-2</c:v>
                </c:pt>
                <c:pt idx="183">
                  <c:v>3.9795918366999999E-2</c:v>
                </c:pt>
                <c:pt idx="184">
                  <c:v>3.9416432044999998E-2</c:v>
                </c:pt>
                <c:pt idx="185">
                  <c:v>4.1867546307999999E-2</c:v>
                </c:pt>
                <c:pt idx="186">
                  <c:v>4.0660736975E-2</c:v>
                </c:pt>
                <c:pt idx="187">
                  <c:v>3.9596469103999998E-2</c:v>
                </c:pt>
                <c:pt idx="188">
                  <c:v>3.8937596699000002E-2</c:v>
                </c:pt>
                <c:pt idx="189">
                  <c:v>3.4996082528000003E-2</c:v>
                </c:pt>
                <c:pt idx="190">
                  <c:v>3.5677879714000001E-2</c:v>
                </c:pt>
                <c:pt idx="191">
                  <c:v>3.6266801926999999E-2</c:v>
                </c:pt>
                <c:pt idx="192">
                  <c:v>3.3932641174000001E-2</c:v>
                </c:pt>
                <c:pt idx="193">
                  <c:v>3.6520415925999999E-2</c:v>
                </c:pt>
                <c:pt idx="194">
                  <c:v>3.6270753512000001E-2</c:v>
                </c:pt>
                <c:pt idx="195">
                  <c:v>3.3324788515000002E-2</c:v>
                </c:pt>
                <c:pt idx="196">
                  <c:v>3.5723530933999999E-2</c:v>
                </c:pt>
                <c:pt idx="197">
                  <c:v>3.2637774209999998E-2</c:v>
                </c:pt>
                <c:pt idx="198">
                  <c:v>3.1429352282E-2</c:v>
                </c:pt>
                <c:pt idx="199">
                  <c:v>3.2942490227999999E-2</c:v>
                </c:pt>
                <c:pt idx="200">
                  <c:v>3.0137772675000001E-2</c:v>
                </c:pt>
                <c:pt idx="201">
                  <c:v>3.0498533724E-2</c:v>
                </c:pt>
                <c:pt idx="202">
                  <c:v>3.4852546916000003E-2</c:v>
                </c:pt>
                <c:pt idx="203">
                  <c:v>3.3866995072999999E-2</c:v>
                </c:pt>
                <c:pt idx="204">
                  <c:v>3.7071651089999998E-2</c:v>
                </c:pt>
                <c:pt idx="205">
                  <c:v>3.6507936507000002E-2</c:v>
                </c:pt>
                <c:pt idx="206">
                  <c:v>3.5472428248000003E-2</c:v>
                </c:pt>
                <c:pt idx="207">
                  <c:v>3.6164029706000002E-2</c:v>
                </c:pt>
                <c:pt idx="208">
                  <c:v>3.6458333332999998E-2</c:v>
                </c:pt>
                <c:pt idx="209">
                  <c:v>3.3779264214000002E-2</c:v>
                </c:pt>
                <c:pt idx="210">
                  <c:v>3.3241946538E-2</c:v>
                </c:pt>
                <c:pt idx="211">
                  <c:v>3.2734952481000001E-2</c:v>
                </c:pt>
                <c:pt idx="212">
                  <c:v>3.3261026753000002E-2</c:v>
                </c:pt>
                <c:pt idx="213">
                  <c:v>3.3677765020999999E-2</c:v>
                </c:pt>
                <c:pt idx="214">
                  <c:v>3.2690035446999999E-2</c:v>
                </c:pt>
                <c:pt idx="215">
                  <c:v>3.0266343825E-2</c:v>
                </c:pt>
                <c:pt idx="216">
                  <c:v>3.1432420295999998E-2</c:v>
                </c:pt>
                <c:pt idx="217">
                  <c:v>3.1404217137E-2</c:v>
                </c:pt>
                <c:pt idx="218">
                  <c:v>3.2833020636999999E-2</c:v>
                </c:pt>
                <c:pt idx="219">
                  <c:v>3.8005922999999997E-2</c:v>
                </c:pt>
                <c:pt idx="220">
                  <c:v>3.8118811880999998E-2</c:v>
                </c:pt>
                <c:pt idx="221">
                  <c:v>4.1709577753999999E-2</c:v>
                </c:pt>
                <c:pt idx="222">
                  <c:v>4.6311254710999998E-2</c:v>
                </c:pt>
                <c:pt idx="223">
                  <c:v>4.8754636988999997E-2</c:v>
                </c:pt>
                <c:pt idx="224">
                  <c:v>5.4398148148000001E-2</c:v>
                </c:pt>
                <c:pt idx="225">
                  <c:v>5.1466187911000001E-2</c:v>
                </c:pt>
                <c:pt idx="226">
                  <c:v>4.4099378880999997E-2</c:v>
                </c:pt>
                <c:pt idx="227">
                  <c:v>4.6022353714E-2</c:v>
                </c:pt>
                <c:pt idx="228">
                  <c:v>4.5423728812999997E-2</c:v>
                </c:pt>
                <c:pt idx="229">
                  <c:v>4.1208791208000001E-2</c:v>
                </c:pt>
                <c:pt idx="230">
                  <c:v>4.3727598566000003E-2</c:v>
                </c:pt>
                <c:pt idx="231">
                  <c:v>3.9611360238999999E-2</c:v>
                </c:pt>
                <c:pt idx="232">
                  <c:v>4.1731066460000001E-2</c:v>
                </c:pt>
                <c:pt idx="233">
                  <c:v>4.8465266558E-2</c:v>
                </c:pt>
                <c:pt idx="234">
                  <c:v>5.3344623200000003E-2</c:v>
                </c:pt>
                <c:pt idx="235">
                  <c:v>5.5103884371999999E-2</c:v>
                </c:pt>
                <c:pt idx="236">
                  <c:v>6.1378659112000002E-2</c:v>
                </c:pt>
                <c:pt idx="237">
                  <c:v>5.4945054945000002E-2</c:v>
                </c:pt>
                <c:pt idx="238">
                  <c:v>5.3971486760999998E-2</c:v>
                </c:pt>
                <c:pt idx="239">
                  <c:v>5.6399132321000002E-2</c:v>
                </c:pt>
                <c:pt idx="240">
                  <c:v>5.2060737527000002E-2</c:v>
                </c:pt>
                <c:pt idx="241">
                  <c:v>4.5558086560000002E-2</c:v>
                </c:pt>
                <c:pt idx="242">
                  <c:v>3.9637599092999999E-2</c:v>
                </c:pt>
                <c:pt idx="243">
                  <c:v>3.3333333333000002E-2</c:v>
                </c:pt>
                <c:pt idx="244">
                  <c:v>3.6299765806999999E-2</c:v>
                </c:pt>
                <c:pt idx="245">
                  <c:v>4.3804755943999997E-2</c:v>
                </c:pt>
                <c:pt idx="246">
                  <c:v>4.2384105960000001E-2</c:v>
                </c:pt>
                <c:pt idx="247">
                  <c:v>4.4096728306999997E-2</c:v>
                </c:pt>
                <c:pt idx="248">
                  <c:v>4.8780487804000003E-2</c:v>
                </c:pt>
                <c:pt idx="249">
                  <c:v>5.4628224582E-2</c:v>
                </c:pt>
                <c:pt idx="250">
                  <c:v>5.8544303797E-2</c:v>
                </c:pt>
                <c:pt idx="251">
                  <c:v>6.0402684562999999E-2</c:v>
                </c:pt>
                <c:pt idx="252">
                  <c:v>6.0283687943E-2</c:v>
                </c:pt>
                <c:pt idx="253">
                  <c:v>6.1224489795000003E-2</c:v>
                </c:pt>
                <c:pt idx="254">
                  <c:v>5.7199211044999997E-2</c:v>
                </c:pt>
                <c:pt idx="255">
                  <c:v>5.3995680344999998E-2</c:v>
                </c:pt>
                <c:pt idx="256">
                  <c:v>4.9661399548000001E-2</c:v>
                </c:pt>
                <c:pt idx="257">
                  <c:v>4.5454545454000003E-2</c:v>
                </c:pt>
                <c:pt idx="258">
                  <c:v>4.0322580645000002E-2</c:v>
                </c:pt>
                <c:pt idx="259">
                  <c:v>3.4782608695000002E-2</c:v>
                </c:pt>
                <c:pt idx="260">
                  <c:v>3.2154340836000002E-2</c:v>
                </c:pt>
                <c:pt idx="261">
                  <c:v>3.1358885017000002E-2</c:v>
                </c:pt>
                <c:pt idx="262">
                  <c:v>3.7037037037000002E-2</c:v>
                </c:pt>
                <c:pt idx="263">
                  <c:v>3.7453183520000002E-2</c:v>
                </c:pt>
                <c:pt idx="264">
                  <c:v>4.0650406504000001E-2</c:v>
                </c:pt>
                <c:pt idx="265">
                  <c:v>3.6036036036000002E-2</c:v>
                </c:pt>
                <c:pt idx="266">
                  <c:v>3.7209302324999999E-2</c:v>
                </c:pt>
                <c:pt idx="267">
                  <c:v>4.2253521125999997E-2</c:v>
                </c:pt>
                <c:pt idx="268">
                  <c:v>4.6153846153E-2</c:v>
                </c:pt>
                <c:pt idx="269">
                  <c:v>3.2967032967000001E-2</c:v>
                </c:pt>
                <c:pt idx="270">
                  <c:v>3.5714285714000003E-2</c:v>
                </c:pt>
                <c:pt idx="271">
                  <c:v>5.3254437868999999E-2</c:v>
                </c:pt>
                <c:pt idx="272">
                  <c:v>6.0975609755999999E-2</c:v>
                </c:pt>
                <c:pt idx="273">
                  <c:v>7.0921985815000005E-2</c:v>
                </c:pt>
                <c:pt idx="274">
                  <c:v>6.4000000000000001E-2</c:v>
                </c:pt>
                <c:pt idx="275">
                  <c:v>7.9646017698999996E-2</c:v>
                </c:pt>
                <c:pt idx="276">
                  <c:v>9.6153846153000003E-2</c:v>
                </c:pt>
                <c:pt idx="277">
                  <c:v>9.0909090908999998E-2</c:v>
                </c:pt>
                <c:pt idx="278">
                  <c:v>5.4347826086000001E-2</c:v>
                </c:pt>
                <c:pt idx="279">
                  <c:v>0.05</c:v>
                </c:pt>
                <c:pt idx="280">
                  <c:v>3.8961038960999998E-2</c:v>
                </c:pt>
                <c:pt idx="281">
                  <c:v>3.1746031745999999E-2</c:v>
                </c:pt>
                <c:pt idx="282">
                  <c:v>3.3898305083999998E-2</c:v>
                </c:pt>
                <c:pt idx="283">
                  <c:v>0.02</c:v>
                </c:pt>
                <c:pt idx="284">
                  <c:v>4.1666666666000003E-2</c:v>
                </c:pt>
                <c:pt idx="285">
                  <c:v>4.5454545454000003E-2</c:v>
                </c:pt>
                <c:pt idx="286">
                  <c:v>5.2631578946999998E-2</c:v>
                </c:pt>
                <c:pt idx="287">
                  <c:v>6.25E-2</c:v>
                </c:pt>
                <c:pt idx="288">
                  <c:v>7.1428571428000007E-2</c:v>
                </c:pt>
                <c:pt idx="289">
                  <c:v>2.6315789472999999E-2</c:v>
                </c:pt>
                <c:pt idx="290">
                  <c:v>5.7142857142E-2</c:v>
                </c:pt>
                <c:pt idx="291">
                  <c:v>2.7027027027000002E-2</c:v>
                </c:pt>
                <c:pt idx="292">
                  <c:v>5.5555555554999997E-2</c:v>
                </c:pt>
                <c:pt idx="293">
                  <c:v>5.4054054054000003E-2</c:v>
                </c:pt>
                <c:pt idx="294">
                  <c:v>5.2631578946999998E-2</c:v>
                </c:pt>
                <c:pt idx="295">
                  <c:v>5.2631578946999998E-2</c:v>
                </c:pt>
                <c:pt idx="296">
                  <c:v>8.3333333332999998E-2</c:v>
                </c:pt>
                <c:pt idx="297">
                  <c:v>4.3478260869000002E-2</c:v>
                </c:pt>
                <c:pt idx="298">
                  <c:v>5.2631578946999998E-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9">
                  <c:v>0.111111111111</c:v>
                </c:pt>
                <c:pt idx="310">
                  <c:v>0.111111111111</c:v>
                </c:pt>
                <c:pt idx="311">
                  <c:v>0.111111111111</c:v>
                </c:pt>
                <c:pt idx="312">
                  <c:v>0.2</c:v>
                </c:pt>
                <c:pt idx="313">
                  <c:v>0.181818181818</c:v>
                </c:pt>
                <c:pt idx="314">
                  <c:v>0.14285714285699999</c:v>
                </c:pt>
                <c:pt idx="316">
                  <c:v>0.13333333333299999</c:v>
                </c:pt>
                <c:pt idx="317">
                  <c:v>8.3333333332999998E-2</c:v>
                </c:pt>
                <c:pt idx="318">
                  <c:v>0.15384615384600001</c:v>
                </c:pt>
                <c:pt idx="319">
                  <c:v>0.181818181818</c:v>
                </c:pt>
                <c:pt idx="320">
                  <c:v>0.1</c:v>
                </c:pt>
                <c:pt idx="321">
                  <c:v>0.14285714285699999</c:v>
                </c:pt>
                <c:pt idx="322">
                  <c:v>0.15384615384600001</c:v>
                </c:pt>
                <c:pt idx="323">
                  <c:v>0.15384615384600001</c:v>
                </c:pt>
                <c:pt idx="324">
                  <c:v>0.14285714285699999</c:v>
                </c:pt>
                <c:pt idx="325">
                  <c:v>0.166666666666</c:v>
                </c:pt>
                <c:pt idx="326">
                  <c:v>0.14285714285699999</c:v>
                </c:pt>
                <c:pt idx="327">
                  <c:v>0.13333333333299999</c:v>
                </c:pt>
                <c:pt idx="328">
                  <c:v>0.125</c:v>
                </c:pt>
                <c:pt idx="329">
                  <c:v>0.14285714285699999</c:v>
                </c:pt>
                <c:pt idx="330">
                  <c:v>0.176470588235</c:v>
                </c:pt>
                <c:pt idx="331">
                  <c:v>0.2</c:v>
                </c:pt>
                <c:pt idx="332">
                  <c:v>0.210526315789</c:v>
                </c:pt>
                <c:pt idx="333">
                  <c:v>0.23529411764700001</c:v>
                </c:pt>
                <c:pt idx="334">
                  <c:v>0.25</c:v>
                </c:pt>
                <c:pt idx="335">
                  <c:v>0.1875</c:v>
                </c:pt>
                <c:pt idx="336">
                  <c:v>0.1875</c:v>
                </c:pt>
                <c:pt idx="337">
                  <c:v>0.166666666666</c:v>
                </c:pt>
                <c:pt idx="338">
                  <c:v>0.15384615384600001</c:v>
                </c:pt>
                <c:pt idx="339">
                  <c:v>0.117647058823</c:v>
                </c:pt>
                <c:pt idx="340">
                  <c:v>0.1</c:v>
                </c:pt>
                <c:pt idx="341">
                  <c:v>9.5238095238000003E-2</c:v>
                </c:pt>
                <c:pt idx="342">
                  <c:v>0.111111111111</c:v>
                </c:pt>
                <c:pt idx="343">
                  <c:v>9.5238095238000003E-2</c:v>
                </c:pt>
                <c:pt idx="344">
                  <c:v>0.117647058823</c:v>
                </c:pt>
                <c:pt idx="345">
                  <c:v>0.105263157894</c:v>
                </c:pt>
                <c:pt idx="346">
                  <c:v>6.25E-2</c:v>
                </c:pt>
                <c:pt idx="347">
                  <c:v>5.8823529410999997E-2</c:v>
                </c:pt>
                <c:pt idx="348">
                  <c:v>0.111111111111</c:v>
                </c:pt>
                <c:pt idx="349">
                  <c:v>0.105263157894</c:v>
                </c:pt>
                <c:pt idx="350">
                  <c:v>0.1</c:v>
                </c:pt>
                <c:pt idx="351">
                  <c:v>4.7619047619000002E-2</c:v>
                </c:pt>
                <c:pt idx="352">
                  <c:v>0.13043478260800001</c:v>
                </c:pt>
                <c:pt idx="353">
                  <c:v>0.166666666666</c:v>
                </c:pt>
                <c:pt idx="354">
                  <c:v>0.181818181818</c:v>
                </c:pt>
                <c:pt idx="355">
                  <c:v>0.13043478260800001</c:v>
                </c:pt>
                <c:pt idx="356">
                  <c:v>0.16</c:v>
                </c:pt>
                <c:pt idx="357">
                  <c:v>0.18518518518499999</c:v>
                </c:pt>
                <c:pt idx="358">
                  <c:v>0.2</c:v>
                </c:pt>
                <c:pt idx="359">
                  <c:v>0.137931034482</c:v>
                </c:pt>
                <c:pt idx="360">
                  <c:v>0.10344827586200001</c:v>
                </c:pt>
                <c:pt idx="361">
                  <c:v>0.10344827586200001</c:v>
                </c:pt>
                <c:pt idx="362">
                  <c:v>0.10344827586200001</c:v>
                </c:pt>
                <c:pt idx="363">
                  <c:v>8.3333333332999998E-2</c:v>
                </c:pt>
                <c:pt idx="364">
                  <c:v>4.5454545454000003E-2</c:v>
                </c:pt>
                <c:pt idx="365">
                  <c:v>0.04</c:v>
                </c:pt>
                <c:pt idx="366">
                  <c:v>3.8461538460999999E-2</c:v>
                </c:pt>
                <c:pt idx="367">
                  <c:v>0.12121212121200001</c:v>
                </c:pt>
                <c:pt idx="368">
                  <c:v>0.117647058823</c:v>
                </c:pt>
                <c:pt idx="369">
                  <c:v>0.166666666666</c:v>
                </c:pt>
                <c:pt idx="370">
                  <c:v>0.127659574468</c:v>
                </c:pt>
                <c:pt idx="371">
                  <c:v>0.13725490196000001</c:v>
                </c:pt>
                <c:pt idx="372">
                  <c:v>0.127659574468</c:v>
                </c:pt>
                <c:pt idx="373">
                  <c:v>0.11538461538399999</c:v>
                </c:pt>
                <c:pt idx="374">
                  <c:v>8.1632653060999996E-2</c:v>
                </c:pt>
                <c:pt idx="375">
                  <c:v>7.8431372548999997E-2</c:v>
                </c:pt>
                <c:pt idx="376">
                  <c:v>5.7692307691999997E-2</c:v>
                </c:pt>
                <c:pt idx="377">
                  <c:v>0.13207547169799999</c:v>
                </c:pt>
                <c:pt idx="378">
                  <c:v>0.107142857142</c:v>
                </c:pt>
                <c:pt idx="379">
                  <c:v>9.8360655736999994E-2</c:v>
                </c:pt>
                <c:pt idx="380">
                  <c:v>0.101694915254</c:v>
                </c:pt>
                <c:pt idx="381">
                  <c:v>0.08</c:v>
                </c:pt>
                <c:pt idx="382">
                  <c:v>0.08</c:v>
                </c:pt>
                <c:pt idx="383">
                  <c:v>8.2191780820999996E-2</c:v>
                </c:pt>
                <c:pt idx="384">
                  <c:v>2.6666666666E-2</c:v>
                </c:pt>
                <c:pt idx="385">
                  <c:v>2.6666666666E-2</c:v>
                </c:pt>
                <c:pt idx="386">
                  <c:v>2.7027027027000002E-2</c:v>
                </c:pt>
                <c:pt idx="387">
                  <c:v>3.8461538460999999E-2</c:v>
                </c:pt>
                <c:pt idx="388">
                  <c:v>2.9411764704999999E-2</c:v>
                </c:pt>
                <c:pt idx="389">
                  <c:v>5.4794520547E-2</c:v>
                </c:pt>
                <c:pt idx="390">
                  <c:v>5.3333333332999999E-2</c:v>
                </c:pt>
                <c:pt idx="391">
                  <c:v>6.4102564102000006E-2</c:v>
                </c:pt>
                <c:pt idx="392">
                  <c:v>9.3333333332999993E-2</c:v>
                </c:pt>
                <c:pt idx="393">
                  <c:v>9.6385542167999994E-2</c:v>
                </c:pt>
                <c:pt idx="394">
                  <c:v>0.112359550561</c:v>
                </c:pt>
                <c:pt idx="395">
                  <c:v>0.12790697674400001</c:v>
                </c:pt>
                <c:pt idx="396">
                  <c:v>0.117647058823</c:v>
                </c:pt>
                <c:pt idx="397">
                  <c:v>0.13978494623599999</c:v>
                </c:pt>
                <c:pt idx="398">
                  <c:v>0.11428571428500001</c:v>
                </c:pt>
                <c:pt idx="399">
                  <c:v>0.13675213675199999</c:v>
                </c:pt>
                <c:pt idx="400">
                  <c:v>0.16541353383400001</c:v>
                </c:pt>
                <c:pt idx="401">
                  <c:v>0.15942028985500001</c:v>
                </c:pt>
                <c:pt idx="402">
                  <c:v>0.145695364238</c:v>
                </c:pt>
                <c:pt idx="403">
                  <c:v>0.14374999999999999</c:v>
                </c:pt>
                <c:pt idx="404">
                  <c:v>0.12048192771000001</c:v>
                </c:pt>
                <c:pt idx="405">
                  <c:v>0.135135135135</c:v>
                </c:pt>
                <c:pt idx="406">
                  <c:v>0.108374384236</c:v>
                </c:pt>
                <c:pt idx="407">
                  <c:v>9.1346153846000006E-2</c:v>
                </c:pt>
                <c:pt idx="408">
                  <c:v>9.9547511312E-2</c:v>
                </c:pt>
                <c:pt idx="409">
                  <c:v>9.2741935482999999E-2</c:v>
                </c:pt>
                <c:pt idx="410">
                  <c:v>8.1481481480999998E-2</c:v>
                </c:pt>
                <c:pt idx="411">
                  <c:v>7.7490774907000001E-2</c:v>
                </c:pt>
                <c:pt idx="412">
                  <c:v>6.6666666666000005E-2</c:v>
                </c:pt>
                <c:pt idx="413">
                  <c:v>5.3191489361000002E-2</c:v>
                </c:pt>
                <c:pt idx="414">
                  <c:v>4.7381546134000002E-2</c:v>
                </c:pt>
                <c:pt idx="415">
                  <c:v>3.3259423502999999E-2</c:v>
                </c:pt>
                <c:pt idx="416">
                  <c:v>3.3864541832000002E-2</c:v>
                </c:pt>
                <c:pt idx="417">
                  <c:v>3.9923954371999998E-2</c:v>
                </c:pt>
                <c:pt idx="418">
                  <c:v>5.4577464787999998E-2</c:v>
                </c:pt>
                <c:pt idx="419">
                  <c:v>4.9520766772999998E-2</c:v>
                </c:pt>
                <c:pt idx="420">
                  <c:v>4.4817927170000001E-2</c:v>
                </c:pt>
                <c:pt idx="421">
                  <c:v>4.7559449311E-2</c:v>
                </c:pt>
                <c:pt idx="422">
                  <c:v>4.5792079207E-2</c:v>
                </c:pt>
                <c:pt idx="423">
                  <c:v>4.2841037204000003E-2</c:v>
                </c:pt>
                <c:pt idx="424">
                  <c:v>4.1622198504999999E-2</c:v>
                </c:pt>
                <c:pt idx="425">
                  <c:v>3.5140562248000003E-2</c:v>
                </c:pt>
                <c:pt idx="426">
                  <c:v>3.8766519823000001E-2</c:v>
                </c:pt>
                <c:pt idx="427">
                  <c:v>4.6204620462000003E-2</c:v>
                </c:pt>
                <c:pt idx="428">
                  <c:v>4.0181956026999997E-2</c:v>
                </c:pt>
                <c:pt idx="429">
                  <c:v>4.1863605670999997E-2</c:v>
                </c:pt>
                <c:pt idx="430">
                  <c:v>4.7213114754000002E-2</c:v>
                </c:pt>
                <c:pt idx="431">
                  <c:v>4.9273531268999998E-2</c:v>
                </c:pt>
                <c:pt idx="432">
                  <c:v>4.9360146251999998E-2</c:v>
                </c:pt>
                <c:pt idx="433">
                  <c:v>4.7925189946999999E-2</c:v>
                </c:pt>
                <c:pt idx="434">
                  <c:v>4.4906900328000002E-2</c:v>
                </c:pt>
                <c:pt idx="435">
                  <c:v>4.9014384655999998E-2</c:v>
                </c:pt>
                <c:pt idx="436">
                  <c:v>4.8453608246999999E-2</c:v>
                </c:pt>
                <c:pt idx="437">
                  <c:v>4.4174757281000003E-2</c:v>
                </c:pt>
                <c:pt idx="438">
                  <c:v>4.2857142857E-2</c:v>
                </c:pt>
                <c:pt idx="439">
                  <c:v>4.2743071863999997E-2</c:v>
                </c:pt>
                <c:pt idx="440">
                  <c:v>3.886925795E-2</c:v>
                </c:pt>
                <c:pt idx="441">
                  <c:v>3.6574870911999999E-2</c:v>
                </c:pt>
                <c:pt idx="442">
                  <c:v>3.9809606231000001E-2</c:v>
                </c:pt>
                <c:pt idx="443">
                  <c:v>4.0282392026000001E-2</c:v>
                </c:pt>
                <c:pt idx="444">
                  <c:v>3.9920948615999999E-2</c:v>
                </c:pt>
                <c:pt idx="445">
                  <c:v>4.2253521125999997E-2</c:v>
                </c:pt>
                <c:pt idx="446">
                  <c:v>4.5754026353999999E-2</c:v>
                </c:pt>
                <c:pt idx="447">
                  <c:v>5.0501432664E-2</c:v>
                </c:pt>
                <c:pt idx="448">
                  <c:v>5.0984528831999998E-2</c:v>
                </c:pt>
                <c:pt idx="449">
                  <c:v>4.5152722442999997E-2</c:v>
                </c:pt>
                <c:pt idx="450">
                  <c:v>4.4766293614000002E-2</c:v>
                </c:pt>
                <c:pt idx="451">
                  <c:v>4.6381578946999999E-2</c:v>
                </c:pt>
                <c:pt idx="452">
                  <c:v>4.2650918635E-2</c:v>
                </c:pt>
                <c:pt idx="453">
                  <c:v>3.9209225700000003E-2</c:v>
                </c:pt>
                <c:pt idx="454">
                  <c:v>3.7603993343999997E-2</c:v>
                </c:pt>
                <c:pt idx="455">
                  <c:v>3.8552587080999998E-2</c:v>
                </c:pt>
                <c:pt idx="456">
                  <c:v>4.0163376446000001E-2</c:v>
                </c:pt>
                <c:pt idx="457">
                  <c:v>3.8513513513000003E-2</c:v>
                </c:pt>
                <c:pt idx="458">
                  <c:v>3.8700760192999999E-2</c:v>
                </c:pt>
                <c:pt idx="459">
                  <c:v>3.9422738472E-2</c:v>
                </c:pt>
                <c:pt idx="460">
                  <c:v>3.7889518412999999E-2</c:v>
                </c:pt>
                <c:pt idx="461">
                  <c:v>3.7620924399E-2</c:v>
                </c:pt>
                <c:pt idx="462">
                  <c:v>3.6065573769999998E-2</c:v>
                </c:pt>
                <c:pt idx="463">
                  <c:v>3.4686346862999998E-2</c:v>
                </c:pt>
                <c:pt idx="464">
                  <c:v>3.4959661927999999E-2</c:v>
                </c:pt>
                <c:pt idx="465">
                  <c:v>3.1587057010000003E-2</c:v>
                </c:pt>
                <c:pt idx="466">
                  <c:v>3.2825322391E-2</c:v>
                </c:pt>
                <c:pt idx="467">
                  <c:v>3.4441329595E-2</c:v>
                </c:pt>
                <c:pt idx="468">
                  <c:v>3.399668325E-2</c:v>
                </c:pt>
                <c:pt idx="469">
                  <c:v>3.9215686274000003E-2</c:v>
                </c:pt>
                <c:pt idx="470">
                  <c:v>3.8271049075999999E-2</c:v>
                </c:pt>
                <c:pt idx="471">
                  <c:v>3.9170506911999997E-2</c:v>
                </c:pt>
                <c:pt idx="472">
                  <c:v>4.0520984081000001E-2</c:v>
                </c:pt>
                <c:pt idx="473">
                  <c:v>3.9880358923000001E-2</c:v>
                </c:pt>
                <c:pt idx="474">
                  <c:v>4.0247678017999999E-2</c:v>
                </c:pt>
                <c:pt idx="475">
                  <c:v>4.296875E-2</c:v>
                </c:pt>
                <c:pt idx="476">
                  <c:v>3.9859320045999999E-2</c:v>
                </c:pt>
                <c:pt idx="477">
                  <c:v>4.3583535107999997E-2</c:v>
                </c:pt>
                <c:pt idx="478">
                  <c:v>4.9439683585999997E-2</c:v>
                </c:pt>
                <c:pt idx="479">
                  <c:v>5.3463855421000003E-2</c:v>
                </c:pt>
                <c:pt idx="480">
                  <c:v>5.2959501557000001E-2</c:v>
                </c:pt>
                <c:pt idx="481">
                  <c:v>5.5292259082999999E-2</c:v>
                </c:pt>
                <c:pt idx="482">
                  <c:v>5.3772070626E-2</c:v>
                </c:pt>
                <c:pt idx="483">
                  <c:v>6.1293031066000002E-2</c:v>
                </c:pt>
                <c:pt idx="484">
                  <c:v>6.5687121865999995E-2</c:v>
                </c:pt>
                <c:pt idx="485">
                  <c:v>6.2171628721000002E-2</c:v>
                </c:pt>
                <c:pt idx="486">
                  <c:v>6.0631938513999999E-2</c:v>
                </c:pt>
                <c:pt idx="487">
                  <c:v>6.8003487358000006E-2</c:v>
                </c:pt>
                <c:pt idx="488">
                  <c:v>6.5894924309E-2</c:v>
                </c:pt>
                <c:pt idx="489">
                  <c:v>6.3931297708999996E-2</c:v>
                </c:pt>
                <c:pt idx="490">
                  <c:v>5.2734375E-2</c:v>
                </c:pt>
                <c:pt idx="491">
                  <c:v>4.5824847250000002E-2</c:v>
                </c:pt>
                <c:pt idx="492">
                  <c:v>4.7418335089000001E-2</c:v>
                </c:pt>
                <c:pt idx="493">
                  <c:v>5.3318824809E-2</c:v>
                </c:pt>
                <c:pt idx="494">
                  <c:v>4.6943231441000002E-2</c:v>
                </c:pt>
                <c:pt idx="495">
                  <c:v>4.8387096774E-2</c:v>
                </c:pt>
                <c:pt idx="496">
                  <c:v>6.1500615006000001E-2</c:v>
                </c:pt>
                <c:pt idx="497">
                  <c:v>6.6841415464999998E-2</c:v>
                </c:pt>
                <c:pt idx="498">
                  <c:v>7.0707070706999997E-2</c:v>
                </c:pt>
                <c:pt idx="499">
                  <c:v>7.1646341463000002E-2</c:v>
                </c:pt>
                <c:pt idx="500">
                  <c:v>7.0957095708999995E-2</c:v>
                </c:pt>
                <c:pt idx="501">
                  <c:v>7.1167883210999996E-2</c:v>
                </c:pt>
                <c:pt idx="502">
                  <c:v>6.6666666666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7A-4746-9CFE-A5D4DF73D9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JIP_v_den_pozitivity65_7dni_z_HOSP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.0%</c:formatCode>
                <c:ptCount val="504"/>
                <c:pt idx="0">
                  <c:v>0</c:v>
                </c:pt>
                <c:pt idx="1">
                  <c:v>-0.44444444443999997</c:v>
                </c:pt>
                <c:pt idx="2">
                  <c:v>0</c:v>
                </c:pt>
                <c:pt idx="3">
                  <c:v>7.1428571420000003E-2</c:v>
                </c:pt>
                <c:pt idx="4">
                  <c:v>-0.17525773196</c:v>
                </c:pt>
                <c:pt idx="5">
                  <c:v>0.43925233644</c:v>
                </c:pt>
                <c:pt idx="6">
                  <c:v>-0.30874316939000002</c:v>
                </c:pt>
                <c:pt idx="7">
                  <c:v>-0.24603174602</c:v>
                </c:pt>
                <c:pt idx="8">
                  <c:v>-5.6689342410000003E-2</c:v>
                </c:pt>
                <c:pt idx="9">
                  <c:v>-0.24324324323999999</c:v>
                </c:pt>
                <c:pt idx="10">
                  <c:v>1.55621301779</c:v>
                </c:pt>
                <c:pt idx="11">
                  <c:v>0</c:v>
                </c:pt>
                <c:pt idx="12">
                  <c:v>0</c:v>
                </c:pt>
                <c:pt idx="13">
                  <c:v>0.31117021276000001</c:v>
                </c:pt>
                <c:pt idx="14">
                  <c:v>1.08108108109</c:v>
                </c:pt>
                <c:pt idx="15">
                  <c:v>0.14655172414000001</c:v>
                </c:pt>
                <c:pt idx="16">
                  <c:v>1.1464646464899999</c:v>
                </c:pt>
                <c:pt idx="17">
                  <c:v>-0.18210862620000001</c:v>
                </c:pt>
                <c:pt idx="18">
                  <c:v>0.67158308752999996</c:v>
                </c:pt>
                <c:pt idx="19">
                  <c:v>5.4131054130000002E-2</c:v>
                </c:pt>
                <c:pt idx="20">
                  <c:v>1.04513888889</c:v>
                </c:pt>
                <c:pt idx="21">
                  <c:v>-0.37185929647999999</c:v>
                </c:pt>
                <c:pt idx="22">
                  <c:v>2.6866359446799999</c:v>
                </c:pt>
                <c:pt idx="23">
                  <c:v>-0.35310344828000001</c:v>
                </c:pt>
                <c:pt idx="24">
                  <c:v>0.94238900634</c:v>
                </c:pt>
                <c:pt idx="25">
                  <c:v>-0.17777777777000001</c:v>
                </c:pt>
                <c:pt idx="26">
                  <c:v>0.42409177818999999</c:v>
                </c:pt>
                <c:pt idx="27">
                  <c:v>0.2</c:v>
                </c:pt>
                <c:pt idx="28">
                  <c:v>0.37583892615999998</c:v>
                </c:pt>
                <c:pt idx="29">
                  <c:v>0.34567901234999998</c:v>
                </c:pt>
                <c:pt idx="30">
                  <c:v>-7.0048309180000004E-2</c:v>
                </c:pt>
                <c:pt idx="31">
                  <c:v>-0.17241379309999999</c:v>
                </c:pt>
                <c:pt idx="32">
                  <c:v>0.78534031414000005</c:v>
                </c:pt>
                <c:pt idx="33">
                  <c:v>-0.20632815460000001</c:v>
                </c:pt>
                <c:pt idx="34">
                  <c:v>0.40615058323999997</c:v>
                </c:pt>
                <c:pt idx="35">
                  <c:v>-0.22718351324</c:v>
                </c:pt>
                <c:pt idx="36">
                  <c:v>0.31604278074999997</c:v>
                </c:pt>
                <c:pt idx="37">
                  <c:v>-0.29116945106999997</c:v>
                </c:pt>
                <c:pt idx="38">
                  <c:v>0.85869565220999999</c:v>
                </c:pt>
                <c:pt idx="39">
                  <c:v>-4.3080812990000002E-2</c:v>
                </c:pt>
                <c:pt idx="40">
                  <c:v>0.44990176816999999</c:v>
                </c:pt>
                <c:pt idx="41">
                  <c:v>1.3752636E-3</c:v>
                </c:pt>
                <c:pt idx="42">
                  <c:v>0.53550658096000003</c:v>
                </c:pt>
                <c:pt idx="43">
                  <c:v>4.112157684E-2</c:v>
                </c:pt>
                <c:pt idx="44">
                  <c:v>0.32438841737000002</c:v>
                </c:pt>
                <c:pt idx="45">
                  <c:v>2.3610280930000001E-2</c:v>
                </c:pt>
                <c:pt idx="46">
                  <c:v>0.19290322581</c:v>
                </c:pt>
                <c:pt idx="47">
                  <c:v>-7.891867072E-2</c:v>
                </c:pt>
                <c:pt idx="48">
                  <c:v>0.1645218269</c:v>
                </c:pt>
                <c:pt idx="49">
                  <c:v>3.0683102700000001E-3</c:v>
                </c:pt>
                <c:pt idx="50">
                  <c:v>0.67287872370000001</c:v>
                </c:pt>
                <c:pt idx="51">
                  <c:v>7.4063145459999993E-2</c:v>
                </c:pt>
                <c:pt idx="52">
                  <c:v>0.57579105978</c:v>
                </c:pt>
                <c:pt idx="53">
                  <c:v>0.30822981364000002</c:v>
                </c:pt>
                <c:pt idx="54">
                  <c:v>0.92013249910999995</c:v>
                </c:pt>
                <c:pt idx="55">
                  <c:v>0.15371773620000001</c:v>
                </c:pt>
                <c:pt idx="56">
                  <c:v>0.94625112915999998</c:v>
                </c:pt>
                <c:pt idx="57">
                  <c:v>2.8913707510000001E-2</c:v>
                </c:pt>
                <c:pt idx="58">
                  <c:v>1.51999004645</c:v>
                </c:pt>
                <c:pt idx="59">
                  <c:v>-0.23792946976000001</c:v>
                </c:pt>
                <c:pt idx="60">
                  <c:v>0.97510023214999997</c:v>
                </c:pt>
                <c:pt idx="61">
                  <c:v>-0.11564555617</c:v>
                </c:pt>
                <c:pt idx="62">
                  <c:v>-0.24706143269</c:v>
                </c:pt>
                <c:pt idx="63">
                  <c:v>-0.10238267148000001</c:v>
                </c:pt>
                <c:pt idx="64">
                  <c:v>-0.32166517776999998</c:v>
                </c:pt>
                <c:pt idx="65">
                  <c:v>4.392248319E-2</c:v>
                </c:pt>
                <c:pt idx="66">
                  <c:v>-0.1309236785</c:v>
                </c:pt>
                <c:pt idx="67">
                  <c:v>0.24227590081</c:v>
                </c:pt>
                <c:pt idx="68">
                  <c:v>-6.1601553439999998E-2</c:v>
                </c:pt>
                <c:pt idx="69">
                  <c:v>0.39870223503000002</c:v>
                </c:pt>
                <c:pt idx="70">
                  <c:v>2.0357320790000001E-2</c:v>
                </c:pt>
                <c:pt idx="71">
                  <c:v>0.19349973997</c:v>
                </c:pt>
                <c:pt idx="72">
                  <c:v>-8.3963143190000006E-2</c:v>
                </c:pt>
                <c:pt idx="73">
                  <c:v>-0.11178247733</c:v>
                </c:pt>
                <c:pt idx="74">
                  <c:v>-0.14652219804</c:v>
                </c:pt>
                <c:pt idx="75">
                  <c:v>-0.1015375689</c:v>
                </c:pt>
                <c:pt idx="76">
                  <c:v>-7.9106280200000004E-2</c:v>
                </c:pt>
                <c:pt idx="77">
                  <c:v>0.22834278092999999</c:v>
                </c:pt>
                <c:pt idx="78">
                  <c:v>-0.12466170501</c:v>
                </c:pt>
                <c:pt idx="79">
                  <c:v>1.089015151E-2</c:v>
                </c:pt>
                <c:pt idx="80">
                  <c:v>-0.23641146527000001</c:v>
                </c:pt>
                <c:pt idx="81">
                  <c:v>0.52607003888000003</c:v>
                </c:pt>
                <c:pt idx="82">
                  <c:v>-0.44099425059000003</c:v>
                </c:pt>
                <c:pt idx="83">
                  <c:v>0.33224489798000001</c:v>
                </c:pt>
                <c:pt idx="84">
                  <c:v>-0.53872282609</c:v>
                </c:pt>
                <c:pt idx="85">
                  <c:v>0.11408199643</c:v>
                </c:pt>
                <c:pt idx="86">
                  <c:v>-0.62166155498999998</c:v>
                </c:pt>
                <c:pt idx="87">
                  <c:v>0.13976429505999999</c:v>
                </c:pt>
                <c:pt idx="88">
                  <c:v>-0.54916626637999999</c:v>
                </c:pt>
                <c:pt idx="89">
                  <c:v>5.6164383550000002E-2</c:v>
                </c:pt>
                <c:pt idx="90">
                  <c:v>-0.47278628496000003</c:v>
                </c:pt>
                <c:pt idx="91">
                  <c:v>-0.15607476635</c:v>
                </c:pt>
                <c:pt idx="92">
                  <c:v>-0.44984157160999999</c:v>
                </c:pt>
                <c:pt idx="93">
                  <c:v>-0.28297937826000003</c:v>
                </c:pt>
                <c:pt idx="94">
                  <c:v>-0.34769471799000001</c:v>
                </c:pt>
                <c:pt idx="95">
                  <c:v>-0.39925950227000001</c:v>
                </c:pt>
                <c:pt idx="96">
                  <c:v>-0.29347631814000003</c:v>
                </c:pt>
                <c:pt idx="97">
                  <c:v>-0.3583032491</c:v>
                </c:pt>
                <c:pt idx="98">
                  <c:v>-0.28968609866</c:v>
                </c:pt>
                <c:pt idx="99">
                  <c:v>-0.29832138201000002</c:v>
                </c:pt>
                <c:pt idx="100">
                  <c:v>6.9960647000000004E-3</c:v>
                </c:pt>
                <c:pt idx="101">
                  <c:v>-1.505376342E-2</c:v>
                </c:pt>
                <c:pt idx="102">
                  <c:v>-0.29487690224000002</c:v>
                </c:pt>
                <c:pt idx="103">
                  <c:v>0.15990504962999999</c:v>
                </c:pt>
                <c:pt idx="104">
                  <c:v>-0.31730356375000002</c:v>
                </c:pt>
                <c:pt idx="105">
                  <c:v>2.8634973590000001E-2</c:v>
                </c:pt>
                <c:pt idx="106">
                  <c:v>-0.30487192364999999</c:v>
                </c:pt>
                <c:pt idx="107">
                  <c:v>0.46209912534000003</c:v>
                </c:pt>
                <c:pt idx="108">
                  <c:v>5.8564144970000002E-2</c:v>
                </c:pt>
                <c:pt idx="109">
                  <c:v>0.37278176746000002</c:v>
                </c:pt>
                <c:pt idx="110">
                  <c:v>0.36067740602999998</c:v>
                </c:pt>
                <c:pt idx="111">
                  <c:v>-0.13387888707000001</c:v>
                </c:pt>
                <c:pt idx="112">
                  <c:v>0.16211749956999999</c:v>
                </c:pt>
                <c:pt idx="113">
                  <c:v>-0.12090978858</c:v>
                </c:pt>
                <c:pt idx="114">
                  <c:v>0.31372549020000001</c:v>
                </c:pt>
                <c:pt idx="115">
                  <c:v>-0.15659679408999999</c:v>
                </c:pt>
                <c:pt idx="116">
                  <c:v>0.60675170726000005</c:v>
                </c:pt>
                <c:pt idx="117">
                  <c:v>0.36363636363000001</c:v>
                </c:pt>
                <c:pt idx="118">
                  <c:v>0.51416885771999998</c:v>
                </c:pt>
                <c:pt idx="119">
                  <c:v>-5.8671423989999999E-2</c:v>
                </c:pt>
                <c:pt idx="120">
                  <c:v>2.7019340159999999E-2</c:v>
                </c:pt>
                <c:pt idx="121">
                  <c:v>-0.20383743980999999</c:v>
                </c:pt>
                <c:pt idx="122">
                  <c:v>-0.15642701525</c:v>
                </c:pt>
                <c:pt idx="123">
                  <c:v>-0.26800960511999999</c:v>
                </c:pt>
                <c:pt idx="124">
                  <c:v>0.47463021904000002</c:v>
                </c:pt>
                <c:pt idx="125">
                  <c:v>-0.32541479872000001</c:v>
                </c:pt>
                <c:pt idx="126">
                  <c:v>0.48116013882999997</c:v>
                </c:pt>
                <c:pt idx="127">
                  <c:v>-0.34167468719999999</c:v>
                </c:pt>
                <c:pt idx="128">
                  <c:v>1.48709112151</c:v>
                </c:pt>
                <c:pt idx="129">
                  <c:v>-0.32924493705000002</c:v>
                </c:pt>
                <c:pt idx="130">
                  <c:v>1.15379732482</c:v>
                </c:pt>
                <c:pt idx="131">
                  <c:v>-0.18408360127000001</c:v>
                </c:pt>
                <c:pt idx="132">
                  <c:v>0.98811320756999999</c:v>
                </c:pt>
                <c:pt idx="133">
                  <c:v>-5.7765151530000003E-2</c:v>
                </c:pt>
                <c:pt idx="134">
                  <c:v>0.70467432948999997</c:v>
                </c:pt>
                <c:pt idx="135">
                  <c:v>0.70687331538999998</c:v>
                </c:pt>
                <c:pt idx="136">
                  <c:v>0.75329275041999999</c:v>
                </c:pt>
                <c:pt idx="137">
                  <c:v>0.14627629333</c:v>
                </c:pt>
                <c:pt idx="138">
                  <c:v>0.68381177863999998</c:v>
                </c:pt>
                <c:pt idx="139">
                  <c:v>0.29280245022000001</c:v>
                </c:pt>
                <c:pt idx="140">
                  <c:v>1.20312500009</c:v>
                </c:pt>
                <c:pt idx="141">
                  <c:v>-0.32214741191000001</c:v>
                </c:pt>
                <c:pt idx="142">
                  <c:v>0.82540415706000003</c:v>
                </c:pt>
                <c:pt idx="143">
                  <c:v>-0.40869272236999998</c:v>
                </c:pt>
                <c:pt idx="144">
                  <c:v>2.0362811790999999</c:v>
                </c:pt>
                <c:pt idx="145">
                  <c:v>-0.44366982710000002</c:v>
                </c:pt>
                <c:pt idx="146">
                  <c:v>3.6238277180899998</c:v>
                </c:pt>
                <c:pt idx="147">
                  <c:v>-0.55735018726999996</c:v>
                </c:pt>
                <c:pt idx="148">
                  <c:v>1.2540021345000001</c:v>
                </c:pt>
                <c:pt idx="149">
                  <c:v>-0.58520084565999997</c:v>
                </c:pt>
                <c:pt idx="150">
                  <c:v>1.2351233672799999</c:v>
                </c:pt>
                <c:pt idx="151">
                  <c:v>-0.51642883277999996</c:v>
                </c:pt>
                <c:pt idx="152">
                  <c:v>1.08181154125</c:v>
                </c:pt>
                <c:pt idx="153">
                  <c:v>-0.43137254900999999</c:v>
                </c:pt>
                <c:pt idx="154">
                  <c:v>1.5956333455</c:v>
                </c:pt>
                <c:pt idx="155">
                  <c:v>0.12069214132</c:v>
                </c:pt>
                <c:pt idx="156">
                  <c:v>1.1571276217599999</c:v>
                </c:pt>
                <c:pt idx="157">
                  <c:v>-0.23646838156</c:v>
                </c:pt>
                <c:pt idx="158">
                  <c:v>0.70695187168999996</c:v>
                </c:pt>
                <c:pt idx="159">
                  <c:v>-1.713506461E-2</c:v>
                </c:pt>
                <c:pt idx="160">
                  <c:v>0.17365591396999999</c:v>
                </c:pt>
                <c:pt idx="161">
                  <c:v>0.11603299857</c:v>
                </c:pt>
                <c:pt idx="162">
                  <c:v>0.14779305353</c:v>
                </c:pt>
                <c:pt idx="163">
                  <c:v>0.10394784499</c:v>
                </c:pt>
                <c:pt idx="164">
                  <c:v>0.53023758100999996</c:v>
                </c:pt>
                <c:pt idx="165">
                  <c:v>0.23066954643000001</c:v>
                </c:pt>
                <c:pt idx="166">
                  <c:v>0.88667601690999998</c:v>
                </c:pt>
                <c:pt idx="167">
                  <c:v>0.16882748847000001</c:v>
                </c:pt>
                <c:pt idx="168">
                  <c:v>0.49164345403999998</c:v>
                </c:pt>
                <c:pt idx="169">
                  <c:v>0.20762286860000001</c:v>
                </c:pt>
                <c:pt idx="170">
                  <c:v>-0.27346044269000003</c:v>
                </c:pt>
                <c:pt idx="171">
                  <c:v>-8.226221081E-2</c:v>
                </c:pt>
                <c:pt idx="172">
                  <c:v>-0.36797220467000002</c:v>
                </c:pt>
                <c:pt idx="173">
                  <c:v>-0.13699811794</c:v>
                </c:pt>
                <c:pt idx="174">
                  <c:v>-0.41728666868999997</c:v>
                </c:pt>
                <c:pt idx="175">
                  <c:v>-5.8614640799999999E-3</c:v>
                </c:pt>
                <c:pt idx="176">
                  <c:v>-0.24847718854</c:v>
                </c:pt>
                <c:pt idx="177">
                  <c:v>-0.10682278114</c:v>
                </c:pt>
                <c:pt idx="178">
                  <c:v>-7.9517156150000004E-2</c:v>
                </c:pt>
                <c:pt idx="179">
                  <c:v>-0.28390135772000002</c:v>
                </c:pt>
                <c:pt idx="180">
                  <c:v>1.112776872E-2</c:v>
                </c:pt>
                <c:pt idx="181">
                  <c:v>-0.41292588556999998</c:v>
                </c:pt>
                <c:pt idx="182">
                  <c:v>7.6970160659999995E-2</c:v>
                </c:pt>
                <c:pt idx="183">
                  <c:v>-0.49201680671999998</c:v>
                </c:pt>
                <c:pt idx="184">
                  <c:v>0.15293063731000001</c:v>
                </c:pt>
                <c:pt idx="185">
                  <c:v>-0.44641799880999999</c:v>
                </c:pt>
                <c:pt idx="186">
                  <c:v>2.277392239E-2</c:v>
                </c:pt>
                <c:pt idx="187">
                  <c:v>-0.38059809043999998</c:v>
                </c:pt>
                <c:pt idx="188">
                  <c:v>-7.4483278459999996E-2</c:v>
                </c:pt>
                <c:pt idx="189">
                  <c:v>-0.12898639040000001</c:v>
                </c:pt>
                <c:pt idx="190">
                  <c:v>-3.6697247719999999E-2</c:v>
                </c:pt>
                <c:pt idx="191">
                  <c:v>0.13463280316000001</c:v>
                </c:pt>
                <c:pt idx="192">
                  <c:v>-0.14646356428999999</c:v>
                </c:pt>
                <c:pt idx="193">
                  <c:v>0.15300170283</c:v>
                </c:pt>
                <c:pt idx="194">
                  <c:v>-0.15740249531</c:v>
                </c:pt>
                <c:pt idx="195">
                  <c:v>-0.30926801986000002</c:v>
                </c:pt>
                <c:pt idx="196">
                  <c:v>-0.36590732592000003</c:v>
                </c:pt>
                <c:pt idx="197">
                  <c:v>-0.34131037502</c:v>
                </c:pt>
                <c:pt idx="198">
                  <c:v>-0.36355561627999999</c:v>
                </c:pt>
                <c:pt idx="199">
                  <c:v>-0.40404040405000002</c:v>
                </c:pt>
                <c:pt idx="200">
                  <c:v>-0.32792766934000001</c:v>
                </c:pt>
                <c:pt idx="201">
                  <c:v>-0.47320714475999998</c:v>
                </c:pt>
                <c:pt idx="202">
                  <c:v>-0.12432975871</c:v>
                </c:pt>
                <c:pt idx="203">
                  <c:v>-0.31419334976000002</c:v>
                </c:pt>
                <c:pt idx="204">
                  <c:v>-0.39449636552</c:v>
                </c:pt>
                <c:pt idx="205">
                  <c:v>-0.13945578233</c:v>
                </c:pt>
                <c:pt idx="206">
                  <c:v>-0.39374395357000003</c:v>
                </c:pt>
                <c:pt idx="207">
                  <c:v>-4.1653212770000003E-2</c:v>
                </c:pt>
                <c:pt idx="208">
                  <c:v>0.38906249998999998</c:v>
                </c:pt>
                <c:pt idx="209">
                  <c:v>-0.35819397992000002</c:v>
                </c:pt>
                <c:pt idx="210">
                  <c:v>0.56237148732999998</c:v>
                </c:pt>
                <c:pt idx="211">
                  <c:v>-0.25255191833000001</c:v>
                </c:pt>
                <c:pt idx="212">
                  <c:v>1.04555314538</c:v>
                </c:pt>
                <c:pt idx="213">
                  <c:v>-0.20520474548000001</c:v>
                </c:pt>
                <c:pt idx="214">
                  <c:v>0.90419456481000005</c:v>
                </c:pt>
                <c:pt idx="215">
                  <c:v>-0.12227602905</c:v>
                </c:pt>
                <c:pt idx="216">
                  <c:v>1.35743152225</c:v>
                </c:pt>
                <c:pt idx="217">
                  <c:v>0.15672199791999999</c:v>
                </c:pt>
                <c:pt idx="218">
                  <c:v>0.26407129452</c:v>
                </c:pt>
                <c:pt idx="219">
                  <c:v>1.4957222771500001</c:v>
                </c:pt>
                <c:pt idx="220">
                  <c:v>9.1150990109999996E-2</c:v>
                </c:pt>
                <c:pt idx="221">
                  <c:v>0.93949536556000002</c:v>
                </c:pt>
                <c:pt idx="222">
                  <c:v>-0.11587604641</c:v>
                </c:pt>
                <c:pt idx="223">
                  <c:v>0.33262674438000001</c:v>
                </c:pt>
                <c:pt idx="224">
                  <c:v>0.29648919752000003</c:v>
                </c:pt>
                <c:pt idx="225">
                  <c:v>2.9323758219999999E-2</c:v>
                </c:pt>
                <c:pt idx="226">
                  <c:v>0.70517598342999999</c:v>
                </c:pt>
                <c:pt idx="227">
                  <c:v>0.49572649570999999</c:v>
                </c:pt>
                <c:pt idx="228">
                  <c:v>1.36203389837</c:v>
                </c:pt>
                <c:pt idx="229">
                  <c:v>1.51373626383</c:v>
                </c:pt>
                <c:pt idx="230">
                  <c:v>1.05519713266</c:v>
                </c:pt>
                <c:pt idx="231">
                  <c:v>0.12892376681000001</c:v>
                </c:pt>
                <c:pt idx="232">
                  <c:v>0.14064914991999999</c:v>
                </c:pt>
                <c:pt idx="233">
                  <c:v>-0.14378029078999999</c:v>
                </c:pt>
                <c:pt idx="234">
                  <c:v>-0.28518204911</c:v>
                </c:pt>
                <c:pt idx="235">
                  <c:v>-0.51508581752000004</c:v>
                </c:pt>
                <c:pt idx="236">
                  <c:v>0.14573497009</c:v>
                </c:pt>
                <c:pt idx="237">
                  <c:v>-0.58791208791000005</c:v>
                </c:pt>
                <c:pt idx="238">
                  <c:v>-0.32535641547999999</c:v>
                </c:pt>
                <c:pt idx="239">
                  <c:v>-0.52060737526</c:v>
                </c:pt>
                <c:pt idx="240">
                  <c:v>-0.13579175703999999</c:v>
                </c:pt>
                <c:pt idx="241">
                  <c:v>-0.27107061504000002</c:v>
                </c:pt>
                <c:pt idx="242">
                  <c:v>-0.15770101925999999</c:v>
                </c:pt>
                <c:pt idx="243">
                  <c:v>0.16666666666999999</c:v>
                </c:pt>
                <c:pt idx="244">
                  <c:v>-0.25585480094000002</c:v>
                </c:pt>
                <c:pt idx="245">
                  <c:v>0</c:v>
                </c:pt>
                <c:pt idx="246">
                  <c:v>-1.103752759E-2</c:v>
                </c:pt>
                <c:pt idx="247">
                  <c:v>0</c:v>
                </c:pt>
                <c:pt idx="248">
                  <c:v>-0.24878048781000001</c:v>
                </c:pt>
                <c:pt idx="249">
                  <c:v>1.062215476E-2</c:v>
                </c:pt>
                <c:pt idx="250">
                  <c:v>0.34651898733999997</c:v>
                </c:pt>
                <c:pt idx="251">
                  <c:v>-0.27516778524000002</c:v>
                </c:pt>
                <c:pt idx="252">
                  <c:v>-0.41223404255000001</c:v>
                </c:pt>
                <c:pt idx="253">
                  <c:v>-0.55612244897999996</c:v>
                </c:pt>
                <c:pt idx="254">
                  <c:v>-0.14201183431</c:v>
                </c:pt>
                <c:pt idx="255">
                  <c:v>-0.69402447804</c:v>
                </c:pt>
                <c:pt idx="256">
                  <c:v>-0.23852520692000001</c:v>
                </c:pt>
                <c:pt idx="257">
                  <c:v>0</c:v>
                </c:pt>
                <c:pt idx="258">
                  <c:v>-0.1935483871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-0.56756756756000004</c:v>
                </c:pt>
                <c:pt idx="266">
                  <c:v>0</c:v>
                </c:pt>
                <c:pt idx="267">
                  <c:v>-0.40845070423000002</c:v>
                </c:pt>
                <c:pt idx="268">
                  <c:v>0</c:v>
                </c:pt>
                <c:pt idx="270">
                  <c:v>-0.57142857143000003</c:v>
                </c:pt>
                <c:pt idx="272">
                  <c:v>-0.65447154471000002</c:v>
                </c:pt>
                <c:pt idx="273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-0.66883116883000004</c:v>
                </c:pt>
                <c:pt idx="282">
                  <c:v>-0.59322033899000004</c:v>
                </c:pt>
                <c:pt idx="285">
                  <c:v>9.0909090910000004E-2</c:v>
                </c:pt>
                <c:pt idx="286">
                  <c:v>-0.52631578947000002</c:v>
                </c:pt>
                <c:pt idx="288">
                  <c:v>-0.28571428572000002</c:v>
                </c:pt>
                <c:pt idx="294">
                  <c:v>-0.73684210526000005</c:v>
                </c:pt>
                <c:pt idx="300">
                  <c:v>0</c:v>
                </c:pt>
                <c:pt idx="301">
                  <c:v>0</c:v>
                </c:pt>
                <c:pt idx="310">
                  <c:v>-0.33333333332999998</c:v>
                </c:pt>
                <c:pt idx="315">
                  <c:v>0</c:v>
                </c:pt>
                <c:pt idx="316">
                  <c:v>-0.46666666666000001</c:v>
                </c:pt>
                <c:pt idx="318">
                  <c:v>-0.38461538461</c:v>
                </c:pt>
                <c:pt idx="324">
                  <c:v>0</c:v>
                </c:pt>
                <c:pt idx="327">
                  <c:v>-0.6</c:v>
                </c:pt>
                <c:pt idx="328">
                  <c:v>0</c:v>
                </c:pt>
                <c:pt idx="331">
                  <c:v>-0.39999999999000002</c:v>
                </c:pt>
                <c:pt idx="333">
                  <c:v>0</c:v>
                </c:pt>
                <c:pt idx="339">
                  <c:v>0</c:v>
                </c:pt>
                <c:pt idx="344">
                  <c:v>-0.52941176469999995</c:v>
                </c:pt>
                <c:pt idx="346">
                  <c:v>-0.81249999999</c:v>
                </c:pt>
                <c:pt idx="350">
                  <c:v>-0.6</c:v>
                </c:pt>
                <c:pt idx="356">
                  <c:v>0.22666666666999999</c:v>
                </c:pt>
                <c:pt idx="358">
                  <c:v>0.4</c:v>
                </c:pt>
                <c:pt idx="360">
                  <c:v>-0.68965517240999996</c:v>
                </c:pt>
                <c:pt idx="361">
                  <c:v>-0.79310344827000001</c:v>
                </c:pt>
                <c:pt idx="362">
                  <c:v>-0.74137931034000004</c:v>
                </c:pt>
                <c:pt idx="365">
                  <c:v>-0.84</c:v>
                </c:pt>
                <c:pt idx="366">
                  <c:v>-0.88461538461</c:v>
                </c:pt>
                <c:pt idx="367">
                  <c:v>-0.27272727272000002</c:v>
                </c:pt>
                <c:pt idx="368">
                  <c:v>-0.52941176469999995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6">
                  <c:v>0</c:v>
                </c:pt>
                <c:pt idx="378">
                  <c:v>0</c:v>
                </c:pt>
                <c:pt idx="382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-0.42307692308</c:v>
                </c:pt>
                <c:pt idx="392">
                  <c:v>0</c:v>
                </c:pt>
                <c:pt idx="393">
                  <c:v>-0.42168674698000003</c:v>
                </c:pt>
                <c:pt idx="394">
                  <c:v>0</c:v>
                </c:pt>
                <c:pt idx="395">
                  <c:v>-0.23255813953000001</c:v>
                </c:pt>
                <c:pt idx="396">
                  <c:v>0</c:v>
                </c:pt>
                <c:pt idx="397">
                  <c:v>-0.2311827957</c:v>
                </c:pt>
                <c:pt idx="398">
                  <c:v>0</c:v>
                </c:pt>
                <c:pt idx="399">
                  <c:v>0.36752136751999998</c:v>
                </c:pt>
                <c:pt idx="400">
                  <c:v>0</c:v>
                </c:pt>
                <c:pt idx="401">
                  <c:v>0</c:v>
                </c:pt>
                <c:pt idx="402">
                  <c:v>-0.41721854304</c:v>
                </c:pt>
                <c:pt idx="403">
                  <c:v>0</c:v>
                </c:pt>
                <c:pt idx="404">
                  <c:v>-0.51807228916000003</c:v>
                </c:pt>
                <c:pt idx="405">
                  <c:v>0</c:v>
                </c:pt>
                <c:pt idx="406">
                  <c:v>-0.49425287355999997</c:v>
                </c:pt>
                <c:pt idx="407">
                  <c:v>0</c:v>
                </c:pt>
                <c:pt idx="408">
                  <c:v>-0.46907993966</c:v>
                </c:pt>
                <c:pt idx="409">
                  <c:v>0</c:v>
                </c:pt>
                <c:pt idx="410">
                  <c:v>-0.38888888889000001</c:v>
                </c:pt>
                <c:pt idx="411">
                  <c:v>0</c:v>
                </c:pt>
                <c:pt idx="412">
                  <c:v>-0.26666666667</c:v>
                </c:pt>
                <c:pt idx="413">
                  <c:v>0</c:v>
                </c:pt>
                <c:pt idx="414">
                  <c:v>0.27930174560999999</c:v>
                </c:pt>
                <c:pt idx="415">
                  <c:v>0.43015521065000001</c:v>
                </c:pt>
                <c:pt idx="416">
                  <c:v>0</c:v>
                </c:pt>
                <c:pt idx="417">
                  <c:v>-0.10171102662000001</c:v>
                </c:pt>
                <c:pt idx="418">
                  <c:v>0</c:v>
                </c:pt>
                <c:pt idx="419">
                  <c:v>-0.27369542065000002</c:v>
                </c:pt>
                <c:pt idx="420">
                  <c:v>0</c:v>
                </c:pt>
                <c:pt idx="421">
                  <c:v>-0.27075511056000001</c:v>
                </c:pt>
                <c:pt idx="422">
                  <c:v>-7.8382838300000007E-3</c:v>
                </c:pt>
                <c:pt idx="423">
                  <c:v>-0.11461856444</c:v>
                </c:pt>
                <c:pt idx="424">
                  <c:v>-0.15368196371000001</c:v>
                </c:pt>
                <c:pt idx="425">
                  <c:v>0.15963855418</c:v>
                </c:pt>
                <c:pt idx="426">
                  <c:v>3.3773861939999997E-2</c:v>
                </c:pt>
                <c:pt idx="427">
                  <c:v>2.8349834983700002</c:v>
                </c:pt>
                <c:pt idx="428">
                  <c:v>0.45994440235</c:v>
                </c:pt>
                <c:pt idx="429">
                  <c:v>0</c:v>
                </c:pt>
                <c:pt idx="430">
                  <c:v>5.3265573771700003</c:v>
                </c:pt>
                <c:pt idx="431">
                  <c:v>0.31806696144000002</c:v>
                </c:pt>
                <c:pt idx="432">
                  <c:v>0.80164533825999995</c:v>
                </c:pt>
                <c:pt idx="433">
                  <c:v>9.2694330810000003E-2</c:v>
                </c:pt>
                <c:pt idx="434">
                  <c:v>-9.6248630880000005E-2</c:v>
                </c:pt>
                <c:pt idx="435">
                  <c:v>-0.19738945124999999</c:v>
                </c:pt>
                <c:pt idx="436">
                  <c:v>-0.26108247422000003</c:v>
                </c:pt>
                <c:pt idx="437">
                  <c:v>0.29873786406000002</c:v>
                </c:pt>
                <c:pt idx="438">
                  <c:v>-0.25857142856999998</c:v>
                </c:pt>
                <c:pt idx="439">
                  <c:v>6.1452951309999997E-2</c:v>
                </c:pt>
                <c:pt idx="440">
                  <c:v>-0.39929328620999999</c:v>
                </c:pt>
                <c:pt idx="441">
                  <c:v>0.14113597246000001</c:v>
                </c:pt>
                <c:pt idx="442">
                  <c:v>0.14784364635</c:v>
                </c:pt>
                <c:pt idx="443">
                  <c:v>0.14804817274000001</c:v>
                </c:pt>
                <c:pt idx="444">
                  <c:v>0.67667984189999997</c:v>
                </c:pt>
                <c:pt idx="445">
                  <c:v>0.31830985913999998</c:v>
                </c:pt>
                <c:pt idx="446">
                  <c:v>0.35954821169000001</c:v>
                </c:pt>
                <c:pt idx="447">
                  <c:v>0.24089234546999999</c:v>
                </c:pt>
                <c:pt idx="448">
                  <c:v>-6.6983122369999995E-2</c:v>
                </c:pt>
                <c:pt idx="449">
                  <c:v>0.38683361791999998</c:v>
                </c:pt>
                <c:pt idx="450">
                  <c:v>-6.1882817599999999E-3</c:v>
                </c:pt>
                <c:pt idx="451">
                  <c:v>0.53059210525</c:v>
                </c:pt>
                <c:pt idx="452">
                  <c:v>2.2965879299999999E-3</c:v>
                </c:pt>
                <c:pt idx="453">
                  <c:v>0.46381109282999999</c:v>
                </c:pt>
                <c:pt idx="454">
                  <c:v>7.1713810310000001E-2</c:v>
                </c:pt>
                <c:pt idx="455">
                  <c:v>0.24010821778999999</c:v>
                </c:pt>
                <c:pt idx="456">
                  <c:v>-0.13803215163999999</c:v>
                </c:pt>
                <c:pt idx="457">
                  <c:v>8.3880308890000005E-2</c:v>
                </c:pt>
                <c:pt idx="458">
                  <c:v>-6.4731628649999998E-2</c:v>
                </c:pt>
                <c:pt idx="459">
                  <c:v>0.22210489262999999</c:v>
                </c:pt>
                <c:pt idx="460">
                  <c:v>-9.6966477819999994E-2</c:v>
                </c:pt>
                <c:pt idx="461">
                  <c:v>0.13489788606</c:v>
                </c:pt>
                <c:pt idx="462">
                  <c:v>-4.5901639350000002E-2</c:v>
                </c:pt>
                <c:pt idx="463">
                  <c:v>2.1738007381400002</c:v>
                </c:pt>
                <c:pt idx="464">
                  <c:v>-0.37946600076999998</c:v>
                </c:pt>
                <c:pt idx="465">
                  <c:v>1.62172573184</c:v>
                </c:pt>
                <c:pt idx="466">
                  <c:v>-0.37631887456000002</c:v>
                </c:pt>
                <c:pt idx="467">
                  <c:v>0.81391002535000001</c:v>
                </c:pt>
                <c:pt idx="468">
                  <c:v>-0.32529659394999999</c:v>
                </c:pt>
                <c:pt idx="469">
                  <c:v>1.3267973856199999</c:v>
                </c:pt>
                <c:pt idx="470">
                  <c:v>-0.31431037071000001</c:v>
                </c:pt>
                <c:pt idx="471">
                  <c:v>1.3371735791199999</c:v>
                </c:pt>
                <c:pt idx="472">
                  <c:v>-0.23415340086</c:v>
                </c:pt>
                <c:pt idx="473">
                  <c:v>0.67497507479999996</c:v>
                </c:pt>
                <c:pt idx="474">
                  <c:v>-0.22321981424000001</c:v>
                </c:pt>
                <c:pt idx="475">
                  <c:v>-0.23193359374</c:v>
                </c:pt>
                <c:pt idx="476">
                  <c:v>-0.28696105250999998</c:v>
                </c:pt>
                <c:pt idx="477">
                  <c:v>-0.34140435835999999</c:v>
                </c:pt>
                <c:pt idx="478">
                  <c:v>-0.14853878268000001</c:v>
                </c:pt>
                <c:pt idx="479">
                  <c:v>-0.34506777108999998</c:v>
                </c:pt>
                <c:pt idx="480">
                  <c:v>-0.29387331256999999</c:v>
                </c:pt>
                <c:pt idx="481">
                  <c:v>1.7377567140000001E-2</c:v>
                </c:pt>
                <c:pt idx="482">
                  <c:v>-0.42317233327999998</c:v>
                </c:pt>
                <c:pt idx="483">
                  <c:v>0.25037783374</c:v>
                </c:pt>
                <c:pt idx="484">
                  <c:v>-0.19861711322</c:v>
                </c:pt>
                <c:pt idx="485">
                  <c:v>0.11908931698</c:v>
                </c:pt>
                <c:pt idx="486">
                  <c:v>-0.41021659807999999</c:v>
                </c:pt>
                <c:pt idx="487">
                  <c:v>0.21272885788000001</c:v>
                </c:pt>
                <c:pt idx="488">
                  <c:v>-0.32906986157000001</c:v>
                </c:pt>
                <c:pt idx="489">
                  <c:v>2.2900763340000001E-2</c:v>
                </c:pt>
                <c:pt idx="490">
                  <c:v>-0.4375</c:v>
                </c:pt>
                <c:pt idx="491">
                  <c:v>1.4745417515599999</c:v>
                </c:pt>
                <c:pt idx="492">
                  <c:v>-0.28872497364999999</c:v>
                </c:pt>
                <c:pt idx="493">
                  <c:v>2.3721436330000002E-2</c:v>
                </c:pt>
                <c:pt idx="494">
                  <c:v>0.28311499274000002</c:v>
                </c:pt>
                <c:pt idx="495">
                  <c:v>-0.28225806451000002</c:v>
                </c:pt>
                <c:pt idx="496">
                  <c:v>0.16851168512</c:v>
                </c:pt>
                <c:pt idx="497">
                  <c:v>-0.23132372214999999</c:v>
                </c:pt>
                <c:pt idx="498">
                  <c:v>-0.29292929292999997</c:v>
                </c:pt>
                <c:pt idx="499">
                  <c:v>-0.18323170730999999</c:v>
                </c:pt>
                <c:pt idx="500">
                  <c:v>-0.48302687411</c:v>
                </c:pt>
                <c:pt idx="501">
                  <c:v>0.13868613136999999</c:v>
                </c:pt>
                <c:pt idx="502">
                  <c:v>-0.58095238095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A5-4E48-8001-05252BA01D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EOCK_pocet_pripadu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16" formatCode="#\ ##0.0">
                  <c:v>434.87170401700502</c:v>
                </c:pt>
                <c:pt idx="117" formatCode="#\ ##0.0">
                  <c:v>438.45054891351202</c:v>
                </c:pt>
                <c:pt idx="118" formatCode="#\ ##0.0">
                  <c:v>466.44589959218899</c:v>
                </c:pt>
                <c:pt idx="119" formatCode="#\ ##0.0">
                  <c:v>518.50267483615096</c:v>
                </c:pt>
                <c:pt idx="120" formatCode="#\ ##0.0">
                  <c:v>545.83458429380403</c:v>
                </c:pt>
                <c:pt idx="121" formatCode="#\ ##0.0">
                  <c:v>629.42817814275099</c:v>
                </c:pt>
                <c:pt idx="122" formatCode="#\ ##0.0">
                  <c:v>636.66996611871002</c:v>
                </c:pt>
                <c:pt idx="123" formatCode="#\ ##0.0">
                  <c:v>654.947304545777</c:v>
                </c:pt>
                <c:pt idx="124" formatCode="#\ ##0.0">
                  <c:v>678.10233758374795</c:v>
                </c:pt>
                <c:pt idx="125" formatCode="#\ ##0.0">
                  <c:v>696.94967480634205</c:v>
                </c:pt>
                <c:pt idx="126" formatCode="#\ ##0.0">
                  <c:v>705.537033709448</c:v>
                </c:pt>
                <c:pt idx="127" formatCode="#\ ##0.0">
                  <c:v>712.29292107282697</c:v>
                </c:pt>
                <c:pt idx="128" formatCode="#\ ##0.0">
                  <c:v>727.17829945437995</c:v>
                </c:pt>
                <c:pt idx="129" formatCode="#\ ##0.0">
                  <c:v>817.48105945395696</c:v>
                </c:pt>
                <c:pt idx="130" formatCode="#\ ##0.0">
                  <c:v>849.88689261605805</c:v>
                </c:pt>
                <c:pt idx="131" formatCode="#\ ##0.0">
                  <c:v>831.65627540173898</c:v>
                </c:pt>
                <c:pt idx="132" formatCode="#\ ##0.0">
                  <c:v>798.25995252937798</c:v>
                </c:pt>
                <c:pt idx="133" formatCode="#\ ##0.0">
                  <c:v>736.59736477384604</c:v>
                </c:pt>
                <c:pt idx="134" formatCode="#\ ##0.0">
                  <c:v>672.44913367650304</c:v>
                </c:pt>
                <c:pt idx="135" formatCode="#\ ##0.0">
                  <c:v>608.87090142794898</c:v>
                </c:pt>
                <c:pt idx="136" formatCode="#\ ##0.0">
                  <c:v>573.58703826355497</c:v>
                </c:pt>
                <c:pt idx="137" formatCode="#\ ##0.0">
                  <c:v>543.58267263302798</c:v>
                </c:pt>
                <c:pt idx="138" formatCode="#\ ##0.0">
                  <c:v>527.96844187357306</c:v>
                </c:pt>
                <c:pt idx="139" formatCode="#\ ##0.0">
                  <c:v>511.933720160093</c:v>
                </c:pt>
                <c:pt idx="140" formatCode="#\ ##0.0">
                  <c:v>500.80481983641198</c:v>
                </c:pt>
                <c:pt idx="141" formatCode="#\ ##0.0">
                  <c:v>475.50999259655299</c:v>
                </c:pt>
                <c:pt idx="142" formatCode="#\ ##0.0">
                  <c:v>470.295903304994</c:v>
                </c:pt>
                <c:pt idx="143" formatCode="#\ ##0.0">
                  <c:v>462.27858339721598</c:v>
                </c:pt>
                <c:pt idx="144" formatCode="#\ ##0.0">
                  <c:v>452.88765756621001</c:v>
                </c:pt>
                <c:pt idx="145" formatCode="#\ ##0.0">
                  <c:v>450.579670465726</c:v>
                </c:pt>
                <c:pt idx="146" formatCode="#\ ##0.0">
                  <c:v>444.04812363714098</c:v>
                </c:pt>
                <c:pt idx="147" formatCode="#\ ##0.0">
                  <c:v>440.05821095322</c:v>
                </c:pt>
                <c:pt idx="148" formatCode="#\ ##0.0">
                  <c:v>442.81476533873001</c:v>
                </c:pt>
                <c:pt idx="149" formatCode="#\ ##0.0">
                  <c:v>447.150665469854</c:v>
                </c:pt>
                <c:pt idx="150" formatCode="#\ ##0.0">
                  <c:v>443.263496540429</c:v>
                </c:pt>
                <c:pt idx="151" formatCode="#\ ##0.0">
                  <c:v>441.57235115691702</c:v>
                </c:pt>
                <c:pt idx="152" formatCode="#\ ##0.0">
                  <c:v>443.26197227374502</c:v>
                </c:pt>
                <c:pt idx="153" formatCode="#\ ##0.0">
                  <c:v>445.74903727292599</c:v>
                </c:pt>
                <c:pt idx="154" formatCode="#\ ##0.0">
                  <c:v>445.50738143299702</c:v>
                </c:pt>
                <c:pt idx="155" formatCode="#\ ##0.0">
                  <c:v>456.362717233534</c:v>
                </c:pt>
                <c:pt idx="156" formatCode="#\ ##0.0">
                  <c:v>457.316388830694</c:v>
                </c:pt>
                <c:pt idx="157" formatCode="#\ ##0.0">
                  <c:v>462.69266233621602</c:v>
                </c:pt>
                <c:pt idx="158" formatCode="#\ ##0.0">
                  <c:v>469.858795406985</c:v>
                </c:pt>
                <c:pt idx="159" formatCode="#\ ##0.0">
                  <c:v>468.74627258026999</c:v>
                </c:pt>
                <c:pt idx="160" formatCode="#\ ##0.0">
                  <c:v>474.041994517327</c:v>
                </c:pt>
                <c:pt idx="161" formatCode="#\ ##0.0">
                  <c:v>484.83482318254102</c:v>
                </c:pt>
                <c:pt idx="162" formatCode="#\ ##0.0">
                  <c:v>483.95446879638001</c:v>
                </c:pt>
                <c:pt idx="163" formatCode="#\ ##0.0">
                  <c:v>492.825529286353</c:v>
                </c:pt>
                <c:pt idx="164" formatCode="#\ ##0.0">
                  <c:v>495.057257640486</c:v>
                </c:pt>
                <c:pt idx="165" formatCode="#\ ##0.0">
                  <c:v>498.12763693046998</c:v>
                </c:pt>
                <c:pt idx="166" formatCode="#\ ##0.0">
                  <c:v>502.18790950318902</c:v>
                </c:pt>
                <c:pt idx="167" formatCode="#\ ##0.0">
                  <c:v>513.01064994114597</c:v>
                </c:pt>
                <c:pt idx="168" formatCode="#\ ##0.0">
                  <c:v>535.25486029245803</c:v>
                </c:pt>
                <c:pt idx="169" formatCode="#\ ##0.0">
                  <c:v>548.84520072939802</c:v>
                </c:pt>
                <c:pt idx="170" formatCode="#\ ##0.0">
                  <c:v>574.65013568180495</c:v>
                </c:pt>
                <c:pt idx="171" formatCode="#\ ##0.0">
                  <c:v>598.322446159793</c:v>
                </c:pt>
                <c:pt idx="172" formatCode="#\ ##0.0">
                  <c:v>613.77712269498795</c:v>
                </c:pt>
                <c:pt idx="173" formatCode="#\ ##0.0">
                  <c:v>625.13479846315295</c:v>
                </c:pt>
                <c:pt idx="174" formatCode="#\ ##0.0">
                  <c:v>649.41140129193104</c:v>
                </c:pt>
                <c:pt idx="175" formatCode="#\ ##0.0">
                  <c:v>680.63280496251105</c:v>
                </c:pt>
                <c:pt idx="176" formatCode="#\ ##0.0">
                  <c:v>708.42850210349104</c:v>
                </c:pt>
                <c:pt idx="177" formatCode="#\ ##0.0">
                  <c:v>736.85154315640295</c:v>
                </c:pt>
                <c:pt idx="178" formatCode="#\ ##0.0">
                  <c:v>770.94930815393002</c:v>
                </c:pt>
                <c:pt idx="179" formatCode="#\ ##0.0">
                  <c:v>781.40234507096602</c:v>
                </c:pt>
                <c:pt idx="180" formatCode="#\ ##0.0">
                  <c:v>786.34755485191204</c:v>
                </c:pt>
                <c:pt idx="181" formatCode="#\ ##0.0">
                  <c:v>795.69577121914699</c:v>
                </c:pt>
                <c:pt idx="182" formatCode="#\ ##0.0">
                  <c:v>805.11491708776305</c:v>
                </c:pt>
                <c:pt idx="183" formatCode="#\ ##0.0">
                  <c:v>819.36400599366004</c:v>
                </c:pt>
                <c:pt idx="184" formatCode="#\ ##0.0">
                  <c:v>820.57597887094903</c:v>
                </c:pt>
                <c:pt idx="185" formatCode="#\ ##0.0">
                  <c:v>805.68072933682402</c:v>
                </c:pt>
                <c:pt idx="186" formatCode="#\ ##0.0">
                  <c:v>817.88038712668094</c:v>
                </c:pt>
                <c:pt idx="187" formatCode="#\ ##0.0">
                  <c:v>812.25818072284403</c:v>
                </c:pt>
                <c:pt idx="188" formatCode="#\ ##0.0">
                  <c:v>796.82149149244799</c:v>
                </c:pt>
                <c:pt idx="189" formatCode="#\ ##0.0">
                  <c:v>783.93921795492201</c:v>
                </c:pt>
                <c:pt idx="190" formatCode="#\ ##0.0">
                  <c:v>777.89562483026202</c:v>
                </c:pt>
                <c:pt idx="191" formatCode="#\ ##0.0">
                  <c:v>745.64990563250603</c:v>
                </c:pt>
                <c:pt idx="192" formatCode="#\ ##0.0">
                  <c:v>763.34943506863203</c:v>
                </c:pt>
                <c:pt idx="193" formatCode="#\ ##0.0">
                  <c:v>743.36519808057903</c:v>
                </c:pt>
                <c:pt idx="194" formatCode="#\ ##0.0">
                  <c:v>737.16899791265598</c:v>
                </c:pt>
                <c:pt idx="195" formatCode="#\ ##0.0">
                  <c:v>737.01057017366304</c:v>
                </c:pt>
                <c:pt idx="196" formatCode="#\ ##0.0">
                  <c:v>724.54232821068797</c:v>
                </c:pt>
                <c:pt idx="197" formatCode="#\ ##0.0">
                  <c:v>700.852573277739</c:v>
                </c:pt>
                <c:pt idx="198" formatCode="#\ ##0.0">
                  <c:v>695.76506571449704</c:v>
                </c:pt>
                <c:pt idx="199" formatCode="#\ ##0.0">
                  <c:v>645.78526073198896</c:v>
                </c:pt>
                <c:pt idx="200" formatCode="#\ ##0.0">
                  <c:v>631.07893642986198</c:v>
                </c:pt>
                <c:pt idx="201" formatCode="#\ ##0.0">
                  <c:v>622.03376102926904</c:v>
                </c:pt>
                <c:pt idx="202" formatCode="#\ ##0.0">
                  <c:v>599.43357315151297</c:v>
                </c:pt>
                <c:pt idx="203" formatCode="#\ ##0.0">
                  <c:v>570.36250863934799</c:v>
                </c:pt>
                <c:pt idx="204" formatCode="#\ ##0.0">
                  <c:v>540.008658804226</c:v>
                </c:pt>
                <c:pt idx="205" formatCode="#\ ##0.0">
                  <c:v>514.10369000566004</c:v>
                </c:pt>
                <c:pt idx="206" formatCode="#\ ##0.0">
                  <c:v>495.31802662174499</c:v>
                </c:pt>
                <c:pt idx="207" formatCode="#\ ##0.0">
                  <c:v>480.77006313762098</c:v>
                </c:pt>
                <c:pt idx="208" formatCode="#\ ##0.0">
                  <c:v>474.65730364099801</c:v>
                </c:pt>
                <c:pt idx="209" formatCode="#\ ##0.0">
                  <c:v>462.47516058967602</c:v>
                </c:pt>
                <c:pt idx="210" formatCode="#\ ##0.0">
                  <c:v>440.47998006202801</c:v>
                </c:pt>
                <c:pt idx="211" formatCode="#\ ##0.0">
                  <c:v>425.635694434475</c:v>
                </c:pt>
                <c:pt idx="212" formatCode="#\ ##0.0">
                  <c:v>409.82284410292601</c:v>
                </c:pt>
                <c:pt idx="213" formatCode="#\ ##0.0">
                  <c:v>372.93357227130502</c:v>
                </c:pt>
                <c:pt idx="214" formatCode="#\ ##0.0">
                  <c:v>355.39155464530802</c:v>
                </c:pt>
                <c:pt idx="215" formatCode="#\ ##0.0">
                  <c:v>357.20598568912101</c:v>
                </c:pt>
                <c:pt idx="216" formatCode="#\ ##0.0">
                  <c:v>304.420534490661</c:v>
                </c:pt>
                <c:pt idx="217" formatCode="#\ ##0.0">
                  <c:v>275.222942125104</c:v>
                </c:pt>
                <c:pt idx="218" formatCode="#\ ##0.0">
                  <c:v>273.56509464038902</c:v>
                </c:pt>
                <c:pt idx="219" formatCode="#\ ##0.0">
                  <c:v>264.630608463567</c:v>
                </c:pt>
                <c:pt idx="220" formatCode="#\ ##0.0">
                  <c:v>274.63468226156198</c:v>
                </c:pt>
                <c:pt idx="221" formatCode="#\ ##0.0">
                  <c:v>275.359346580345</c:v>
                </c:pt>
                <c:pt idx="222" formatCode="#\ ##0.0">
                  <c:v>266.24156470821202</c:v>
                </c:pt>
                <c:pt idx="223" formatCode="#\ ##0.0">
                  <c:v>290.51696437046598</c:v>
                </c:pt>
                <c:pt idx="224" formatCode="#\ ##0.0">
                  <c:v>286.19100947579</c:v>
                </c:pt>
                <c:pt idx="225" formatCode="#\ ##0.0">
                  <c:v>254.11336742991301</c:v>
                </c:pt>
                <c:pt idx="226" formatCode="#\ ##0.0">
                  <c:v>235.15868727767199</c:v>
                </c:pt>
                <c:pt idx="227" formatCode="#\ ##0.0">
                  <c:v>219.540733533039</c:v>
                </c:pt>
                <c:pt idx="228" formatCode="#\ ##0.0">
                  <c:v>213.071036947359</c:v>
                </c:pt>
                <c:pt idx="229" formatCode="#\ ##0.0">
                  <c:v>211.736518232295</c:v>
                </c:pt>
                <c:pt idx="230" formatCode="#\ ##0.0">
                  <c:v>206.683539424944</c:v>
                </c:pt>
                <c:pt idx="231" formatCode="#\ ##0.0">
                  <c:v>194.64342639897799</c:v>
                </c:pt>
                <c:pt idx="232" formatCode="#\ ##0.0">
                  <c:v>187.46689399086699</c:v>
                </c:pt>
                <c:pt idx="233" formatCode="#\ ##0.0">
                  <c:v>181.62368119852201</c:v>
                </c:pt>
                <c:pt idx="234" formatCode="#\ ##0.0">
                  <c:v>176.02947730900499</c:v>
                </c:pt>
                <c:pt idx="235" formatCode="#\ ##0.0">
                  <c:v>174.10500648084201</c:v>
                </c:pt>
                <c:pt idx="236" formatCode="#\ ##0.0">
                  <c:v>174.27049368348401</c:v>
                </c:pt>
                <c:pt idx="237" formatCode="#\ ##0.0">
                  <c:v>167.12937871229599</c:v>
                </c:pt>
                <c:pt idx="238" formatCode="#\ ##0.0">
                  <c:v>161.831694432886</c:v>
                </c:pt>
                <c:pt idx="239" formatCode="#\ ##0.0">
                  <c:v>157.73010985100399</c:v>
                </c:pt>
                <c:pt idx="240" formatCode="#\ ##0.0">
                  <c:v>154.026839957335</c:v>
                </c:pt>
                <c:pt idx="241" formatCode="#\ ##0.0">
                  <c:v>150.048647671954</c:v>
                </c:pt>
                <c:pt idx="242" formatCode="#\ ##0.0">
                  <c:v>148.72170132499701</c:v>
                </c:pt>
                <c:pt idx="243" formatCode="#\ ##0.0">
                  <c:v>145.52015900461299</c:v>
                </c:pt>
                <c:pt idx="244" formatCode="#\ ##0.0">
                  <c:v>141.99815283143599</c:v>
                </c:pt>
                <c:pt idx="245" formatCode="#\ ##0.0">
                  <c:v>133.774818480547</c:v>
                </c:pt>
                <c:pt idx="246" formatCode="#\ ##0.0">
                  <c:v>127.632020617433</c:v>
                </c:pt>
                <c:pt idx="247" formatCode="#\ ##0.0">
                  <c:v>121.150441643958</c:v>
                </c:pt>
                <c:pt idx="248" formatCode="#\ ##0.0">
                  <c:v>115.844421843934</c:v>
                </c:pt>
                <c:pt idx="249" formatCode="#\ ##0.0">
                  <c:v>111.43316595784501</c:v>
                </c:pt>
                <c:pt idx="250" formatCode="#\ ##0.0">
                  <c:v>110.247086920897</c:v>
                </c:pt>
                <c:pt idx="251" formatCode="#\ ##0.0">
                  <c:v>103.48052263981801</c:v>
                </c:pt>
                <c:pt idx="252" formatCode="#\ ##0.0">
                  <c:v>96.256330257751998</c:v>
                </c:pt>
                <c:pt idx="253" formatCode="#\ ##0.0">
                  <c:v>90.163253895314</c:v>
                </c:pt>
                <c:pt idx="254" formatCode="#\ ##0.0">
                  <c:v>86.844453093005995</c:v>
                </c:pt>
                <c:pt idx="255" formatCode="#\ ##0.0">
                  <c:v>80.922886531239996</c:v>
                </c:pt>
                <c:pt idx="256" formatCode="#\ ##0.0">
                  <c:v>79.515624210564994</c:v>
                </c:pt>
                <c:pt idx="257" formatCode="#\ ##0.0">
                  <c:v>78.242546934935007</c:v>
                </c:pt>
                <c:pt idx="258" formatCode="#\ ##0.0">
                  <c:v>74.023523329455003</c:v>
                </c:pt>
                <c:pt idx="259" formatCode="#\ ##0.0">
                  <c:v>69.068342162123997</c:v>
                </c:pt>
                <c:pt idx="260" formatCode="#\ ##0.0">
                  <c:v>64.121980517691</c:v>
                </c:pt>
                <c:pt idx="261" formatCode="#\ ##0.0">
                  <c:v>58.541464053052003</c:v>
                </c:pt>
                <c:pt idx="262" formatCode="#\ ##0.0">
                  <c:v>54.668464725551999</c:v>
                </c:pt>
                <c:pt idx="263" formatCode="#\ ##0.0">
                  <c:v>52.020438529181</c:v>
                </c:pt>
                <c:pt idx="264" formatCode="#\ ##0.0">
                  <c:v>51.435078141753003</c:v>
                </c:pt>
                <c:pt idx="265" formatCode="#\ ##0.0">
                  <c:v>47.025778024608996</c:v>
                </c:pt>
                <c:pt idx="266" formatCode="#\ ##0.0">
                  <c:v>41.462276505742999</c:v>
                </c:pt>
                <c:pt idx="267" formatCode="#\ ##0.0">
                  <c:v>39.044474467619999</c:v>
                </c:pt>
                <c:pt idx="268" formatCode="#\ ##0.0">
                  <c:v>37.278826970693999</c:v>
                </c:pt>
                <c:pt idx="269" formatCode="#\ ##0.0">
                  <c:v>35.035362874154998</c:v>
                </c:pt>
                <c:pt idx="270" formatCode="#\ ##0.0">
                  <c:v>33.875172649141</c:v>
                </c:pt>
                <c:pt idx="271" formatCode="#\ ##0.0">
                  <c:v>32.971908351449997</c:v>
                </c:pt>
                <c:pt idx="272" formatCode="#\ ##0.0">
                  <c:v>31.073871656139001</c:v>
                </c:pt>
                <c:pt idx="273" formatCode="#\ ##0.0">
                  <c:v>29.244853344953999</c:v>
                </c:pt>
                <c:pt idx="274" formatCode="#\ ##0.0">
                  <c:v>27.406246445931998</c:v>
                </c:pt>
                <c:pt idx="275" formatCode="#\ ##0.0">
                  <c:v>26.580932743938</c:v>
                </c:pt>
                <c:pt idx="276" formatCode="#\ ##0.0">
                  <c:v>25.289451518035001</c:v>
                </c:pt>
                <c:pt idx="277" formatCode="#\ ##0.0">
                  <c:v>24.602285028175</c:v>
                </c:pt>
                <c:pt idx="278" formatCode="#\ ##0.0">
                  <c:v>24.488548225972998</c:v>
                </c:pt>
                <c:pt idx="279" formatCode="#\ ##0.0">
                  <c:v>22.277195471637999</c:v>
                </c:pt>
                <c:pt idx="280" formatCode="#\ ##0.0">
                  <c:v>21.330624790588001</c:v>
                </c:pt>
                <c:pt idx="281" formatCode="#\ ##0.0">
                  <c:v>20.348527790418999</c:v>
                </c:pt>
                <c:pt idx="282" formatCode="#\ ##0.0">
                  <c:v>17.994685934250001</c:v>
                </c:pt>
                <c:pt idx="283" formatCode="#\ ##0.0">
                  <c:v>16.596874956189001</c:v>
                </c:pt>
                <c:pt idx="284" formatCode="#\ ##0.0">
                  <c:v>15.817256237605999</c:v>
                </c:pt>
                <c:pt idx="285" formatCode="#\ ##0.0">
                  <c:v>15.192731814412999</c:v>
                </c:pt>
                <c:pt idx="286" formatCode="#\ ##0.0">
                  <c:v>13.966035341683</c:v>
                </c:pt>
                <c:pt idx="287" formatCode="#\ ##0.0">
                  <c:v>12.181706444931001</c:v>
                </c:pt>
                <c:pt idx="288" formatCode="#\ ##0.0">
                  <c:v>10.890064795884999</c:v>
                </c:pt>
                <c:pt idx="289" formatCode="#\ ##0.0">
                  <c:v>10.597273167693</c:v>
                </c:pt>
                <c:pt idx="290" formatCode="#\ ##0.0">
                  <c:v>10.27504466914</c:v>
                </c:pt>
                <c:pt idx="291" formatCode="#\ ##0.0">
                  <c:v>10.095702569881</c:v>
                </c:pt>
                <c:pt idx="292" formatCode="#\ ##0.0">
                  <c:v>10.314186682751</c:v>
                </c:pt>
                <c:pt idx="293" formatCode="#\ ##0.0">
                  <c:v>9.7484176550819992</c:v>
                </c:pt>
                <c:pt idx="294" formatCode="#\ ##0.0">
                  <c:v>8.7104382992870004</c:v>
                </c:pt>
                <c:pt idx="295" formatCode="#\ ##0.0">
                  <c:v>8.5008563043770007</c:v>
                </c:pt>
                <c:pt idx="296" formatCode="#\ ##0.0">
                  <c:v>7.9148363607579997</c:v>
                </c:pt>
                <c:pt idx="297" formatCode="#\ ##0.0">
                  <c:v>7.8165563244919998</c:v>
                </c:pt>
                <c:pt idx="298" formatCode="#\ ##0.0">
                  <c:v>7.9284726216000001</c:v>
                </c:pt>
                <c:pt idx="299" formatCode="#\ ##0.0">
                  <c:v>7.9454906719120002</c:v>
                </c:pt>
                <c:pt idx="300" formatCode="#\ ##0.0">
                  <c:v>8.3440258302829999</c:v>
                </c:pt>
                <c:pt idx="301" formatCode="#\ ##0.0">
                  <c:v>8.9253033891969995</c:v>
                </c:pt>
                <c:pt idx="302" formatCode="#\ ##0.0">
                  <c:v>9.3558116878490001</c:v>
                </c:pt>
                <c:pt idx="303" formatCode="#\ ##0.0">
                  <c:v>10.211066983995</c:v>
                </c:pt>
                <c:pt idx="304" formatCode="#\ ##0.0">
                  <c:v>10.677543198594</c:v>
                </c:pt>
                <c:pt idx="305" formatCode="#\ ##0.0">
                  <c:v>11.401697224072</c:v>
                </c:pt>
                <c:pt idx="306" formatCode="#\ ##0.0">
                  <c:v>12.024673795409999</c:v>
                </c:pt>
                <c:pt idx="307" formatCode="#\ ##0.0">
                  <c:v>11.893872919113999</c:v>
                </c:pt>
                <c:pt idx="308" formatCode="#\ ##0.0">
                  <c:v>11.402552843626999</c:v>
                </c:pt>
                <c:pt idx="309" formatCode="#\ ##0.0">
                  <c:v>13.248166788087</c:v>
                </c:pt>
                <c:pt idx="310" formatCode="#\ ##0.0">
                  <c:v>14.464354462522</c:v>
                </c:pt>
                <c:pt idx="311" formatCode="#\ ##0.0">
                  <c:v>16.128658242021999</c:v>
                </c:pt>
                <c:pt idx="312" formatCode="#\ ##0.0">
                  <c:v>16.579209385133002</c:v>
                </c:pt>
                <c:pt idx="313" formatCode="#\ ##0.0">
                  <c:v>17.133227164783001</c:v>
                </c:pt>
                <c:pt idx="314" formatCode="#\ ##0.0">
                  <c:v>18.620210693625999</c:v>
                </c:pt>
                <c:pt idx="315" formatCode="#\ ##0.0">
                  <c:v>21.520426839163999</c:v>
                </c:pt>
                <c:pt idx="316" formatCode="#\ ##0.0">
                  <c:v>21.501331121715999</c:v>
                </c:pt>
                <c:pt idx="317" formatCode="#\ ##0.0">
                  <c:v>21.479006905999999</c:v>
                </c:pt>
                <c:pt idx="318" formatCode="#\ ##0.0">
                  <c:v>21.028073309016001</c:v>
                </c:pt>
                <c:pt idx="319" formatCode="#\ ##0.0">
                  <c:v>21.635113720001002</c:v>
                </c:pt>
                <c:pt idx="320" formatCode="#\ ##0.0">
                  <c:v>21.268326312506002</c:v>
                </c:pt>
                <c:pt idx="321" formatCode="#\ ##0.0">
                  <c:v>21.007806080582998</c:v>
                </c:pt>
                <c:pt idx="322" formatCode="#\ ##0.0">
                  <c:v>20.709959339305001</c:v>
                </c:pt>
                <c:pt idx="323" formatCode="#\ ##0.0">
                  <c:v>20.587128409796001</c:v>
                </c:pt>
                <c:pt idx="324" formatCode="#\ ##0.0">
                  <c:v>20.321140074839001</c:v>
                </c:pt>
                <c:pt idx="325" formatCode="#\ ##0.0">
                  <c:v>19.814679079803</c:v>
                </c:pt>
                <c:pt idx="326" formatCode="#\ ##0.0">
                  <c:v>18.906895918848001</c:v>
                </c:pt>
                <c:pt idx="327" formatCode="#\ ##0.0">
                  <c:v>18.487846177611999</c:v>
                </c:pt>
                <c:pt idx="328" formatCode="#\ ##0.0">
                  <c:v>18.336864139338001</c:v>
                </c:pt>
                <c:pt idx="329" formatCode="#\ ##0.0">
                  <c:v>17.841766800350001</c:v>
                </c:pt>
                <c:pt idx="330" formatCode="#\ ##0.0">
                  <c:v>17.477497909937998</c:v>
                </c:pt>
                <c:pt idx="331" formatCode="#\ ##0.0">
                  <c:v>17.790320359803001</c:v>
                </c:pt>
                <c:pt idx="332" formatCode="#\ ##0.0">
                  <c:v>17.20407981584</c:v>
                </c:pt>
                <c:pt idx="333" formatCode="#\ ##0.0">
                  <c:v>17.117544755956001</c:v>
                </c:pt>
                <c:pt idx="334" formatCode="#\ ##0.0">
                  <c:v>17.077914449438001</c:v>
                </c:pt>
                <c:pt idx="335" formatCode="#\ ##0.0">
                  <c:v>16.629518510271001</c:v>
                </c:pt>
                <c:pt idx="336" formatCode="#\ ##0.0">
                  <c:v>16.504949897953999</c:v>
                </c:pt>
                <c:pt idx="337" formatCode="#\ ##0.0">
                  <c:v>16.624762752451002</c:v>
                </c:pt>
                <c:pt idx="338" formatCode="#\ ##0.0">
                  <c:v>15.989468960281</c:v>
                </c:pt>
                <c:pt idx="339" formatCode="#\ ##0.0">
                  <c:v>16.736497320527</c:v>
                </c:pt>
                <c:pt idx="340" formatCode="#\ ##0.0">
                  <c:v>17.452132932765</c:v>
                </c:pt>
                <c:pt idx="341" formatCode="#\ ##0.0">
                  <c:v>17.943701225851001</c:v>
                </c:pt>
                <c:pt idx="342" formatCode="#\ ##0.0">
                  <c:v>18.370721152864</c:v>
                </c:pt>
                <c:pt idx="343" formatCode="#\ ##0.0">
                  <c:v>18.932019999704998</c:v>
                </c:pt>
                <c:pt idx="344" formatCode="#\ ##0.0">
                  <c:v>19.365195737634</c:v>
                </c:pt>
                <c:pt idx="345" formatCode="#\ ##0.0">
                  <c:v>19.927399087413001</c:v>
                </c:pt>
                <c:pt idx="346" formatCode="#\ ##0.0">
                  <c:v>20.636517745780999</c:v>
                </c:pt>
                <c:pt idx="347" formatCode="#\ ##0.0">
                  <c:v>20.379655134377</c:v>
                </c:pt>
                <c:pt idx="348" formatCode="#\ ##0.0">
                  <c:v>19.954637603997998</c:v>
                </c:pt>
                <c:pt idx="349" formatCode="#\ ##0.0">
                  <c:v>20.811495979501998</c:v>
                </c:pt>
                <c:pt idx="350" formatCode="#\ ##0.0">
                  <c:v>21.472493683303998</c:v>
                </c:pt>
                <c:pt idx="351" formatCode="#\ ##0.0">
                  <c:v>21.312581369330001</c:v>
                </c:pt>
                <c:pt idx="352" formatCode="#\ ##0.0">
                  <c:v>21.058541508733999</c:v>
                </c:pt>
                <c:pt idx="353" formatCode="#\ ##0.0">
                  <c:v>20.526408925230999</c:v>
                </c:pt>
                <c:pt idx="354" formatCode="#\ ##0.0">
                  <c:v>20.485790059408</c:v>
                </c:pt>
                <c:pt idx="355" formatCode="#\ ##0.0">
                  <c:v>20.901752093399001</c:v>
                </c:pt>
                <c:pt idx="356" formatCode="#\ ##0.0">
                  <c:v>20.782715714116001</c:v>
                </c:pt>
                <c:pt idx="357" formatCode="#\ ##0.0">
                  <c:v>19.840945090957</c:v>
                </c:pt>
                <c:pt idx="358" formatCode="#\ ##0.0">
                  <c:v>20.547618785765</c:v>
                </c:pt>
                <c:pt idx="359" formatCode="#\ ##0.0">
                  <c:v>21.315732505458001</c:v>
                </c:pt>
                <c:pt idx="360" formatCode="#\ ##0.0">
                  <c:v>21.456893305876001</c:v>
                </c:pt>
                <c:pt idx="361" formatCode="#\ ##0.0">
                  <c:v>21.257394443342999</c:v>
                </c:pt>
                <c:pt idx="362" formatCode="#\ ##0.0">
                  <c:v>20.943846970290998</c:v>
                </c:pt>
                <c:pt idx="363" formatCode="#\ ##0.0">
                  <c:v>21.528658758923001</c:v>
                </c:pt>
                <c:pt idx="364" formatCode="#\ ##0.0">
                  <c:v>22.375098799749999</c:v>
                </c:pt>
                <c:pt idx="365" formatCode="#\ ##0.0">
                  <c:v>22.673550143450001</c:v>
                </c:pt>
                <c:pt idx="366" formatCode="#\ ##0.0">
                  <c:v>24.353786362301001</c:v>
                </c:pt>
                <c:pt idx="367" formatCode="#\ ##0.0">
                  <c:v>25.990868052511001</c:v>
                </c:pt>
                <c:pt idx="368" formatCode="#\ ##0.0">
                  <c:v>27.138975168805</c:v>
                </c:pt>
                <c:pt idx="369" formatCode="#\ ##0.0">
                  <c:v>28.094422093081</c:v>
                </c:pt>
                <c:pt idx="370" formatCode="#\ ##0.0">
                  <c:v>30.616985036388002</c:v>
                </c:pt>
                <c:pt idx="371" formatCode="#\ ##0.0">
                  <c:v>35.894291312085002</c:v>
                </c:pt>
                <c:pt idx="372" formatCode="#\ ##0.0">
                  <c:v>37.975567798063999</c:v>
                </c:pt>
                <c:pt idx="373" formatCode="#\ ##0.0">
                  <c:v>40.062500683787</c:v>
                </c:pt>
                <c:pt idx="374" formatCode="#\ ##0.0">
                  <c:v>43.069602997836</c:v>
                </c:pt>
                <c:pt idx="375" formatCode="#\ ##0.0">
                  <c:v>43.951211952165998</c:v>
                </c:pt>
                <c:pt idx="376" formatCode="#\ ##0.0">
                  <c:v>43.829020305105999</c:v>
                </c:pt>
                <c:pt idx="377" formatCode="#\ ##0.0">
                  <c:v>45.612840225973002</c:v>
                </c:pt>
                <c:pt idx="378" formatCode="#\ ##0.0">
                  <c:v>44.991147294466998</c:v>
                </c:pt>
                <c:pt idx="379" formatCode="#\ ##0.0">
                  <c:v>47.794171300146999</c:v>
                </c:pt>
                <c:pt idx="380" formatCode="#\ ##0.0">
                  <c:v>50.068251788623002</c:v>
                </c:pt>
                <c:pt idx="381" formatCode="#\ ##0.0">
                  <c:v>49.616770101215003</c:v>
                </c:pt>
                <c:pt idx="382" formatCode="#\ ##0.0">
                  <c:v>50.468975763463</c:v>
                </c:pt>
                <c:pt idx="383" formatCode="#\ ##0.0">
                  <c:v>51.396705995935001</c:v>
                </c:pt>
                <c:pt idx="384" formatCode="#\ ##0.0">
                  <c:v>51.037088793683999</c:v>
                </c:pt>
                <c:pt idx="385" formatCode="#\ ##0.0">
                  <c:v>51.214728830732</c:v>
                </c:pt>
                <c:pt idx="386" formatCode="#\ ##0.0">
                  <c:v>50.865986219306002</c:v>
                </c:pt>
                <c:pt idx="387" formatCode="#\ ##0.0">
                  <c:v>49.652729633058001</c:v>
                </c:pt>
                <c:pt idx="388" formatCode="#\ ##0.0">
                  <c:v>51.512428870919003</c:v>
                </c:pt>
                <c:pt idx="389" formatCode="#\ ##0.0">
                  <c:v>53.501960601973998</c:v>
                </c:pt>
                <c:pt idx="390" formatCode="#\ ##0.0">
                  <c:v>54.574218766957003</c:v>
                </c:pt>
                <c:pt idx="391" formatCode="#\ ##0.0">
                  <c:v>57.942924665497003</c:v>
                </c:pt>
                <c:pt idx="392" formatCode="#\ ##0.0">
                  <c:v>56.224806243381003</c:v>
                </c:pt>
                <c:pt idx="393" formatCode="#\ ##0.0">
                  <c:v>59.422240343209999</c:v>
                </c:pt>
                <c:pt idx="394" formatCode="#\ ##0.0">
                  <c:v>66.439204379071995</c:v>
                </c:pt>
                <c:pt idx="395" formatCode="#\ ##0.0">
                  <c:v>71.778024528505995</c:v>
                </c:pt>
                <c:pt idx="396" formatCode="#\ ##0.0">
                  <c:v>73.838865053209005</c:v>
                </c:pt>
                <c:pt idx="397" formatCode="#\ ##0.0">
                  <c:v>74.552320521919995</c:v>
                </c:pt>
                <c:pt idx="398" formatCode="#\ ##0.0">
                  <c:v>76.416829111715003</c:v>
                </c:pt>
                <c:pt idx="399" formatCode="#\ ##0.0">
                  <c:v>86.659888962170001</c:v>
                </c:pt>
                <c:pt idx="400" formatCode="#\ ##0.0">
                  <c:v>91.606891037107005</c:v>
                </c:pt>
                <c:pt idx="401" formatCode="#\ ##0.0">
                  <c:v>92.339304398249993</c:v>
                </c:pt>
                <c:pt idx="402" formatCode="#\ ##0.0">
                  <c:v>94.652452237457993</c:v>
                </c:pt>
                <c:pt idx="403" formatCode="#\ ##0.0">
                  <c:v>96.756243768447007</c:v>
                </c:pt>
                <c:pt idx="404" formatCode="#\ ##0.0">
                  <c:v>97.084514935593006</c:v>
                </c:pt>
                <c:pt idx="405" formatCode="#\ ##0.0">
                  <c:v>105.825508589039</c:v>
                </c:pt>
                <c:pt idx="406" formatCode="#\ ##0.0">
                  <c:v>111.789651460207</c:v>
                </c:pt>
                <c:pt idx="407" formatCode="#\ ##0.0">
                  <c:v>118.960996474282</c:v>
                </c:pt>
                <c:pt idx="408" formatCode="#\ ##0.0">
                  <c:v>127.706513370869</c:v>
                </c:pt>
                <c:pt idx="409" formatCode="#\ ##0.0">
                  <c:v>139.90228044109699</c:v>
                </c:pt>
                <c:pt idx="410" formatCode="#\ ##0.0">
                  <c:v>147.138176258681</c:v>
                </c:pt>
                <c:pt idx="411" formatCode="#\ ##0.0">
                  <c:v>154.44179262795001</c:v>
                </c:pt>
                <c:pt idx="412" formatCode="#\ ##0.0">
                  <c:v>172.10446399006599</c:v>
                </c:pt>
                <c:pt idx="413" formatCode="#\ ##0.0">
                  <c:v>199.463377388494</c:v>
                </c:pt>
                <c:pt idx="414" formatCode="#\ ##0.0">
                  <c:v>229.035825162224</c:v>
                </c:pt>
                <c:pt idx="415" formatCode="#\ ##0.0">
                  <c:v>263.00390435710199</c:v>
                </c:pt>
                <c:pt idx="416" formatCode="#\ ##0.0">
                  <c:v>302.17192472846102</c:v>
                </c:pt>
                <c:pt idx="417" formatCode="#\ ##0.0">
                  <c:v>328.535659567891</c:v>
                </c:pt>
                <c:pt idx="418" formatCode="#\ ##0.0">
                  <c:v>344.41484705341702</c:v>
                </c:pt>
                <c:pt idx="419" formatCode="#\ ##0.0">
                  <c:v>370.44888985011897</c:v>
                </c:pt>
                <c:pt idx="420" formatCode="#\ ##0.0">
                  <c:v>417.67268595599899</c:v>
                </c:pt>
                <c:pt idx="421" formatCode="#\ ##0.0">
                  <c:v>458.01637846359603</c:v>
                </c:pt>
                <c:pt idx="422" formatCode="#\ ##0.0">
                  <c:v>470.71732742972102</c:v>
                </c:pt>
                <c:pt idx="423" formatCode="#\ ##0.0">
                  <c:v>491.33711464339501</c:v>
                </c:pt>
                <c:pt idx="424" formatCode="#\ ##0.0">
                  <c:v>526.44424948099299</c:v>
                </c:pt>
                <c:pt idx="425" formatCode="#\ ##0.0">
                  <c:v>540.32559528678905</c:v>
                </c:pt>
                <c:pt idx="426" formatCode="#\ ##0.0">
                  <c:v>586.85360250489396</c:v>
                </c:pt>
                <c:pt idx="427" formatCode="#\ ##0.0">
                  <c:v>637.53439972480203</c:v>
                </c:pt>
                <c:pt idx="428" formatCode="#\ ##0.0">
                  <c:v>685.639911215442</c:v>
                </c:pt>
                <c:pt idx="429" formatCode="#\ ##0.0">
                  <c:v>736.86240415930001</c:v>
                </c:pt>
                <c:pt idx="430" formatCode="#\ ##0.0">
                  <c:v>787.21944856016603</c:v>
                </c:pt>
                <c:pt idx="431" formatCode="#\ ##0.0">
                  <c:v>791.84692542473601</c:v>
                </c:pt>
                <c:pt idx="432" formatCode="#\ ##0.0">
                  <c:v>792.47386296078105</c:v>
                </c:pt>
                <c:pt idx="433" formatCode="#\ ##0.0">
                  <c:v>817.16573460805898</c:v>
                </c:pt>
                <c:pt idx="434" formatCode="#\ ##0.0">
                  <c:v>896.986824951156</c:v>
                </c:pt>
                <c:pt idx="435" formatCode="#\ ##0.0">
                  <c:v>964.15847098350798</c:v>
                </c:pt>
                <c:pt idx="436" formatCode="#\ ##0.0">
                  <c:v>996.85678135104502</c:v>
                </c:pt>
                <c:pt idx="437" formatCode="#\ ##0.0">
                  <c:v>1072.03786731227</c:v>
                </c:pt>
                <c:pt idx="438" formatCode="#\ ##0.0">
                  <c:v>1127.08351591428</c:v>
                </c:pt>
                <c:pt idx="439" formatCode="#\ ##0.0">
                  <c:v>1169.8130614184399</c:v>
                </c:pt>
                <c:pt idx="440" formatCode="#\ ##0.0">
                  <c:v>1204.2901638375999</c:v>
                </c:pt>
                <c:pt idx="441" formatCode="#\ ##0.0">
                  <c:v>1329.15554034205</c:v>
                </c:pt>
                <c:pt idx="442" formatCode="#\ ##0.0">
                  <c:v>1344.80975459364</c:v>
                </c:pt>
                <c:pt idx="443" formatCode="#\ ##0.0">
                  <c:v>1394.5490687855599</c:v>
                </c:pt>
                <c:pt idx="444" formatCode="#\ ##0.0">
                  <c:v>1533.5681441890899</c:v>
                </c:pt>
                <c:pt idx="445" formatCode="#\ ##0.0">
                  <c:v>1615.0849665389801</c:v>
                </c:pt>
                <c:pt idx="446" formatCode="#\ ##0.0">
                  <c:v>1652.5104572154401</c:v>
                </c:pt>
                <c:pt idx="447" formatCode="#\ ##0.0">
                  <c:v>1697.12641362052</c:v>
                </c:pt>
                <c:pt idx="448" formatCode="#\ ##0.0">
                  <c:v>1746.1078615659901</c:v>
                </c:pt>
                <c:pt idx="449" formatCode="#\ ##0.0">
                  <c:v>1803.71993901362</c:v>
                </c:pt>
                <c:pt idx="450" formatCode="#\ ##0.0">
                  <c:v>2026.6919686776901</c:v>
                </c:pt>
                <c:pt idx="451" formatCode="#\ ##0.0">
                  <c:v>1984.6225332082099</c:v>
                </c:pt>
                <c:pt idx="452" formatCode="#\ ##0.0">
                  <c:v>1946.94976832713</c:v>
                </c:pt>
                <c:pt idx="453" formatCode="#\ ##0.0">
                  <c:v>1955.67344742558</c:v>
                </c:pt>
                <c:pt idx="454" formatCode="#\ ##0.0">
                  <c:v>2000.9351768233</c:v>
                </c:pt>
                <c:pt idx="455" formatCode="#\ ##0.0">
                  <c:v>1935.2439658824901</c:v>
                </c:pt>
                <c:pt idx="456" formatCode="#\ ##0.0">
                  <c:v>1971.0027982738</c:v>
                </c:pt>
                <c:pt idx="457" formatCode="#\ ##0.0">
                  <c:v>1821.35246845438</c:v>
                </c:pt>
                <c:pt idx="458" formatCode="#\ ##0.0">
                  <c:v>1770.5883624027099</c:v>
                </c:pt>
                <c:pt idx="459" formatCode="#\ ##0.0">
                  <c:v>1739.98672746344</c:v>
                </c:pt>
                <c:pt idx="460" formatCode="#\ ##0.0">
                  <c:v>1693.87704472515</c:v>
                </c:pt>
                <c:pt idx="461" formatCode="#\ ##0.0">
                  <c:v>1661.2242025958601</c:v>
                </c:pt>
                <c:pt idx="462" formatCode="#\ ##0.0">
                  <c:v>1621.17009089935</c:v>
                </c:pt>
                <c:pt idx="463" formatCode="#\ ##0.0">
                  <c:v>1547.14156190422</c:v>
                </c:pt>
                <c:pt idx="464" formatCode="#\ ##0.0">
                  <c:v>1478.0604789704801</c:v>
                </c:pt>
                <c:pt idx="465" formatCode="#\ ##0.0">
                  <c:v>1405.2653783173701</c:v>
                </c:pt>
                <c:pt idx="466" formatCode="#\ ##0.0">
                  <c:v>1377.6150312687901</c:v>
                </c:pt>
                <c:pt idx="467" formatCode="#\ ##0.0">
                  <c:v>1345.14193481764</c:v>
                </c:pt>
                <c:pt idx="468" formatCode="#\ ##0.0">
                  <c:v>1301.57293872628</c:v>
                </c:pt>
                <c:pt idx="469" formatCode="#\ ##0.0">
                  <c:v>1259.91581130963</c:v>
                </c:pt>
                <c:pt idx="470" formatCode="#\ ##0.0">
                  <c:v>1190.45520174894</c:v>
                </c:pt>
                <c:pt idx="471" formatCode="#\ ##0.0">
                  <c:v>1124.04565234385</c:v>
                </c:pt>
                <c:pt idx="472" formatCode="#\ ##0.0">
                  <c:v>1078.2292355002801</c:v>
                </c:pt>
                <c:pt idx="473" formatCode="#\ ##0.0">
                  <c:v>1033.55483218377</c:v>
                </c:pt>
                <c:pt idx="474" formatCode="#\ ##0.0">
                  <c:v>1029.84107148369</c:v>
                </c:pt>
                <c:pt idx="475" formatCode="#\ ##0.0">
                  <c:v>974.61330014436498</c:v>
                </c:pt>
                <c:pt idx="476" formatCode="#\ ##0.0">
                  <c:v>897.90643686544604</c:v>
                </c:pt>
                <c:pt idx="477" formatCode="#\ ##0.0">
                  <c:v>834.02794456295999</c:v>
                </c:pt>
                <c:pt idx="478" formatCode="#\ ##0.0">
                  <c:v>799.96636891505204</c:v>
                </c:pt>
                <c:pt idx="479" formatCode="#\ ##0.0">
                  <c:v>698.20341699646997</c:v>
                </c:pt>
                <c:pt idx="480" formatCode="#\ ##0.0">
                  <c:v>627.50437768900701</c:v>
                </c:pt>
                <c:pt idx="481" formatCode="#\ ##0.0">
                  <c:v>600.44690612594104</c:v>
                </c:pt>
                <c:pt idx="482" formatCode="#\ ##0.0">
                  <c:v>568.53640686230904</c:v>
                </c:pt>
                <c:pt idx="483" formatCode="#\ ##0.0">
                  <c:v>509.19386450462002</c:v>
                </c:pt>
                <c:pt idx="484" formatCode="#\ ##0.0">
                  <c:v>478.78610548176101</c:v>
                </c:pt>
                <c:pt idx="485" formatCode="#\ ##0.0">
                  <c:v>448.74764262353398</c:v>
                </c:pt>
                <c:pt idx="486" formatCode="#\ ##0.0">
                  <c:v>486.87861173801201</c:v>
                </c:pt>
                <c:pt idx="487" formatCode="#\ ##0.0">
                  <c:v>487.10790490072498</c:v>
                </c:pt>
                <c:pt idx="488" formatCode="#\ ##0.0">
                  <c:v>483.47674772275798</c:v>
                </c:pt>
                <c:pt idx="489" formatCode="#\ ##0.0">
                  <c:v>500.08183113021499</c:v>
                </c:pt>
                <c:pt idx="490" formatCode="#\ ##0.0">
                  <c:v>497.86032009591798</c:v>
                </c:pt>
                <c:pt idx="491" formatCode="#\ ##0.0">
                  <c:v>500.20564607979298</c:v>
                </c:pt>
                <c:pt idx="492" formatCode="#\ ##0.0">
                  <c:v>499.91155260219102</c:v>
                </c:pt>
                <c:pt idx="493" formatCode="#\ ##0.0">
                  <c:v>514.40392235747095</c:v>
                </c:pt>
                <c:pt idx="494" formatCode="#\ ##0.0">
                  <c:v>544.59040685879597</c:v>
                </c:pt>
                <c:pt idx="495" formatCode="#\ ##0.0">
                  <c:v>553.19269884627499</c:v>
                </c:pt>
                <c:pt idx="496" formatCode="#\ ##0.0">
                  <c:v>528.38007408078704</c:v>
                </c:pt>
                <c:pt idx="497" formatCode="#\ ##0.0">
                  <c:v>549.81495239752201</c:v>
                </c:pt>
                <c:pt idx="498" formatCode="#\ ##0.0">
                  <c:v>594.89364870652196</c:v>
                </c:pt>
                <c:pt idx="499" formatCode="#\ ##0.0">
                  <c:v>651.929012174229</c:v>
                </c:pt>
                <c:pt idx="500" formatCode="#\ ##0.0">
                  <c:v>726.27307096913103</c:v>
                </c:pt>
                <c:pt idx="501" formatCode="#\ ##0.0">
                  <c:v>786.73552300438803</c:v>
                </c:pt>
                <c:pt idx="502" formatCode="#\ ##0.0">
                  <c:v>836.14341327062596</c:v>
                </c:pt>
                <c:pt idx="503" formatCode="#\ ##0.0">
                  <c:v>753.57231904917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OCK_pocet_pripadu_7dni_100_000_nyni</c:v>
          </c:tx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#\ ##0.0">
                  <c:v>98.723840970951002</c:v>
                </c:pt>
                <c:pt idx="182" formatCode="#\ ##0.0">
                  <c:v>110.42039379734599</c:v>
                </c:pt>
                <c:pt idx="183" formatCode="#\ ##0.0">
                  <c:v>111.85796072768601</c:v>
                </c:pt>
                <c:pt idx="184" formatCode="#\ ##0.0">
                  <c:v>108.907989841765</c:v>
                </c:pt>
                <c:pt idx="185" formatCode="#\ ##0.0">
                  <c:v>101.820513062251</c:v>
                </c:pt>
                <c:pt idx="186" formatCode="#\ ##0.0">
                  <c:v>100.316888863887</c:v>
                </c:pt>
                <c:pt idx="187" formatCode="#\ ##0.0">
                  <c:v>96.571929759083005</c:v>
                </c:pt>
                <c:pt idx="188" formatCode="#\ ##0.0">
                  <c:v>91.658612506409</c:v>
                </c:pt>
                <c:pt idx="189" formatCode="#\ ##0.0">
                  <c:v>77.407550754723005</c:v>
                </c:pt>
                <c:pt idx="190" formatCode="#\ ##0.0">
                  <c:v>69.835394120116007</c:v>
                </c:pt>
                <c:pt idx="191" formatCode="#\ ##0.0">
                  <c:v>73.653110588470994</c:v>
                </c:pt>
                <c:pt idx="192" formatCode="#\ ##0.0">
                  <c:v>70.811094010936003</c:v>
                </c:pt>
                <c:pt idx="193" formatCode="#\ ##0.0">
                  <c:v>71.466200570911994</c:v>
                </c:pt>
                <c:pt idx="194" formatCode="#\ ##0.0">
                  <c:v>72.935299462559996</c:v>
                </c:pt>
                <c:pt idx="195" formatCode="#\ ##0.0">
                  <c:v>73.932994205903</c:v>
                </c:pt>
                <c:pt idx="196" formatCode="#\ ##0.0">
                  <c:v>75.270776715183004</c:v>
                </c:pt>
                <c:pt idx="197" formatCode="#\ ##0.0">
                  <c:v>73.172535389429001</c:v>
                </c:pt>
                <c:pt idx="198" formatCode="#\ ##0.0">
                  <c:v>68.803394300785001</c:v>
                </c:pt>
                <c:pt idx="199" formatCode="#\ ##0.0">
                  <c:v>69.652747351510001</c:v>
                </c:pt>
                <c:pt idx="200" formatCode="#\ ##0.0">
                  <c:v>67.935796939156006</c:v>
                </c:pt>
                <c:pt idx="201" formatCode="#\ ##0.0">
                  <c:v>66.978737971734006</c:v>
                </c:pt>
                <c:pt idx="202" formatCode="#\ ##0.0">
                  <c:v>65.058717319872997</c:v>
                </c:pt>
                <c:pt idx="203" formatCode="#\ ##0.0">
                  <c:v>63.217898165609</c:v>
                </c:pt>
                <c:pt idx="204" formatCode="#\ ##0.0">
                  <c:v>64.821010371360998</c:v>
                </c:pt>
                <c:pt idx="205" formatCode="#\ ##0.0">
                  <c:v>60.613038237006997</c:v>
                </c:pt>
                <c:pt idx="206" formatCode="#\ ##0.0">
                  <c:v>54.639232944165002</c:v>
                </c:pt>
                <c:pt idx="207" formatCode="#\ ##0.0">
                  <c:v>55.059762784188003</c:v>
                </c:pt>
                <c:pt idx="208" formatCode="#\ ##0.0">
                  <c:v>53.219797764768003</c:v>
                </c:pt>
                <c:pt idx="209" formatCode="#\ ##0.0">
                  <c:v>52.054072755088001</c:v>
                </c:pt>
                <c:pt idx="210" formatCode="#\ ##0.0">
                  <c:v>46.990749272103997</c:v>
                </c:pt>
                <c:pt idx="211" formatCode="#\ ##0.0">
                  <c:v>44.033858466848002</c:v>
                </c:pt>
                <c:pt idx="212" formatCode="#\ ##0.0">
                  <c:v>43.038766451568002</c:v>
                </c:pt>
                <c:pt idx="213" formatCode="#\ ##0.0">
                  <c:v>37.831300016016002</c:v>
                </c:pt>
                <c:pt idx="214" formatCode="#\ ##0.0">
                  <c:v>37.894910274188</c:v>
                </c:pt>
                <c:pt idx="215" formatCode="#\ ##0.0">
                  <c:v>38.280233181306002</c:v>
                </c:pt>
                <c:pt idx="216" formatCode="#\ ##0.0">
                  <c:v>30.404860547445999</c:v>
                </c:pt>
                <c:pt idx="217" formatCode="#\ ##0.0">
                  <c:v>30.133558058173001</c:v>
                </c:pt>
                <c:pt idx="218" formatCode="#\ ##0.0">
                  <c:v>29.214283083948001</c:v>
                </c:pt>
                <c:pt idx="219" formatCode="#\ ##0.0">
                  <c:v>29.633950158518001</c:v>
                </c:pt>
                <c:pt idx="220" formatCode="#\ ##0.0">
                  <c:v>30.043325638024999</c:v>
                </c:pt>
                <c:pt idx="221" formatCode="#\ ##0.0">
                  <c:v>29.047682888680001</c:v>
                </c:pt>
                <c:pt idx="222" formatCode="#\ ##0.0">
                  <c:v>29.223776641789001</c:v>
                </c:pt>
                <c:pt idx="223" formatCode="#\ ##0.0">
                  <c:v>31.115984302303001</c:v>
                </c:pt>
                <c:pt idx="224" formatCode="#\ ##0.0">
                  <c:v>27.698702811115002</c:v>
                </c:pt>
                <c:pt idx="225" formatCode="#\ ##0.0">
                  <c:v>27.028322231274</c:v>
                </c:pt>
                <c:pt idx="226" formatCode="#\ ##0.0">
                  <c:v>23.115708568704001</c:v>
                </c:pt>
                <c:pt idx="227" formatCode="#\ ##0.0">
                  <c:v>23.299819249887001</c:v>
                </c:pt>
                <c:pt idx="228" formatCode="#\ ##0.0">
                  <c:v>23.378485559022</c:v>
                </c:pt>
                <c:pt idx="229" formatCode="#\ ##0.0">
                  <c:v>23.875506288636998</c:v>
                </c:pt>
                <c:pt idx="230" formatCode="#\ ##0.0">
                  <c:v>23.754569806425</c:v>
                </c:pt>
                <c:pt idx="231" formatCode="#\ ##0.0">
                  <c:v>24.244020075975001</c:v>
                </c:pt>
                <c:pt idx="232" formatCode="#\ ##0.0">
                  <c:v>23.563407268691002</c:v>
                </c:pt>
                <c:pt idx="233" formatCode="#\ ##0.0">
                  <c:v>22.481814874087</c:v>
                </c:pt>
                <c:pt idx="234" formatCode="#\ ##0.0">
                  <c:v>21.379259569696</c:v>
                </c:pt>
                <c:pt idx="235" formatCode="#\ ##0.0">
                  <c:v>19.401518584575999</c:v>
                </c:pt>
                <c:pt idx="236" formatCode="#\ ##0.0">
                  <c:v>18.178239690341002</c:v>
                </c:pt>
                <c:pt idx="237" formatCode="#\ ##0.0">
                  <c:v>17.970710384823999</c:v>
                </c:pt>
                <c:pt idx="238" formatCode="#\ ##0.0">
                  <c:v>17.628348428138001</c:v>
                </c:pt>
                <c:pt idx="239" formatCode="#\ ##0.0">
                  <c:v>15.304919667685001</c:v>
                </c:pt>
                <c:pt idx="240" formatCode="#\ ##0.0">
                  <c:v>15.670531266896001</c:v>
                </c:pt>
                <c:pt idx="241" formatCode="#\ ##0.0">
                  <c:v>15.087595095371</c:v>
                </c:pt>
                <c:pt idx="242" formatCode="#\ ##0.0">
                  <c:v>15.505425175986</c:v>
                </c:pt>
                <c:pt idx="243" formatCode="#\ ##0.0">
                  <c:v>15.759775343259999</c:v>
                </c:pt>
                <c:pt idx="244" formatCode="#\ ##0.0">
                  <c:v>15.037830243096</c:v>
                </c:pt>
                <c:pt idx="245" formatCode="#\ ##0.0">
                  <c:v>14.554130892354999</c:v>
                </c:pt>
                <c:pt idx="246" formatCode="#\ ##0.0">
                  <c:v>14.978574126574999</c:v>
                </c:pt>
                <c:pt idx="247" formatCode="#\ ##0.0">
                  <c:v>14.701041536834</c:v>
                </c:pt>
                <c:pt idx="248" formatCode="#\ ##0.0">
                  <c:v>14.093869377177001</c:v>
                </c:pt>
                <c:pt idx="249" formatCode="#\ ##0.0">
                  <c:v>13.284171439031001</c:v>
                </c:pt>
                <c:pt idx="250" formatCode="#\ ##0.0">
                  <c:v>12.603864699074</c:v>
                </c:pt>
                <c:pt idx="251" formatCode="#\ ##0.0">
                  <c:v>11.575294188168</c:v>
                </c:pt>
                <c:pt idx="252" formatCode="#\ ##0.0">
                  <c:v>10.71626494281</c:v>
                </c:pt>
                <c:pt idx="253" formatCode="#\ ##0.0">
                  <c:v>10.062072927892</c:v>
                </c:pt>
                <c:pt idx="254" formatCode="#\ ##0.0">
                  <c:v>8.7151493063530001</c:v>
                </c:pt>
                <c:pt idx="255" formatCode="#\ ##0.0">
                  <c:v>8.1394892715640008</c:v>
                </c:pt>
                <c:pt idx="256" formatCode="#\ ##0.0">
                  <c:v>8.6984057483750004</c:v>
                </c:pt>
                <c:pt idx="257" formatCode="#\ ##0.0">
                  <c:v>8.3865129269319993</c:v>
                </c:pt>
                <c:pt idx="258" formatCode="#\ ##0.0">
                  <c:v>8.5393201730759998</c:v>
                </c:pt>
                <c:pt idx="259" formatCode="#\ ##0.0">
                  <c:v>7.7005709973389997</c:v>
                </c:pt>
                <c:pt idx="260" formatCode="#\ ##0.0">
                  <c:v>7.1544336979549996</c:v>
                </c:pt>
                <c:pt idx="261" formatCode="#\ ##0.0">
                  <c:v>6.9874669393659996</c:v>
                </c:pt>
                <c:pt idx="262" formatCode="#\ ##0.0">
                  <c:v>6.827745338193</c:v>
                </c:pt>
                <c:pt idx="263" formatCode="#\ ##0.0">
                  <c:v>6.3495205645089996</c:v>
                </c:pt>
                <c:pt idx="264" formatCode="#\ ##0.0">
                  <c:v>6.1557861591809999</c:v>
                </c:pt>
                <c:pt idx="265" formatCode="#\ ##0.0">
                  <c:v>5.2807359678330004</c:v>
                </c:pt>
                <c:pt idx="266" formatCode="#\ ##0.0">
                  <c:v>5.1460229972090001</c:v>
                </c:pt>
                <c:pt idx="267" formatCode="#\ ##0.0">
                  <c:v>4.8298392939320003</c:v>
                </c:pt>
                <c:pt idx="268" formatCode="#\ ##0.0">
                  <c:v>4.6090529028890002</c:v>
                </c:pt>
                <c:pt idx="269" formatCode="#\ ##0.0">
                  <c:v>4.5767781456150001</c:v>
                </c:pt>
                <c:pt idx="270" formatCode="#\ ##0.0">
                  <c:v>4.388376712586</c:v>
                </c:pt>
                <c:pt idx="271" formatCode="#\ ##0.0">
                  <c:v>4.5622845774199998</c:v>
                </c:pt>
                <c:pt idx="272" formatCode="#\ ##0.0">
                  <c:v>4.446029206855</c:v>
                </c:pt>
                <c:pt idx="273" formatCode="#\ ##0.0">
                  <c:v>3.9553450335360001</c:v>
                </c:pt>
                <c:pt idx="274" formatCode="#\ ##0.0">
                  <c:v>3.296153302355</c:v>
                </c:pt>
                <c:pt idx="275" formatCode="#\ ##0.0">
                  <c:v>3.6443334005689998</c:v>
                </c:pt>
                <c:pt idx="276" formatCode="#\ ##0.0">
                  <c:v>3.3948828351409999</c:v>
                </c:pt>
                <c:pt idx="277" formatCode="#\ ##0.0">
                  <c:v>3.28159892626</c:v>
                </c:pt>
                <c:pt idx="278" formatCode="#\ ##0.0">
                  <c:v>3.1759966318139998</c:v>
                </c:pt>
                <c:pt idx="279" formatCode="#\ ##0.0">
                  <c:v>2.9327140286770002</c:v>
                </c:pt>
                <c:pt idx="280" formatCode="#\ ##0.0">
                  <c:v>3.0058776469059998</c:v>
                </c:pt>
                <c:pt idx="281" formatCode="#\ ##0.0">
                  <c:v>2.9213351850099998</c:v>
                </c:pt>
                <c:pt idx="282" formatCode="#\ ##0.0">
                  <c:v>2.1702032540020002</c:v>
                </c:pt>
                <c:pt idx="283" formatCode="#\ ##0.0">
                  <c:v>1.6095768422479999</c:v>
                </c:pt>
                <c:pt idx="284" formatCode="#\ ##0.0">
                  <c:v>1.5213721670489999</c:v>
                </c:pt>
                <c:pt idx="285" formatCode="#\ ##0.0">
                  <c:v>1.711723801724</c:v>
                </c:pt>
                <c:pt idx="286" formatCode="#\ ##0.0">
                  <c:v>1.5914655010059999</c:v>
                </c:pt>
                <c:pt idx="287" formatCode="#\ ##0.0">
                  <c:v>1.15613099478</c:v>
                </c:pt>
                <c:pt idx="288" formatCode="#\ ##0.0">
                  <c:v>1.055296283743</c:v>
                </c:pt>
                <c:pt idx="289" formatCode="#\ ##0.0">
                  <c:v>1.0771013049680001</c:v>
                </c:pt>
                <c:pt idx="290" formatCode="#\ ##0.0">
                  <c:v>1.0413171504930001</c:v>
                </c:pt>
                <c:pt idx="291" formatCode="#\ ##0.0">
                  <c:v>1.2589615169790001</c:v>
                </c:pt>
                <c:pt idx="292" formatCode="#\ ##0.0">
                  <c:v>1.1346661500149999</c:v>
                </c:pt>
                <c:pt idx="293" formatCode="#\ ##0.0">
                  <c:v>1.0449412742999999</c:v>
                </c:pt>
                <c:pt idx="294" formatCode="#\ ##0.0">
                  <c:v>1.014258878368</c:v>
                </c:pt>
                <c:pt idx="295" formatCode="#\ ##0.0">
                  <c:v>1.1352178637879999</c:v>
                </c:pt>
                <c:pt idx="296" formatCode="#\ ##0.0">
                  <c:v>0.89586067574700001</c:v>
                </c:pt>
                <c:pt idx="297" formatCode="#\ ##0.0">
                  <c:v>0.913877176831</c:v>
                </c:pt>
                <c:pt idx="298" formatCode="#\ ##0.0">
                  <c:v>0.76195265607100005</c:v>
                </c:pt>
                <c:pt idx="299" formatCode="#\ ##0.0">
                  <c:v>0.75532551697299999</c:v>
                </c:pt>
                <c:pt idx="300" formatCode="#\ ##0.0">
                  <c:v>0.91211956063199995</c:v>
                </c:pt>
                <c:pt idx="301" formatCode="#\ ##0.0">
                  <c:v>0.97126426378800002</c:v>
                </c:pt>
                <c:pt idx="302" formatCode="#\ ##0.0">
                  <c:v>0.93883250203900004</c:v>
                </c:pt>
                <c:pt idx="303" formatCode="#\ ##0.0">
                  <c:v>1.1539529896030001</c:v>
                </c:pt>
                <c:pt idx="304" formatCode="#\ ##0.0">
                  <c:v>1.316310119473</c:v>
                </c:pt>
                <c:pt idx="305" formatCode="#\ ##0.0">
                  <c:v>1.3799487920710001</c:v>
                </c:pt>
                <c:pt idx="306" formatCode="#\ ##0.0">
                  <c:v>1.484268318214</c:v>
                </c:pt>
                <c:pt idx="307" formatCode="#\ ##0.0">
                  <c:v>1.3642554462209999</c:v>
                </c:pt>
                <c:pt idx="308" formatCode="#\ ##0.0">
                  <c:v>1.359740223467</c:v>
                </c:pt>
                <c:pt idx="309" formatCode="#\ ##0.0">
                  <c:v>1.567875653207</c:v>
                </c:pt>
                <c:pt idx="310" formatCode="#\ ##0.0">
                  <c:v>1.553662465793</c:v>
                </c:pt>
                <c:pt idx="311" formatCode="#\ ##0.0">
                  <c:v>1.575807400125</c:v>
                </c:pt>
                <c:pt idx="312" formatCode="#\ ##0.0">
                  <c:v>1.6238855671029999</c:v>
                </c:pt>
                <c:pt idx="313" formatCode="#\ ##0.0">
                  <c:v>1.6424989373029999</c:v>
                </c:pt>
                <c:pt idx="314" formatCode="#\ ##0.0">
                  <c:v>2.1090574430550002</c:v>
                </c:pt>
                <c:pt idx="315" formatCode="#\ ##0.0">
                  <c:v>2.3943783727299999</c:v>
                </c:pt>
                <c:pt idx="316" formatCode="#\ ##0.0">
                  <c:v>2.3889544423359999</c:v>
                </c:pt>
                <c:pt idx="317" formatCode="#\ ##0.0">
                  <c:v>2.2372879360129998</c:v>
                </c:pt>
                <c:pt idx="318" formatCode="#\ ##0.0">
                  <c:v>2.4405258213369998</c:v>
                </c:pt>
                <c:pt idx="319" formatCode="#\ ##0.0">
                  <c:v>2.503992872725</c:v>
                </c:pt>
                <c:pt idx="320" formatCode="#\ ##0.0">
                  <c:v>2.4602736502989999</c:v>
                </c:pt>
                <c:pt idx="321" formatCode="#\ ##0.0">
                  <c:v>2.4427402041900002</c:v>
                </c:pt>
                <c:pt idx="322" formatCode="#\ ##0.0">
                  <c:v>2.5632045852380001</c:v>
                </c:pt>
                <c:pt idx="323" formatCode="#\ ##0.0">
                  <c:v>2.398960159814</c:v>
                </c:pt>
                <c:pt idx="324" formatCode="#\ ##0.0">
                  <c:v>2.6213126089140002</c:v>
                </c:pt>
                <c:pt idx="325" formatCode="#\ ##0.0">
                  <c:v>2.4422923093</c:v>
                </c:pt>
                <c:pt idx="326" formatCode="#\ ##0.0">
                  <c:v>2.3458533263020001</c:v>
                </c:pt>
                <c:pt idx="327" formatCode="#\ ##0.0">
                  <c:v>2.280121178076</c:v>
                </c:pt>
                <c:pt idx="328" formatCode="#\ ##0.0">
                  <c:v>2.265474975919</c:v>
                </c:pt>
                <c:pt idx="329" formatCode="#\ ##0.0">
                  <c:v>2.2759075181220001</c:v>
                </c:pt>
                <c:pt idx="330" formatCode="#\ ##0.0">
                  <c:v>2.2847916650800002</c:v>
                </c:pt>
                <c:pt idx="331" formatCode="#\ ##0.0">
                  <c:v>2.103273636625</c:v>
                </c:pt>
                <c:pt idx="332" formatCode="#\ ##0.0">
                  <c:v>2.09069282947</c:v>
                </c:pt>
                <c:pt idx="333" formatCode="#\ ##0.0">
                  <c:v>2.098774457207</c:v>
                </c:pt>
                <c:pt idx="334" formatCode="#\ ##0.0">
                  <c:v>2.1563013806179998</c:v>
                </c:pt>
                <c:pt idx="335" formatCode="#\ ##0.0">
                  <c:v>2.0075766403920001</c:v>
                </c:pt>
                <c:pt idx="336" formatCode="#\ ##0.0">
                  <c:v>1.999710950871</c:v>
                </c:pt>
                <c:pt idx="337" formatCode="#\ ##0.0">
                  <c:v>2.2848986345040001</c:v>
                </c:pt>
                <c:pt idx="338" formatCode="#\ ##0.0">
                  <c:v>2.3879493462869998</c:v>
                </c:pt>
                <c:pt idx="339" formatCode="#\ ##0.0">
                  <c:v>2.3812457454340001</c:v>
                </c:pt>
                <c:pt idx="340" formatCode="#\ ##0.0">
                  <c:v>2.3452259451469999</c:v>
                </c:pt>
                <c:pt idx="341" formatCode="#\ ##0.0">
                  <c:v>2.420459277825</c:v>
                </c:pt>
                <c:pt idx="342" formatCode="#\ ##0.0">
                  <c:v>2.4380421836899999</c:v>
                </c:pt>
                <c:pt idx="343" formatCode="#\ ##0.0">
                  <c:v>2.350455946102</c:v>
                </c:pt>
                <c:pt idx="344" formatCode="#\ ##0.0">
                  <c:v>2.1810017550769998</c:v>
                </c:pt>
                <c:pt idx="345" formatCode="#\ ##0.0">
                  <c:v>2.182775201179</c:v>
                </c:pt>
                <c:pt idx="346" formatCode="#\ ##0.0">
                  <c:v>2.4109196112850002</c:v>
                </c:pt>
                <c:pt idx="347" formatCode="#\ ##0.0">
                  <c:v>2.544930334584</c:v>
                </c:pt>
                <c:pt idx="348" formatCode="#\ ##0.0">
                  <c:v>2.4956071177979999</c:v>
                </c:pt>
                <c:pt idx="349" formatCode="#\ ##0.0">
                  <c:v>2.517193548432</c:v>
                </c:pt>
                <c:pt idx="350" formatCode="#\ ##0.0">
                  <c:v>2.69932609511</c:v>
                </c:pt>
                <c:pt idx="351" formatCode="#\ ##0.0">
                  <c:v>2.7994865741620001</c:v>
                </c:pt>
                <c:pt idx="352" formatCode="#\ ##0.0">
                  <c:v>2.7571903159539999</c:v>
                </c:pt>
                <c:pt idx="353" formatCode="#\ ##0.0">
                  <c:v>2.4977279525839999</c:v>
                </c:pt>
                <c:pt idx="354" formatCode="#\ ##0.0">
                  <c:v>2.4692461273980002</c:v>
                </c:pt>
                <c:pt idx="355" formatCode="#\ ##0.0">
                  <c:v>2.6570232352769998</c:v>
                </c:pt>
                <c:pt idx="356" formatCode="#\ ##0.0">
                  <c:v>2.8856295262259999</c:v>
                </c:pt>
                <c:pt idx="357" formatCode="#\ ##0.0">
                  <c:v>3.055903428838</c:v>
                </c:pt>
                <c:pt idx="358" formatCode="#\ ##0.0">
                  <c:v>3.202345947145</c:v>
                </c:pt>
                <c:pt idx="359" formatCode="#\ ##0.0">
                  <c:v>3.4259273805600001</c:v>
                </c:pt>
                <c:pt idx="360" formatCode="#\ ##0.0">
                  <c:v>3.644185486035</c:v>
                </c:pt>
                <c:pt idx="361" formatCode="#\ ##0.0">
                  <c:v>3.84310387816</c:v>
                </c:pt>
                <c:pt idx="362" formatCode="#\ ##0.0">
                  <c:v>3.7046794217399999</c:v>
                </c:pt>
                <c:pt idx="363" formatCode="#\ ##0.0">
                  <c:v>3.7555983049230002</c:v>
                </c:pt>
                <c:pt idx="364" formatCode="#\ ##0.0">
                  <c:v>3.773788743306</c:v>
                </c:pt>
                <c:pt idx="365" formatCode="#\ ##0.0">
                  <c:v>3.8938042044630001</c:v>
                </c:pt>
                <c:pt idx="366" formatCode="#\ ##0.0">
                  <c:v>4.1219265884869998</c:v>
                </c:pt>
                <c:pt idx="367" formatCode="#\ ##0.0">
                  <c:v>5.0153611277280001</c:v>
                </c:pt>
                <c:pt idx="368" formatCode="#\ ##0.0">
                  <c:v>5.3289766991840004</c:v>
                </c:pt>
                <c:pt idx="369" formatCode="#\ ##0.0">
                  <c:v>5.5698497005799998</c:v>
                </c:pt>
                <c:pt idx="370" formatCode="#\ ##0.0">
                  <c:v>6.1392902944619996</c:v>
                </c:pt>
                <c:pt idx="371" formatCode="#\ ##0.0">
                  <c:v>6.707964239611</c:v>
                </c:pt>
                <c:pt idx="372" formatCode="#\ ##0.0">
                  <c:v>7.1169047200479998</c:v>
                </c:pt>
                <c:pt idx="373" formatCode="#\ ##0.0">
                  <c:v>7.4189924444340001</c:v>
                </c:pt>
                <c:pt idx="374" formatCode="#\ ##0.0">
                  <c:v>7.2975261035659997</c:v>
                </c:pt>
                <c:pt idx="375" formatCode="#\ ##0.0">
                  <c:v>7.3235749908669998</c:v>
                </c:pt>
                <c:pt idx="376" formatCode="#\ ##0.0">
                  <c:v>7.3851030221869998</c:v>
                </c:pt>
                <c:pt idx="377" formatCode="#\ ##0.0">
                  <c:v>7.7405021075429996</c:v>
                </c:pt>
                <c:pt idx="378" formatCode="#\ ##0.0">
                  <c:v>7.9421229520569998</c:v>
                </c:pt>
                <c:pt idx="379" formatCode="#\ ##0.0">
                  <c:v>8.0788985930060004</c:v>
                </c:pt>
                <c:pt idx="380" formatCode="#\ ##0.0">
                  <c:v>8.6986838182340005</c:v>
                </c:pt>
                <c:pt idx="381" formatCode="#\ ##0.0">
                  <c:v>9.1925318008989994</c:v>
                </c:pt>
                <c:pt idx="382" formatCode="#\ ##0.0">
                  <c:v>9.3937514144489995</c:v>
                </c:pt>
                <c:pt idx="383" formatCode="#\ ##0.0">
                  <c:v>9.5269794410189999</c:v>
                </c:pt>
                <c:pt idx="384" formatCode="#\ ##0.0">
                  <c:v>9.6955761011610004</c:v>
                </c:pt>
                <c:pt idx="385" formatCode="#\ ##0.0">
                  <c:v>10.294824911623</c:v>
                </c:pt>
                <c:pt idx="386" formatCode="#\ ##0.0">
                  <c:v>10.654322725944001</c:v>
                </c:pt>
                <c:pt idx="387" formatCode="#\ ##0.0">
                  <c:v>10.396617269054</c:v>
                </c:pt>
                <c:pt idx="388" formatCode="#\ ##0.0">
                  <c:v>10.255594674325</c:v>
                </c:pt>
                <c:pt idx="389" formatCode="#\ ##0.0">
                  <c:v>10.575348419352</c:v>
                </c:pt>
                <c:pt idx="390" formatCode="#\ ##0.0">
                  <c:v>10.759993151801</c:v>
                </c:pt>
                <c:pt idx="391" formatCode="#\ ##0.0">
                  <c:v>11.388007457868</c:v>
                </c:pt>
                <c:pt idx="392" formatCode="#\ ##0.0">
                  <c:v>10.792699104477</c:v>
                </c:pt>
                <c:pt idx="393" formatCode="#\ ##0.0">
                  <c:v>11.812402751339</c:v>
                </c:pt>
                <c:pt idx="394" formatCode="#\ ##0.0">
                  <c:v>13.59235181074</c:v>
                </c:pt>
                <c:pt idx="395" formatCode="#\ ##0.0">
                  <c:v>14.550142582936999</c:v>
                </c:pt>
                <c:pt idx="396" formatCode="#\ ##0.0">
                  <c:v>15.203924540504</c:v>
                </c:pt>
                <c:pt idx="397" formatCode="#\ ##0.0">
                  <c:v>15.791671668489</c:v>
                </c:pt>
                <c:pt idx="398" formatCode="#\ ##0.0">
                  <c:v>16.665918079329</c:v>
                </c:pt>
                <c:pt idx="399" formatCode="#\ ##0.0">
                  <c:v>19.3613258528</c:v>
                </c:pt>
                <c:pt idx="400" formatCode="#\ ##0.0">
                  <c:v>20.760295261277001</c:v>
                </c:pt>
                <c:pt idx="401" formatCode="#\ ##0.0">
                  <c:v>21.431647522969001</c:v>
                </c:pt>
                <c:pt idx="402" formatCode="#\ ##0.0">
                  <c:v>22.894823500577999</c:v>
                </c:pt>
                <c:pt idx="403" formatCode="#\ ##0.0">
                  <c:v>23.173128984089001</c:v>
                </c:pt>
                <c:pt idx="404" formatCode="#\ ##0.0">
                  <c:v>23.234251486664</c:v>
                </c:pt>
                <c:pt idx="405" formatCode="#\ ##0.0">
                  <c:v>25.292979813449001</c:v>
                </c:pt>
                <c:pt idx="406" formatCode="#\ ##0.0">
                  <c:v>27.086276840208999</c:v>
                </c:pt>
                <c:pt idx="407" formatCode="#\ ##0.0">
                  <c:v>29.085478785536999</c:v>
                </c:pt>
                <c:pt idx="408" formatCode="#\ ##0.0">
                  <c:v>31.46505587015</c:v>
                </c:pt>
                <c:pt idx="409" formatCode="#\ ##0.0">
                  <c:v>34.745160059425999</c:v>
                </c:pt>
                <c:pt idx="410" formatCode="#\ ##0.0">
                  <c:v>37.278979054364001</c:v>
                </c:pt>
                <c:pt idx="411" formatCode="#\ ##0.0">
                  <c:v>39.230611783496997</c:v>
                </c:pt>
                <c:pt idx="412" formatCode="#\ ##0.0">
                  <c:v>45.405511998535999</c:v>
                </c:pt>
                <c:pt idx="413" formatCode="#\ ##0.0">
                  <c:v>53.133658126249998</c:v>
                </c:pt>
                <c:pt idx="414" formatCode="#\ ##0.0">
                  <c:v>59.756316446344002</c:v>
                </c:pt>
                <c:pt idx="415" formatCode="#\ ##0.0">
                  <c:v>68.405959245467997</c:v>
                </c:pt>
                <c:pt idx="416" formatCode="#\ ##0.0">
                  <c:v>79.017586375546003</c:v>
                </c:pt>
                <c:pt idx="417" formatCode="#\ ##0.0">
                  <c:v>85.139284032822999</c:v>
                </c:pt>
                <c:pt idx="418" formatCode="#\ ##0.0">
                  <c:v>90.150424137233998</c:v>
                </c:pt>
                <c:pt idx="419" formatCode="#\ ##0.0">
                  <c:v>99.193333141059</c:v>
                </c:pt>
                <c:pt idx="420" formatCode="#\ ##0.0">
                  <c:v>113.33691619569299</c:v>
                </c:pt>
                <c:pt idx="421" formatCode="#\ ##0.0">
                  <c:v>125.293249717815</c:v>
                </c:pt>
                <c:pt idx="422" formatCode="#\ ##0.0">
                  <c:v>127.64019500928001</c:v>
                </c:pt>
                <c:pt idx="423" formatCode="#\ ##0.0">
                  <c:v>137.35153375879301</c:v>
                </c:pt>
                <c:pt idx="424" formatCode="#\ ##0.0">
                  <c:v>148.524322857746</c:v>
                </c:pt>
                <c:pt idx="425" formatCode="#\ ##0.0">
                  <c:v>153.69497006005901</c:v>
                </c:pt>
                <c:pt idx="426" formatCode="#\ ##0.0">
                  <c:v>173.481953708578</c:v>
                </c:pt>
                <c:pt idx="427" formatCode="#\ ##0.0">
                  <c:v>195.42866569842801</c:v>
                </c:pt>
                <c:pt idx="428" formatCode="#\ ##0.0">
                  <c:v>219.309030192753</c:v>
                </c:pt>
                <c:pt idx="429" formatCode="#\ ##0.0">
                  <c:v>249.76878537147999</c:v>
                </c:pt>
                <c:pt idx="430" formatCode="#\ ##0.0">
                  <c:v>270.50885762829603</c:v>
                </c:pt>
                <c:pt idx="431" formatCode="#\ ##0.0">
                  <c:v>278.73993154475198</c:v>
                </c:pt>
                <c:pt idx="432" formatCode="#\ ##0.0">
                  <c:v>282.20152811556198</c:v>
                </c:pt>
                <c:pt idx="433" formatCode="#\ ##0.0">
                  <c:v>292.554306793151</c:v>
                </c:pt>
                <c:pt idx="434" formatCode="#\ ##0.0">
                  <c:v>310.06188910284601</c:v>
                </c:pt>
                <c:pt idx="435" formatCode="#\ ##0.0">
                  <c:v>328.74724851004902</c:v>
                </c:pt>
                <c:pt idx="436" formatCode="#\ ##0.0">
                  <c:v>336.56828482036002</c:v>
                </c:pt>
                <c:pt idx="437" formatCode="#\ ##0.0">
                  <c:v>364.54319857280001</c:v>
                </c:pt>
                <c:pt idx="438" formatCode="#\ ##0.0">
                  <c:v>380.31092324370002</c:v>
                </c:pt>
                <c:pt idx="439" formatCode="#\ ##0.0">
                  <c:v>393.04591730305702</c:v>
                </c:pt>
                <c:pt idx="440" formatCode="#\ ##0.0">
                  <c:v>406.89066228926401</c:v>
                </c:pt>
                <c:pt idx="441" formatCode="#\ ##0.0">
                  <c:v>447.47597451310202</c:v>
                </c:pt>
                <c:pt idx="442" formatCode="#\ ##0.0">
                  <c:v>449.06827079221398</c:v>
                </c:pt>
                <c:pt idx="443" formatCode="#\ ##0.0">
                  <c:v>466.18646081168998</c:v>
                </c:pt>
                <c:pt idx="444" formatCode="#\ ##0.0">
                  <c:v>510.82049473114301</c:v>
                </c:pt>
                <c:pt idx="445" formatCode="#\ ##0.0">
                  <c:v>537.94508469337802</c:v>
                </c:pt>
                <c:pt idx="446" formatCode="#\ ##0.0">
                  <c:v>553.69836615751296</c:v>
                </c:pt>
                <c:pt idx="447" formatCode="#\ ##0.0">
                  <c:v>573.04950170815096</c:v>
                </c:pt>
                <c:pt idx="448" formatCode="#\ ##0.0">
                  <c:v>596.61853493522494</c:v>
                </c:pt>
                <c:pt idx="449" formatCode="#\ ##0.0">
                  <c:v>622.40105622961903</c:v>
                </c:pt>
                <c:pt idx="450" formatCode="#\ ##0.0">
                  <c:v>702.78836411063696</c:v>
                </c:pt>
                <c:pt idx="451" formatCode="#\ ##0.0">
                  <c:v>696.61211175320898</c:v>
                </c:pt>
                <c:pt idx="452" formatCode="#\ ##0.0">
                  <c:v>694.41697333218701</c:v>
                </c:pt>
                <c:pt idx="453" formatCode="#\ ##0.0">
                  <c:v>705.97813138226604</c:v>
                </c:pt>
                <c:pt idx="454" formatCode="#\ ##0.0">
                  <c:v>729.64032321327102</c:v>
                </c:pt>
                <c:pt idx="455" formatCode="#\ ##0.0">
                  <c:v>718.674295212277</c:v>
                </c:pt>
                <c:pt idx="456" formatCode="#\ ##0.0">
                  <c:v>745.79485393422397</c:v>
                </c:pt>
                <c:pt idx="457" formatCode="#\ ##0.0">
                  <c:v>704.37467638143801</c:v>
                </c:pt>
                <c:pt idx="458" formatCode="#\ ##0.0">
                  <c:v>702.76220745961803</c:v>
                </c:pt>
                <c:pt idx="459" formatCode="#\ ##0.0">
                  <c:v>700.690488238846</c:v>
                </c:pt>
                <c:pt idx="460" formatCode="#\ ##0.0">
                  <c:v>685.514638037591</c:v>
                </c:pt>
                <c:pt idx="461" formatCode="#\ ##0.0">
                  <c:v>679.30154873219703</c:v>
                </c:pt>
                <c:pt idx="462" formatCode="#\ ##0.0">
                  <c:v>671.44202271753397</c:v>
                </c:pt>
                <c:pt idx="463" formatCode="#\ ##0.0">
                  <c:v>647.18688896512401</c:v>
                </c:pt>
                <c:pt idx="464" formatCode="#\ ##0.0">
                  <c:v>629.40636415694803</c:v>
                </c:pt>
                <c:pt idx="465" formatCode="#\ ##0.0">
                  <c:v>598.19255719951195</c:v>
                </c:pt>
                <c:pt idx="466" formatCode="#\ ##0.0">
                  <c:v>587.32328665916998</c:v>
                </c:pt>
                <c:pt idx="467" formatCode="#\ ##0.0">
                  <c:v>574.29539714633097</c:v>
                </c:pt>
                <c:pt idx="468" formatCode="#\ ##0.0">
                  <c:v>548.31068553473199</c:v>
                </c:pt>
                <c:pt idx="469" formatCode="#\ ##0.0">
                  <c:v>536.37998572905497</c:v>
                </c:pt>
                <c:pt idx="470" formatCode="#\ ##0.0">
                  <c:v>514.671576211103</c:v>
                </c:pt>
                <c:pt idx="471" formatCode="#\ ##0.0">
                  <c:v>487.56665086477699</c:v>
                </c:pt>
                <c:pt idx="472" formatCode="#\ ##0.0">
                  <c:v>468.307754761448</c:v>
                </c:pt>
                <c:pt idx="473" formatCode="#\ ##0.0">
                  <c:v>448.31504847891199</c:v>
                </c:pt>
                <c:pt idx="474" formatCode="#\ ##0.0">
                  <c:v>445.436322543156</c:v>
                </c:pt>
                <c:pt idx="475" formatCode="#\ ##0.0">
                  <c:v>433.58106387322499</c:v>
                </c:pt>
                <c:pt idx="476" formatCode="#\ ##0.0">
                  <c:v>409.77848318977999</c:v>
                </c:pt>
                <c:pt idx="477" formatCode="#\ ##0.0">
                  <c:v>392.696030849208</c:v>
                </c:pt>
                <c:pt idx="478" formatCode="#\ ##0.0">
                  <c:v>385.75753437357002</c:v>
                </c:pt>
                <c:pt idx="479" formatCode="#\ ##0.0">
                  <c:v>341.89068696869498</c:v>
                </c:pt>
                <c:pt idx="480" formatCode="#\ ##0.0">
                  <c:v>306.70304156636502</c:v>
                </c:pt>
                <c:pt idx="481" formatCode="#\ ##0.0">
                  <c:v>296.359318667997</c:v>
                </c:pt>
                <c:pt idx="482" formatCode="#\ ##0.0">
                  <c:v>291.83575432899602</c:v>
                </c:pt>
                <c:pt idx="483" formatCode="#\ ##0.0">
                  <c:v>290.10181170407998</c:v>
                </c:pt>
                <c:pt idx="484" formatCode="#\ ##0.0">
                  <c:v>288.51530018118899</c:v>
                </c:pt>
                <c:pt idx="485" formatCode="#\ ##0.0">
                  <c:v>285.13500165196899</c:v>
                </c:pt>
                <c:pt idx="486" formatCode="#\ ##0.0">
                  <c:v>316.16396911626202</c:v>
                </c:pt>
                <c:pt idx="487" formatCode="#\ ##0.0">
                  <c:v>317.67523539955698</c:v>
                </c:pt>
                <c:pt idx="488" formatCode="#\ ##0.0">
                  <c:v>319.23016451428799</c:v>
                </c:pt>
                <c:pt idx="489" formatCode="#\ ##0.0">
                  <c:v>357.56128359274197</c:v>
                </c:pt>
                <c:pt idx="490" formatCode="#\ ##0.0">
                  <c:v>384.40811847527601</c:v>
                </c:pt>
                <c:pt idx="491" formatCode="#\ ##0.0">
                  <c:v>411.07307166990103</c:v>
                </c:pt>
                <c:pt idx="492" formatCode="#\ ##0.0">
                  <c:v>428.95172425002801</c:v>
                </c:pt>
                <c:pt idx="493" formatCode="#\ ##0.0">
                  <c:v>449.03044958809699</c:v>
                </c:pt>
                <c:pt idx="494" formatCode="#\ ##0.0">
                  <c:v>481.11363696397598</c:v>
                </c:pt>
                <c:pt idx="495" formatCode="#\ ##0.0">
                  <c:v>490.50258111120201</c:v>
                </c:pt>
                <c:pt idx="496" formatCode="#\ ##0.0">
                  <c:v>474.621749479009</c:v>
                </c:pt>
                <c:pt idx="497" formatCode="#\ ##0.0">
                  <c:v>504.80568093099902</c:v>
                </c:pt>
                <c:pt idx="498" formatCode="#\ ##0.0">
                  <c:v>554.57523402408106</c:v>
                </c:pt>
                <c:pt idx="499" formatCode="#\ ##0.0">
                  <c:v>617.00037142340295</c:v>
                </c:pt>
                <c:pt idx="500" formatCode="#\ ##0.0">
                  <c:v>690.52366262441399</c:v>
                </c:pt>
                <c:pt idx="501" formatCode="#\ ##0.0">
                  <c:v>748.471985557474</c:v>
                </c:pt>
                <c:pt idx="502" formatCode="#\ ##0.0">
                  <c:v>798.79655924833105</c:v>
                </c:pt>
                <c:pt idx="503" formatCode="#\ ##0.0">
                  <c:v>724.80560368381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OCK_s_posil_pocet_pripadu_7dni_100_000_nyni</c:v>
          </c:tx>
          <c:spPr>
            <a:ln>
              <a:solidFill>
                <a:srgbClr val="70AD47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">
                  <c:v>43.354025027096</c:v>
                </c:pt>
                <c:pt idx="427" formatCode="0.00">
                  <c:v>43.766513754031998</c:v>
                </c:pt>
                <c:pt idx="428" formatCode="0.00">
                  <c:v>40.416682963715999</c:v>
                </c:pt>
                <c:pt idx="429" formatCode="0.00">
                  <c:v>38.178463104757</c:v>
                </c:pt>
                <c:pt idx="430" formatCode="0.00">
                  <c:v>38.887808671980999</c:v>
                </c:pt>
                <c:pt idx="431" formatCode="0.00">
                  <c:v>40.234903350624997</c:v>
                </c:pt>
                <c:pt idx="432" formatCode="0.00">
                  <c:v>39.392186936880002</c:v>
                </c:pt>
                <c:pt idx="433" formatCode="0.00">
                  <c:v>35.204184268757999</c:v>
                </c:pt>
                <c:pt idx="434" formatCode="0.00">
                  <c:v>42.670294672396999</c:v>
                </c:pt>
                <c:pt idx="435" formatCode="0.00">
                  <c:v>41.466863722873001</c:v>
                </c:pt>
                <c:pt idx="436" formatCode="0.00">
                  <c:v>48.349614502804002</c:v>
                </c:pt>
                <c:pt idx="437" formatCode="0.00">
                  <c:v>50.607048095613997</c:v>
                </c:pt>
                <c:pt idx="438" formatCode="0.00">
                  <c:v>54.811573603116997</c:v>
                </c:pt>
                <c:pt idx="439" formatCode="0.00">
                  <c:v>55.711578418613001</c:v>
                </c:pt>
                <c:pt idx="440" formatCode="0.00">
                  <c:v>61.013825649879998</c:v>
                </c:pt>
                <c:pt idx="441" formatCode="0.00">
                  <c:v>62.679923282776002</c:v>
                </c:pt>
                <c:pt idx="442" formatCode="0.00">
                  <c:v>59.316778559680003</c:v>
                </c:pt>
                <c:pt idx="443" formatCode="0.00">
                  <c:v>56.422737448227998</c:v>
                </c:pt>
                <c:pt idx="444" formatCode="0.00">
                  <c:v>64.096311675281996</c:v>
                </c:pt>
                <c:pt idx="445" formatCode="0.00">
                  <c:v>68.645629926211996</c:v>
                </c:pt>
                <c:pt idx="446" formatCode="0.00">
                  <c:v>72.911687743545002</c:v>
                </c:pt>
                <c:pt idx="447" formatCode="0.00">
                  <c:v>76.851126222917998</c:v>
                </c:pt>
                <c:pt idx="448" formatCode="0.00">
                  <c:v>82.354634630948993</c:v>
                </c:pt>
                <c:pt idx="449" formatCode="0.00">
                  <c:v>84.194801578707001</c:v>
                </c:pt>
                <c:pt idx="450" formatCode="0.00">
                  <c:v>89.130828645980998</c:v>
                </c:pt>
                <c:pt idx="451" formatCode="0.00">
                  <c:v>87.647770201333003</c:v>
                </c:pt>
                <c:pt idx="452" formatCode="0.00">
                  <c:v>91.341631334268996</c:v>
                </c:pt>
                <c:pt idx="453" formatCode="0.00">
                  <c:v>98.626576574834004</c:v>
                </c:pt>
                <c:pt idx="454" formatCode="0.00">
                  <c:v>97.838836459049006</c:v>
                </c:pt>
                <c:pt idx="455" formatCode="0.00">
                  <c:v>96.516069837404004</c:v>
                </c:pt>
                <c:pt idx="456" formatCode="0.00">
                  <c:v>104.50729275346001</c:v>
                </c:pt>
                <c:pt idx="457" formatCode="0.00">
                  <c:v>104.694501444784</c:v>
                </c:pt>
                <c:pt idx="458" formatCode="0.00">
                  <c:v>103.621449158015</c:v>
                </c:pt>
                <c:pt idx="459" formatCode="0.00">
                  <c:v>106.04588952757</c:v>
                </c:pt>
                <c:pt idx="460" formatCode="0.00">
                  <c:v>103.641722924788</c:v>
                </c:pt>
                <c:pt idx="461" formatCode="0.00">
                  <c:v>107.248367942988</c:v>
                </c:pt>
                <c:pt idx="462" formatCode="0.00">
                  <c:v>108.456690605305</c:v>
                </c:pt>
                <c:pt idx="463" formatCode="0.00">
                  <c:v>104.58971731254999</c:v>
                </c:pt>
                <c:pt idx="464" formatCode="0.00">
                  <c:v>101.63215603825201</c:v>
                </c:pt>
                <c:pt idx="465" formatCode="0.00">
                  <c:v>97.863296646354001</c:v>
                </c:pt>
                <c:pt idx="466" formatCode="0.00">
                  <c:v>97.130646433018995</c:v>
                </c:pt>
                <c:pt idx="467" formatCode="0.00">
                  <c:v>95.519758368989997</c:v>
                </c:pt>
                <c:pt idx="468" formatCode="0.00">
                  <c:v>89.722460122683998</c:v>
                </c:pt>
                <c:pt idx="469" formatCode="0.00">
                  <c:v>84.298452682689998</c:v>
                </c:pt>
                <c:pt idx="470" formatCode="0.00">
                  <c:v>81.230061233347996</c:v>
                </c:pt>
                <c:pt idx="471" formatCode="0.00">
                  <c:v>76.099927617034993</c:v>
                </c:pt>
                <c:pt idx="472" formatCode="0.00">
                  <c:v>72.570195957739003</c:v>
                </c:pt>
                <c:pt idx="473" formatCode="0.00">
                  <c:v>72.548423405400996</c:v>
                </c:pt>
                <c:pt idx="474" formatCode="0.00">
                  <c:v>73.612594922653997</c:v>
                </c:pt>
                <c:pt idx="475" formatCode="0.00">
                  <c:v>72.522246075083999</c:v>
                </c:pt>
                <c:pt idx="476" formatCode="0.00">
                  <c:v>70.454282697032994</c:v>
                </c:pt>
                <c:pt idx="477" formatCode="0.00">
                  <c:v>67.774995768622006</c:v>
                </c:pt>
                <c:pt idx="478" formatCode="0.00">
                  <c:v>65.851377023930993</c:v>
                </c:pt>
                <c:pt idx="479" formatCode="0.00">
                  <c:v>57.124385896492001</c:v>
                </c:pt>
                <c:pt idx="480" formatCode="0.00">
                  <c:v>51.470777466092997</c:v>
                </c:pt>
                <c:pt idx="481" formatCode="0.00">
                  <c:v>49.926384056162</c:v>
                </c:pt>
                <c:pt idx="482" formatCode="0.00">
                  <c:v>50.399239229001999</c:v>
                </c:pt>
                <c:pt idx="483" formatCode="0.00">
                  <c:v>51.395963656717001</c:v>
                </c:pt>
                <c:pt idx="484" formatCode="0.00">
                  <c:v>51.963944670770999</c:v>
                </c:pt>
                <c:pt idx="485" formatCode="0.00">
                  <c:v>52.292957126250997</c:v>
                </c:pt>
                <c:pt idx="486" formatCode="0.00">
                  <c:v>59.261350338884</c:v>
                </c:pt>
                <c:pt idx="487" formatCode="0.00">
                  <c:v>58.995811399813</c:v>
                </c:pt>
                <c:pt idx="488" formatCode="0.00">
                  <c:v>61.041387379908002</c:v>
                </c:pt>
                <c:pt idx="489" formatCode="0.00">
                  <c:v>73.083581979591997</c:v>
                </c:pt>
                <c:pt idx="490" formatCode="0.00">
                  <c:v>82.313400792639996</c:v>
                </c:pt>
                <c:pt idx="491" formatCode="0.00">
                  <c:v>88.482565606077003</c:v>
                </c:pt>
                <c:pt idx="492" formatCode="0.00">
                  <c:v>97.415388070676997</c:v>
                </c:pt>
                <c:pt idx="493" formatCode="0.00">
                  <c:v>106.159971118645</c:v>
                </c:pt>
                <c:pt idx="494" formatCode="0.00">
                  <c:v>116.108503030961</c:v>
                </c:pt>
                <c:pt idx="495" formatCode="0.00">
                  <c:v>119.477746756446</c:v>
                </c:pt>
                <c:pt idx="496" formatCode="0.00">
                  <c:v>114.966732366191</c:v>
                </c:pt>
                <c:pt idx="497" formatCode="0.00">
                  <c:v>125.004076219876</c:v>
                </c:pt>
                <c:pt idx="498" formatCode="0.00">
                  <c:v>138.80655221243799</c:v>
                </c:pt>
                <c:pt idx="499" formatCode="0.00">
                  <c:v>149.908983831245</c:v>
                </c:pt>
                <c:pt idx="500" formatCode="0.00">
                  <c:v>169.10472455521801</c:v>
                </c:pt>
                <c:pt idx="501" formatCode="0.00">
                  <c:v>186.6188940008</c:v>
                </c:pt>
                <c:pt idx="502" formatCode="0.00">
                  <c:v>203.85752266459599</c:v>
                </c:pt>
                <c:pt idx="503" formatCode="0.00">
                  <c:v>181.38376347331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EOCK_pocet_sympt_pripadu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16" formatCode="#\ ##0.0">
                  <c:v>251.00504336803101</c:v>
                </c:pt>
                <c:pt idx="117" formatCode="#\ ##0.0">
                  <c:v>252.52815490361999</c:v>
                </c:pt>
                <c:pt idx="118" formatCode="#\ ##0.0">
                  <c:v>273.02007881494802</c:v>
                </c:pt>
                <c:pt idx="119" formatCode="#\ ##0.0">
                  <c:v>312.68638843810697</c:v>
                </c:pt>
                <c:pt idx="120" formatCode="#\ ##0.0">
                  <c:v>340.17715001910398</c:v>
                </c:pt>
                <c:pt idx="121" formatCode="#\ ##0.0">
                  <c:v>396.46686713804598</c:v>
                </c:pt>
                <c:pt idx="122" formatCode="#\ ##0.0">
                  <c:v>402.40046115705798</c:v>
                </c:pt>
                <c:pt idx="123" formatCode="#\ ##0.0">
                  <c:v>416.14584194755599</c:v>
                </c:pt>
                <c:pt idx="124" formatCode="#\ ##0.0">
                  <c:v>431.09663002695697</c:v>
                </c:pt>
                <c:pt idx="125" formatCode="#\ ##0.0">
                  <c:v>445.80446780006702</c:v>
                </c:pt>
                <c:pt idx="126" formatCode="#\ ##0.0">
                  <c:v>452.04642182321601</c:v>
                </c:pt>
                <c:pt idx="127" formatCode="#\ ##0.0">
                  <c:v>458.22296614851899</c:v>
                </c:pt>
                <c:pt idx="128" formatCode="#\ ##0.0">
                  <c:v>469.65097478670998</c:v>
                </c:pt>
                <c:pt idx="129" formatCode="#\ ##0.0">
                  <c:v>528.052490721867</c:v>
                </c:pt>
                <c:pt idx="130" formatCode="#\ ##0.0">
                  <c:v>547.75949825902705</c:v>
                </c:pt>
                <c:pt idx="131" formatCode="#\ ##0.0">
                  <c:v>536.18198174004101</c:v>
                </c:pt>
                <c:pt idx="132" formatCode="#\ ##0.0">
                  <c:v>512.48498263419197</c:v>
                </c:pt>
                <c:pt idx="133" formatCode="#\ ##0.0">
                  <c:v>465.89463281608499</c:v>
                </c:pt>
                <c:pt idx="134" formatCode="#\ ##0.0">
                  <c:v>414.996538892236</c:v>
                </c:pt>
                <c:pt idx="135" formatCode="#\ ##0.0">
                  <c:v>368.72384546265903</c:v>
                </c:pt>
                <c:pt idx="136" formatCode="#\ ##0.0">
                  <c:v>341.18636009574402</c:v>
                </c:pt>
                <c:pt idx="137" formatCode="#\ ##0.0">
                  <c:v>319.34886321672201</c:v>
                </c:pt>
                <c:pt idx="138" formatCode="#\ ##0.0">
                  <c:v>310.41576650454999</c:v>
                </c:pt>
                <c:pt idx="139" formatCode="#\ ##0.0">
                  <c:v>298.40841370628499</c:v>
                </c:pt>
                <c:pt idx="140" formatCode="#\ ##0.0">
                  <c:v>290.55930353229201</c:v>
                </c:pt>
                <c:pt idx="141" formatCode="#\ ##0.0">
                  <c:v>273.81444177520802</c:v>
                </c:pt>
                <c:pt idx="142" formatCode="#\ ##0.0">
                  <c:v>271.21674137547097</c:v>
                </c:pt>
                <c:pt idx="143" formatCode="#\ ##0.0">
                  <c:v>266.58202024860901</c:v>
                </c:pt>
                <c:pt idx="144" formatCode="#\ ##0.0">
                  <c:v>261.508118609527</c:v>
                </c:pt>
                <c:pt idx="145" formatCode="#\ ##0.0">
                  <c:v>259.44306409126699</c:v>
                </c:pt>
                <c:pt idx="146" formatCode="#\ ##0.0">
                  <c:v>256.56508345163098</c:v>
                </c:pt>
                <c:pt idx="147" formatCode="#\ ##0.0">
                  <c:v>254.68693671679901</c:v>
                </c:pt>
                <c:pt idx="148" formatCode="#\ ##0.0">
                  <c:v>255.99513201839699</c:v>
                </c:pt>
                <c:pt idx="149" formatCode="#\ ##0.0">
                  <c:v>258.60227502723302</c:v>
                </c:pt>
                <c:pt idx="150" formatCode="#\ ##0.0">
                  <c:v>255.509350283565</c:v>
                </c:pt>
                <c:pt idx="151" formatCode="#\ ##0.0">
                  <c:v>254.45354440397</c:v>
                </c:pt>
                <c:pt idx="152" formatCode="#\ ##0.0">
                  <c:v>255.421838515796</c:v>
                </c:pt>
                <c:pt idx="153" formatCode="#\ ##0.0">
                  <c:v>257.01695831519299</c:v>
                </c:pt>
                <c:pt idx="154" formatCode="#\ ##0.0">
                  <c:v>257.19464411388702</c:v>
                </c:pt>
                <c:pt idx="155" formatCode="#\ ##0.0">
                  <c:v>263.26208590200798</c:v>
                </c:pt>
                <c:pt idx="156" formatCode="#\ ##0.0">
                  <c:v>264.35257235207803</c:v>
                </c:pt>
                <c:pt idx="157" formatCode="#\ ##0.0">
                  <c:v>269.13939931797501</c:v>
                </c:pt>
                <c:pt idx="158" formatCode="#\ ##0.0">
                  <c:v>273.60488775127698</c:v>
                </c:pt>
                <c:pt idx="159" formatCode="#\ ##0.0">
                  <c:v>273.50548886673801</c:v>
                </c:pt>
                <c:pt idx="160" formatCode="#\ ##0.0">
                  <c:v>276.18294101986601</c:v>
                </c:pt>
                <c:pt idx="161" formatCode="#\ ##0.0">
                  <c:v>282.801591140418</c:v>
                </c:pt>
                <c:pt idx="162" formatCode="#\ ##0.0">
                  <c:v>284.66367430789501</c:v>
                </c:pt>
                <c:pt idx="163" formatCode="#\ ##0.0">
                  <c:v>290.07485947917701</c:v>
                </c:pt>
                <c:pt idx="164" formatCode="#\ ##0.0">
                  <c:v>291.94049372752698</c:v>
                </c:pt>
                <c:pt idx="165" formatCode="#\ ##0.0">
                  <c:v>293.86473200247298</c:v>
                </c:pt>
                <c:pt idx="166" formatCode="#\ ##0.0">
                  <c:v>295.71693488759098</c:v>
                </c:pt>
                <c:pt idx="167" formatCode="#\ ##0.0">
                  <c:v>301.15698197225697</c:v>
                </c:pt>
                <c:pt idx="168" formatCode="#\ ##0.0">
                  <c:v>315.03265750857702</c:v>
                </c:pt>
                <c:pt idx="169" formatCode="#\ ##0.0">
                  <c:v>324.33172653504499</c:v>
                </c:pt>
                <c:pt idx="170" formatCode="#\ ##0.0">
                  <c:v>340.04966979558299</c:v>
                </c:pt>
                <c:pt idx="171" formatCode="#\ ##0.0">
                  <c:v>354.48394476927803</c:v>
                </c:pt>
                <c:pt idx="172" formatCode="#\ ##0.0">
                  <c:v>362.68091028599702</c:v>
                </c:pt>
                <c:pt idx="173" formatCode="#\ ##0.0">
                  <c:v>368.773702013986</c:v>
                </c:pt>
                <c:pt idx="174" formatCode="#\ ##0.0">
                  <c:v>384.22028856456001</c:v>
                </c:pt>
                <c:pt idx="175" formatCode="#\ ##0.0">
                  <c:v>403.78252414264398</c:v>
                </c:pt>
                <c:pt idx="176" formatCode="#\ ##0.0">
                  <c:v>421.14310026731698</c:v>
                </c:pt>
                <c:pt idx="177" formatCode="#\ ##0.0">
                  <c:v>438.812651573712</c:v>
                </c:pt>
                <c:pt idx="178" formatCode="#\ ##0.0">
                  <c:v>457.782294256836</c:v>
                </c:pt>
                <c:pt idx="179" formatCode="#\ ##0.0">
                  <c:v>464.44390055787102</c:v>
                </c:pt>
                <c:pt idx="180" formatCode="#\ ##0.0">
                  <c:v>467.29650810868299</c:v>
                </c:pt>
                <c:pt idx="181" formatCode="#\ ##0.0">
                  <c:v>473.89928371509802</c:v>
                </c:pt>
                <c:pt idx="182" formatCode="#\ ##0.0">
                  <c:v>478.37969921450701</c:v>
                </c:pt>
                <c:pt idx="183" formatCode="#\ ##0.0">
                  <c:v>487.83928642652398</c:v>
                </c:pt>
                <c:pt idx="184" formatCode="#\ ##0.0">
                  <c:v>492.07312896606697</c:v>
                </c:pt>
                <c:pt idx="185" formatCode="#\ ##0.0">
                  <c:v>486.21310990778602</c:v>
                </c:pt>
                <c:pt idx="186" formatCode="#\ ##0.0">
                  <c:v>493.78111338249698</c:v>
                </c:pt>
                <c:pt idx="187" formatCode="#\ ##0.0">
                  <c:v>492.31322567237402</c:v>
                </c:pt>
                <c:pt idx="188" formatCode="#\ ##0.0">
                  <c:v>482.44536938502603</c:v>
                </c:pt>
                <c:pt idx="189" formatCode="#\ ##0.0">
                  <c:v>472.46579735429401</c:v>
                </c:pt>
                <c:pt idx="190" formatCode="#\ ##0.0">
                  <c:v>462.36420165085798</c:v>
                </c:pt>
                <c:pt idx="191" formatCode="#\ ##0.0">
                  <c:v>436.25909996149198</c:v>
                </c:pt>
                <c:pt idx="192" formatCode="#\ ##0.0">
                  <c:v>447.59413490745601</c:v>
                </c:pt>
                <c:pt idx="193" formatCode="#\ ##0.0">
                  <c:v>433.92376291801799</c:v>
                </c:pt>
                <c:pt idx="194" formatCode="#\ ##0.0">
                  <c:v>429.54743116003903</c:v>
                </c:pt>
                <c:pt idx="195" formatCode="#\ ##0.0">
                  <c:v>425.910390635022</c:v>
                </c:pt>
                <c:pt idx="196" formatCode="#\ ##0.0">
                  <c:v>417.09751463128498</c:v>
                </c:pt>
                <c:pt idx="197" formatCode="#\ ##0.0">
                  <c:v>402.89712154793898</c:v>
                </c:pt>
                <c:pt idx="198" formatCode="#\ ##0.0">
                  <c:v>398.92101291148498</c:v>
                </c:pt>
                <c:pt idx="199" formatCode="#\ ##0.0">
                  <c:v>361.58071242421198</c:v>
                </c:pt>
                <c:pt idx="200" formatCode="#\ ##0.0">
                  <c:v>352.86979135368301</c:v>
                </c:pt>
                <c:pt idx="201" formatCode="#\ ##0.0">
                  <c:v>346.88851326579402</c:v>
                </c:pt>
                <c:pt idx="202" formatCode="#\ ##0.0">
                  <c:v>332.39747154296703</c:v>
                </c:pt>
                <c:pt idx="203" formatCode="#\ ##0.0">
                  <c:v>313.27622799646798</c:v>
                </c:pt>
                <c:pt idx="204" formatCode="#\ ##0.0">
                  <c:v>294.87750787746597</c:v>
                </c:pt>
                <c:pt idx="205" formatCode="#\ ##0.0">
                  <c:v>278.10607275614598</c:v>
                </c:pt>
                <c:pt idx="206" formatCode="#\ ##0.0">
                  <c:v>267.36959901580701</c:v>
                </c:pt>
                <c:pt idx="207" formatCode="#\ ##0.0">
                  <c:v>259.22763227476798</c:v>
                </c:pt>
                <c:pt idx="208" formatCode="#\ ##0.0">
                  <c:v>256.524457698042</c:v>
                </c:pt>
                <c:pt idx="209" formatCode="#\ ##0.0">
                  <c:v>250.56033088405101</c:v>
                </c:pt>
                <c:pt idx="210" formatCode="#\ ##0.0">
                  <c:v>238.170479100162</c:v>
                </c:pt>
                <c:pt idx="211" formatCode="#\ ##0.0">
                  <c:v>228.87083442347</c:v>
                </c:pt>
                <c:pt idx="212" formatCode="#\ ##0.0">
                  <c:v>218.37578794068</c:v>
                </c:pt>
                <c:pt idx="213" formatCode="#\ ##0.0">
                  <c:v>196.71859076759199</c:v>
                </c:pt>
                <c:pt idx="214" formatCode="#\ ##0.0">
                  <c:v>187.49978234818599</c:v>
                </c:pt>
                <c:pt idx="215" formatCode="#\ ##0.0">
                  <c:v>187.69253601931001</c:v>
                </c:pt>
                <c:pt idx="216" formatCode="#\ ##0.0">
                  <c:v>161.08802903807799</c:v>
                </c:pt>
                <c:pt idx="217" formatCode="#\ ##0.0">
                  <c:v>142.228264143026</c:v>
                </c:pt>
                <c:pt idx="218" formatCode="#\ ##0.0">
                  <c:v>142.52350928782701</c:v>
                </c:pt>
                <c:pt idx="219" formatCode="#\ ##0.0">
                  <c:v>141.379595895097</c:v>
                </c:pt>
                <c:pt idx="220" formatCode="#\ ##0.0">
                  <c:v>149.46754987750799</c:v>
                </c:pt>
                <c:pt idx="221" formatCode="#\ ##0.0">
                  <c:v>150.75719431879699</c:v>
                </c:pt>
                <c:pt idx="222" formatCode="#\ ##0.0">
                  <c:v>146.87675913089501</c:v>
                </c:pt>
                <c:pt idx="223" formatCode="#\ ##0.0">
                  <c:v>159.06189943037401</c:v>
                </c:pt>
                <c:pt idx="224" formatCode="#\ ##0.0">
                  <c:v>158.43766278387201</c:v>
                </c:pt>
                <c:pt idx="225" formatCode="#\ ##0.0">
                  <c:v>138.819827149079</c:v>
                </c:pt>
                <c:pt idx="226" formatCode="#\ ##0.0">
                  <c:v>126.093302145704</c:v>
                </c:pt>
                <c:pt idx="227" formatCode="#\ ##0.0">
                  <c:v>116.31682655255899</c:v>
                </c:pt>
                <c:pt idx="228" formatCode="#\ ##0.0">
                  <c:v>112.086506920018</c:v>
                </c:pt>
                <c:pt idx="229" formatCode="#\ ##0.0">
                  <c:v>111.09790792298701</c:v>
                </c:pt>
                <c:pt idx="230" formatCode="#\ ##0.0">
                  <c:v>109.158825101227</c:v>
                </c:pt>
                <c:pt idx="231" formatCode="#\ ##0.0">
                  <c:v>103.60213367612</c:v>
                </c:pt>
                <c:pt idx="232" formatCode="#\ ##0.0">
                  <c:v>99.973062758403003</c:v>
                </c:pt>
                <c:pt idx="233" formatCode="#\ ##0.0">
                  <c:v>97.090719577483995</c:v>
                </c:pt>
                <c:pt idx="234" formatCode="#\ ##0.0">
                  <c:v>93.502216250637005</c:v>
                </c:pt>
                <c:pt idx="235" formatCode="#\ ##0.0">
                  <c:v>91.892093372226</c:v>
                </c:pt>
                <c:pt idx="236" formatCode="#\ ##0.0">
                  <c:v>92.285629489596005</c:v>
                </c:pt>
                <c:pt idx="237" formatCode="#\ ##0.0">
                  <c:v>88.245438155292007</c:v>
                </c:pt>
                <c:pt idx="238" formatCode="#\ ##0.0">
                  <c:v>84.686408748830999</c:v>
                </c:pt>
                <c:pt idx="239" formatCode="#\ ##0.0">
                  <c:v>82.181006472171006</c:v>
                </c:pt>
                <c:pt idx="240" formatCode="#\ ##0.0">
                  <c:v>79.770415271402001</c:v>
                </c:pt>
                <c:pt idx="241" formatCode="#\ ##0.0">
                  <c:v>77.570018806638998</c:v>
                </c:pt>
                <c:pt idx="242" formatCode="#\ ##0.0">
                  <c:v>77.620908474868003</c:v>
                </c:pt>
                <c:pt idx="243" formatCode="#\ ##0.0">
                  <c:v>76.072675610844996</c:v>
                </c:pt>
                <c:pt idx="244" formatCode="#\ ##0.0">
                  <c:v>73.939745936346</c:v>
                </c:pt>
                <c:pt idx="245" formatCode="#\ ##0.0">
                  <c:v>69.159018574924005</c:v>
                </c:pt>
                <c:pt idx="246" formatCode="#\ ##0.0">
                  <c:v>65.457037250083999</c:v>
                </c:pt>
                <c:pt idx="247" formatCode="#\ ##0.0">
                  <c:v>61.732643877927998</c:v>
                </c:pt>
                <c:pt idx="248" formatCode="#\ ##0.0">
                  <c:v>58.722128140789998</c:v>
                </c:pt>
                <c:pt idx="249" formatCode="#\ ##0.0">
                  <c:v>56.198844378555002</c:v>
                </c:pt>
                <c:pt idx="250" formatCode="#\ ##0.0">
                  <c:v>55.359640573965997</c:v>
                </c:pt>
                <c:pt idx="251" formatCode="#\ ##0.0">
                  <c:v>52.330962208599999</c:v>
                </c:pt>
                <c:pt idx="252" formatCode="#\ ##0.0">
                  <c:v>48.827612709291003</c:v>
                </c:pt>
                <c:pt idx="253" formatCode="#\ ##0.0">
                  <c:v>45.931446260618998</c:v>
                </c:pt>
                <c:pt idx="254" formatCode="#\ ##0.0">
                  <c:v>43.819459698941998</c:v>
                </c:pt>
                <c:pt idx="255" formatCode="#\ ##0.0">
                  <c:v>40.931384725373</c:v>
                </c:pt>
                <c:pt idx="256" formatCode="#\ ##0.0">
                  <c:v>39.881796966316998</c:v>
                </c:pt>
                <c:pt idx="257" formatCode="#\ ##0.0">
                  <c:v>39.229785783253</c:v>
                </c:pt>
                <c:pt idx="258" formatCode="#\ ##0.0">
                  <c:v>36.768773426392002</c:v>
                </c:pt>
                <c:pt idx="259" formatCode="#\ ##0.0">
                  <c:v>34.203007318822003</c:v>
                </c:pt>
                <c:pt idx="260" formatCode="#\ ##0.0">
                  <c:v>31.460170409082998</c:v>
                </c:pt>
                <c:pt idx="261" formatCode="#\ ##0.0">
                  <c:v>28.435906896982001</c:v>
                </c:pt>
                <c:pt idx="262" formatCode="#\ ##0.0">
                  <c:v>26.576389991911999</c:v>
                </c:pt>
                <c:pt idx="263" formatCode="#\ ##0.0">
                  <c:v>25.470286569277999</c:v>
                </c:pt>
                <c:pt idx="264" formatCode="#\ ##0.0">
                  <c:v>25.286576877683999</c:v>
                </c:pt>
                <c:pt idx="265" formatCode="#\ ##0.0">
                  <c:v>23.393375985279999</c:v>
                </c:pt>
                <c:pt idx="266" formatCode="#\ ##0.0">
                  <c:v>19.742950528826</c:v>
                </c:pt>
                <c:pt idx="267" formatCode="#\ ##0.0">
                  <c:v>18.179107312124</c:v>
                </c:pt>
                <c:pt idx="268" formatCode="#\ ##0.0">
                  <c:v>17.341897701771</c:v>
                </c:pt>
                <c:pt idx="269" formatCode="#\ ##0.0">
                  <c:v>16.187818749832999</c:v>
                </c:pt>
                <c:pt idx="270" formatCode="#\ ##0.0">
                  <c:v>15.774333552664</c:v>
                </c:pt>
                <c:pt idx="271" formatCode="#\ ##0.0">
                  <c:v>15.327763724139</c:v>
                </c:pt>
                <c:pt idx="272" formatCode="#\ ##0.0">
                  <c:v>14.127334795281</c:v>
                </c:pt>
                <c:pt idx="273" formatCode="#\ ##0.0">
                  <c:v>13.289313050209</c:v>
                </c:pt>
                <c:pt idx="274" formatCode="#\ ##0.0">
                  <c:v>12.221279939779</c:v>
                </c:pt>
                <c:pt idx="275" formatCode="#\ ##0.0">
                  <c:v>10.911730193975</c:v>
                </c:pt>
                <c:pt idx="276" formatCode="#\ ##0.0">
                  <c:v>9.8377125022259992</c:v>
                </c:pt>
                <c:pt idx="277" formatCode="#\ ##0.0">
                  <c:v>9.2693564251030001</c:v>
                </c:pt>
                <c:pt idx="278" formatCode="#\ ##0.0">
                  <c:v>9.1198731324309996</c:v>
                </c:pt>
                <c:pt idx="279" formatCode="#\ ##0.0">
                  <c:v>8.1036873684269999</c:v>
                </c:pt>
                <c:pt idx="280" formatCode="#\ ##0.0">
                  <c:v>7.3902214503780002</c:v>
                </c:pt>
                <c:pt idx="281" formatCode="#\ ##0.0">
                  <c:v>6.918072407236</c:v>
                </c:pt>
                <c:pt idx="282" formatCode="#\ ##0.0">
                  <c:v>6.3308674425799998</c:v>
                </c:pt>
                <c:pt idx="283" formatCode="#\ ##0.0">
                  <c:v>5.845033285415</c:v>
                </c:pt>
                <c:pt idx="284" formatCode="#\ ##0.0">
                  <c:v>5.5533263020010004</c:v>
                </c:pt>
                <c:pt idx="285" formatCode="#\ ##0.0">
                  <c:v>5.3672328917009997</c:v>
                </c:pt>
                <c:pt idx="286" formatCode="#\ ##0.0">
                  <c:v>4.6988530121550003</c:v>
                </c:pt>
                <c:pt idx="287" formatCode="#\ ##0.0">
                  <c:v>3.8819621076750002</c:v>
                </c:pt>
                <c:pt idx="288" formatCode="#\ ##0.0">
                  <c:v>3.4650206168720001</c:v>
                </c:pt>
                <c:pt idx="289" formatCode="#\ ##0.0">
                  <c:v>3.189148037926</c:v>
                </c:pt>
                <c:pt idx="290" formatCode="#\ ##0.0">
                  <c:v>2.797219318822</c:v>
                </c:pt>
                <c:pt idx="291" formatCode="#\ ##0.0">
                  <c:v>2.7361140814390001</c:v>
                </c:pt>
                <c:pt idx="292" formatCode="#\ ##0.0">
                  <c:v>2.7519413491939999</c:v>
                </c:pt>
                <c:pt idx="293" formatCode="#\ ##0.0">
                  <c:v>2.4652464970699999</c:v>
                </c:pt>
                <c:pt idx="294" formatCode="#\ ##0.0">
                  <c:v>2.1634508649719999</c:v>
                </c:pt>
                <c:pt idx="295" formatCode="#\ ##0.0">
                  <c:v>2.1109508943750002</c:v>
                </c:pt>
                <c:pt idx="296" formatCode="#\ ##0.0">
                  <c:v>2.0132214580409999</c:v>
                </c:pt>
                <c:pt idx="297" formatCode="#\ ##0.0">
                  <c:v>2.017924036293</c:v>
                </c:pt>
                <c:pt idx="298" formatCode="#\ ##0.0">
                  <c:v>2.0460574507349998</c:v>
                </c:pt>
                <c:pt idx="299" formatCode="#\ ##0.0">
                  <c:v>2.050449205654</c:v>
                </c:pt>
                <c:pt idx="300" formatCode="#\ ##0.0">
                  <c:v>2.115386830212</c:v>
                </c:pt>
                <c:pt idx="301" formatCode="#\ ##0.0">
                  <c:v>2.2639215768079999</c:v>
                </c:pt>
                <c:pt idx="302" formatCode="#\ ##0.0">
                  <c:v>2.2970790844839999</c:v>
                </c:pt>
                <c:pt idx="303" formatCode="#\ ##0.0">
                  <c:v>2.5980821320219998</c:v>
                </c:pt>
                <c:pt idx="304" formatCode="#\ ##0.0">
                  <c:v>2.7822626848900001</c:v>
                </c:pt>
                <c:pt idx="305" formatCode="#\ ##0.0">
                  <c:v>2.8657327072309999</c:v>
                </c:pt>
                <c:pt idx="306" formatCode="#\ ##0.0">
                  <c:v>2.9232608409680001</c:v>
                </c:pt>
                <c:pt idx="307" formatCode="#\ ##0.0">
                  <c:v>2.939361712023</c:v>
                </c:pt>
                <c:pt idx="308" formatCode="#\ ##0.0">
                  <c:v>2.7942519605810001</c:v>
                </c:pt>
                <c:pt idx="309" formatCode="#\ ##0.0">
                  <c:v>3.1917189585060002</c:v>
                </c:pt>
                <c:pt idx="310" formatCode="#\ ##0.0">
                  <c:v>3.3694643256360002</c:v>
                </c:pt>
                <c:pt idx="311" formatCode="#\ ##0.0">
                  <c:v>3.8734689271999998</c:v>
                </c:pt>
                <c:pt idx="312" formatCode="#\ ##0.0">
                  <c:v>4.1122685759040003</c:v>
                </c:pt>
                <c:pt idx="313" formatCode="#\ ##0.0">
                  <c:v>4.2310713425220001</c:v>
                </c:pt>
                <c:pt idx="314" formatCode="#\ ##0.0">
                  <c:v>4.8465371096169996</c:v>
                </c:pt>
                <c:pt idx="315" formatCode="#\ ##0.0">
                  <c:v>5.6773317235530003</c:v>
                </c:pt>
                <c:pt idx="316" formatCode="#\ ##0.0">
                  <c:v>5.5849369517409997</c:v>
                </c:pt>
                <c:pt idx="317" formatCode="#\ ##0.0">
                  <c:v>5.7359489443039999</c:v>
                </c:pt>
                <c:pt idx="318" formatCode="#\ ##0.0">
                  <c:v>5.4994368271929996</c:v>
                </c:pt>
                <c:pt idx="319" formatCode="#\ ##0.0">
                  <c:v>5.5374760518070003</c:v>
                </c:pt>
                <c:pt idx="320" formatCode="#\ ##0.0">
                  <c:v>5.5822378772979997</c:v>
                </c:pt>
                <c:pt idx="321" formatCode="#\ ##0.0">
                  <c:v>5.4620295809510004</c:v>
                </c:pt>
                <c:pt idx="322" formatCode="#\ ##0.0">
                  <c:v>5.5114080522790001</c:v>
                </c:pt>
                <c:pt idx="323" formatCode="#\ ##0.0">
                  <c:v>5.8718812384290002</c:v>
                </c:pt>
                <c:pt idx="324" formatCode="#\ ##0.0">
                  <c:v>5.8162980426209998</c:v>
                </c:pt>
                <c:pt idx="325" formatCode="#\ ##0.0">
                  <c:v>5.8312598756079996</c:v>
                </c:pt>
                <c:pt idx="326" formatCode="#\ ##0.0">
                  <c:v>5.797337885748</c:v>
                </c:pt>
                <c:pt idx="327" formatCode="#\ ##0.0">
                  <c:v>5.5828910986929996</c:v>
                </c:pt>
                <c:pt idx="328" formatCode="#\ ##0.0">
                  <c:v>5.4183809493849999</c:v>
                </c:pt>
                <c:pt idx="329" formatCode="#\ ##0.0">
                  <c:v>5.2212528261889997</c:v>
                </c:pt>
                <c:pt idx="330" formatCode="#\ ##0.0">
                  <c:v>4.8858579144260004</c:v>
                </c:pt>
                <c:pt idx="331" formatCode="#\ ##0.0">
                  <c:v>4.9197546885410004</c:v>
                </c:pt>
                <c:pt idx="332" formatCode="#\ ##0.0">
                  <c:v>4.7900347562450003</c:v>
                </c:pt>
                <c:pt idx="333" formatCode="#\ ##0.0">
                  <c:v>4.5502334161400002</c:v>
                </c:pt>
                <c:pt idx="334" formatCode="#\ ##0.0">
                  <c:v>4.6307720709120002</c:v>
                </c:pt>
                <c:pt idx="335" formatCode="#\ ##0.0">
                  <c:v>4.4439600929239997</c:v>
                </c:pt>
                <c:pt idx="336" formatCode="#\ ##0.0">
                  <c:v>4.2531986275489997</c:v>
                </c:pt>
                <c:pt idx="337" formatCode="#\ ##0.0">
                  <c:v>4.6331306031419999</c:v>
                </c:pt>
                <c:pt idx="338" formatCode="#\ ##0.0">
                  <c:v>4.3534080468780001</c:v>
                </c:pt>
                <c:pt idx="339" formatCode="#\ ##0.0">
                  <c:v>4.5066080589900004</c:v>
                </c:pt>
                <c:pt idx="340" formatCode="#\ ##0.0">
                  <c:v>4.6254713224049997</c:v>
                </c:pt>
                <c:pt idx="341" formatCode="#\ ##0.0">
                  <c:v>4.7740122527490003</c:v>
                </c:pt>
                <c:pt idx="342" formatCode="#\ ##0.0">
                  <c:v>5.0614904712040003</c:v>
                </c:pt>
                <c:pt idx="343" formatCode="#\ ##0.0">
                  <c:v>5.3350833744750004</c:v>
                </c:pt>
                <c:pt idx="344" formatCode="#\ ##0.0">
                  <c:v>5.2752883079890003</c:v>
                </c:pt>
                <c:pt idx="345" formatCode="#\ ##0.0">
                  <c:v>5.5335026426710003</c:v>
                </c:pt>
                <c:pt idx="346" formatCode="#\ ##0.0">
                  <c:v>5.4198642298359996</c:v>
                </c:pt>
                <c:pt idx="347" formatCode="#\ ##0.0">
                  <c:v>5.4723148046009999</c:v>
                </c:pt>
                <c:pt idx="348" formatCode="#\ ##0.0">
                  <c:v>5.263895781744</c:v>
                </c:pt>
                <c:pt idx="349" formatCode="#\ ##0.0">
                  <c:v>5.6097543239250003</c:v>
                </c:pt>
                <c:pt idx="350" formatCode="#\ ##0.0">
                  <c:v>5.681844919445</c:v>
                </c:pt>
                <c:pt idx="351" formatCode="#\ ##0.0">
                  <c:v>5.6658138125870003</c:v>
                </c:pt>
                <c:pt idx="352" formatCode="#\ ##0.0">
                  <c:v>5.4943006788720004</c:v>
                </c:pt>
                <c:pt idx="353" formatCode="#\ ##0.0">
                  <c:v>5.429795942927</c:v>
                </c:pt>
                <c:pt idx="354" formatCode="#\ ##0.0">
                  <c:v>5.4295380802609996</c:v>
                </c:pt>
                <c:pt idx="355" formatCode="#\ ##0.0">
                  <c:v>5.4806650733330002</c:v>
                </c:pt>
                <c:pt idx="356" formatCode="#\ ##0.0">
                  <c:v>5.308530338792</c:v>
                </c:pt>
                <c:pt idx="357" formatCode="#\ ##0.0">
                  <c:v>5.1648289695980001</c:v>
                </c:pt>
                <c:pt idx="358" formatCode="#\ ##0.0">
                  <c:v>5.2606303224930002</c:v>
                </c:pt>
                <c:pt idx="359" formatCode="#\ ##0.0">
                  <c:v>5.4996435382040003</c:v>
                </c:pt>
                <c:pt idx="360" formatCode="#\ ##0.0">
                  <c:v>5.8011704605140002</c:v>
                </c:pt>
                <c:pt idx="361" formatCode="#\ ##0.0">
                  <c:v>5.7754533544570004</c:v>
                </c:pt>
                <c:pt idx="362" formatCode="#\ ##0.0">
                  <c:v>5.8426239765599997</c:v>
                </c:pt>
                <c:pt idx="363" formatCode="#\ ##0.0">
                  <c:v>5.9551351017260004</c:v>
                </c:pt>
                <c:pt idx="364" formatCode="#\ ##0.0">
                  <c:v>5.9478110733509997</c:v>
                </c:pt>
                <c:pt idx="365" formatCode="#\ ##0.0">
                  <c:v>6.1629448376490004</c:v>
                </c:pt>
                <c:pt idx="366" formatCode="#\ ##0.0">
                  <c:v>7.1662597163650004</c:v>
                </c:pt>
                <c:pt idx="367" formatCode="#\ ##0.0">
                  <c:v>7.6080252694570003</c:v>
                </c:pt>
                <c:pt idx="368" formatCode="#\ ##0.0">
                  <c:v>7.9365048639160003</c:v>
                </c:pt>
                <c:pt idx="369" formatCode="#\ ##0.0">
                  <c:v>8.2265434858190005</c:v>
                </c:pt>
                <c:pt idx="370" formatCode="#\ ##0.0">
                  <c:v>9.2476589541580001</c:v>
                </c:pt>
                <c:pt idx="371" formatCode="#\ ##0.0">
                  <c:v>10.744672728288</c:v>
                </c:pt>
                <c:pt idx="372" formatCode="#\ ##0.0">
                  <c:v>11.398607113957</c:v>
                </c:pt>
                <c:pt idx="373" formatCode="#\ ##0.0">
                  <c:v>11.895419766089001</c:v>
                </c:pt>
                <c:pt idx="374" formatCode="#\ ##0.0">
                  <c:v>12.756920479395999</c:v>
                </c:pt>
                <c:pt idx="375" formatCode="#\ ##0.0">
                  <c:v>12.955095277015999</c:v>
                </c:pt>
                <c:pt idx="376" formatCode="#\ ##0.0">
                  <c:v>12.952217345425</c:v>
                </c:pt>
                <c:pt idx="377" formatCode="#\ ##0.0">
                  <c:v>13.573092411614001</c:v>
                </c:pt>
                <c:pt idx="378" formatCode="#\ ##0.0">
                  <c:v>13.986466274830001</c:v>
                </c:pt>
                <c:pt idx="379" formatCode="#\ ##0.0">
                  <c:v>14.796329537365001</c:v>
                </c:pt>
                <c:pt idx="380" formatCode="#\ ##0.0">
                  <c:v>15.469727816135</c:v>
                </c:pt>
                <c:pt idx="381" formatCode="#\ ##0.0">
                  <c:v>15.784373225787</c:v>
                </c:pt>
                <c:pt idx="382" formatCode="#\ ##0.0">
                  <c:v>16.224357352184001</c:v>
                </c:pt>
                <c:pt idx="383" formatCode="#\ ##0.0">
                  <c:v>16.254182746430001</c:v>
                </c:pt>
                <c:pt idx="384" formatCode="#\ ##0.0">
                  <c:v>15.988755053296</c:v>
                </c:pt>
                <c:pt idx="385" formatCode="#\ ##0.0">
                  <c:v>16.189271252983001</c:v>
                </c:pt>
                <c:pt idx="386" formatCode="#\ ##0.0">
                  <c:v>15.810809782799</c:v>
                </c:pt>
                <c:pt idx="387" formatCode="#\ ##0.0">
                  <c:v>15.781738962207999</c:v>
                </c:pt>
                <c:pt idx="388" formatCode="#\ ##0.0">
                  <c:v>16.172506738544001</c:v>
                </c:pt>
                <c:pt idx="389" formatCode="#\ ##0.0">
                  <c:v>16.428759628647999</c:v>
                </c:pt>
                <c:pt idx="390" formatCode="#\ ##0.0">
                  <c:v>16.951083101858</c:v>
                </c:pt>
                <c:pt idx="391" formatCode="#\ ##0.0">
                  <c:v>18.292314079238999</c:v>
                </c:pt>
                <c:pt idx="392" formatCode="#\ ##0.0">
                  <c:v>17.060461695112</c:v>
                </c:pt>
                <c:pt idx="393" formatCode="#\ ##0.0">
                  <c:v>18.670808897200999</c:v>
                </c:pt>
                <c:pt idx="394" formatCode="#\ ##0.0">
                  <c:v>20.931473479927</c:v>
                </c:pt>
                <c:pt idx="395" formatCode="#\ ##0.0">
                  <c:v>22.854590537572999</c:v>
                </c:pt>
                <c:pt idx="396" formatCode="#\ ##0.0">
                  <c:v>23.638460192373</c:v>
                </c:pt>
                <c:pt idx="397" formatCode="#\ ##0.0">
                  <c:v>24.147515417017999</c:v>
                </c:pt>
                <c:pt idx="398" formatCode="#\ ##0.0">
                  <c:v>25.088657750532001</c:v>
                </c:pt>
                <c:pt idx="399" formatCode="#\ ##0.0">
                  <c:v>29.613161572804</c:v>
                </c:pt>
                <c:pt idx="400" formatCode="#\ ##0.0">
                  <c:v>31.263002209182002</c:v>
                </c:pt>
                <c:pt idx="401" formatCode="#\ ##0.0">
                  <c:v>30.968858858480001</c:v>
                </c:pt>
                <c:pt idx="402" formatCode="#\ ##0.0">
                  <c:v>32.168360102054002</c:v>
                </c:pt>
                <c:pt idx="403" formatCode="#\ ##0.0">
                  <c:v>32.245060776990002</c:v>
                </c:pt>
                <c:pt idx="404" formatCode="#\ ##0.0">
                  <c:v>32.382573666668002</c:v>
                </c:pt>
                <c:pt idx="405" formatCode="#\ ##0.0">
                  <c:v>35.064193635362997</c:v>
                </c:pt>
                <c:pt idx="406" formatCode="#\ ##0.0">
                  <c:v>37.073314008225999</c:v>
                </c:pt>
                <c:pt idx="407" formatCode="#\ ##0.0">
                  <c:v>41.210506861760003</c:v>
                </c:pt>
                <c:pt idx="408" formatCode="#\ ##0.0">
                  <c:v>45.680533043979999</c:v>
                </c:pt>
                <c:pt idx="409" formatCode="#\ ##0.0">
                  <c:v>50.146846505485001</c:v>
                </c:pt>
                <c:pt idx="410" formatCode="#\ ##0.0">
                  <c:v>52.814481603590998</c:v>
                </c:pt>
                <c:pt idx="411" formatCode="#\ ##0.0">
                  <c:v>54.309201803234998</c:v>
                </c:pt>
                <c:pt idx="412" formatCode="#\ ##0.0">
                  <c:v>61.509876306952002</c:v>
                </c:pt>
                <c:pt idx="413" formatCode="#\ ##0.0">
                  <c:v>71.548264034994006</c:v>
                </c:pt>
                <c:pt idx="414" formatCode="#\ ##0.0">
                  <c:v>80.886257956918996</c:v>
                </c:pt>
                <c:pt idx="415" formatCode="#\ ##0.0">
                  <c:v>93.144552418157005</c:v>
                </c:pt>
                <c:pt idx="416" formatCode="#\ ##0.0">
                  <c:v>107.65941809711001</c:v>
                </c:pt>
                <c:pt idx="417" formatCode="#\ ##0.0">
                  <c:v>114.95545982931</c:v>
                </c:pt>
                <c:pt idx="418" formatCode="#\ ##0.0">
                  <c:v>118.73355430314599</c:v>
                </c:pt>
                <c:pt idx="419" formatCode="#\ ##0.0">
                  <c:v>128.398346037816</c:v>
                </c:pt>
                <c:pt idx="420" formatCode="#\ ##0.0">
                  <c:v>142.98877992604301</c:v>
                </c:pt>
                <c:pt idx="421" formatCode="#\ ##0.0">
                  <c:v>157.803062805233</c:v>
                </c:pt>
                <c:pt idx="422" formatCode="#\ ##0.0">
                  <c:v>154.56261907772401</c:v>
                </c:pt>
                <c:pt idx="423" formatCode="#\ ##0.0">
                  <c:v>163.006495581378</c:v>
                </c:pt>
                <c:pt idx="424" formatCode="#\ ##0.0">
                  <c:v>172.783794000673</c:v>
                </c:pt>
                <c:pt idx="425" formatCode="#\ ##0.0">
                  <c:v>175.50651364491199</c:v>
                </c:pt>
                <c:pt idx="426" formatCode="#\ ##0.0">
                  <c:v>199.66518312849601</c:v>
                </c:pt>
                <c:pt idx="427" formatCode="#\ ##0.0">
                  <c:v>236.62710698314399</c:v>
                </c:pt>
                <c:pt idx="428" formatCode="#\ ##0.0">
                  <c:v>278.10811590198199</c:v>
                </c:pt>
                <c:pt idx="429" formatCode="#\ ##0.0">
                  <c:v>332.37344502942602</c:v>
                </c:pt>
                <c:pt idx="430" formatCode="#\ ##0.0">
                  <c:v>378.40906369324898</c:v>
                </c:pt>
                <c:pt idx="431" formatCode="#\ ##0.0">
                  <c:v>395.23268517533103</c:v>
                </c:pt>
                <c:pt idx="432" formatCode="#\ ##0.0">
                  <c:v>401.516923291544</c:v>
                </c:pt>
                <c:pt idx="433" formatCode="#\ ##0.0">
                  <c:v>420.939923301926</c:v>
                </c:pt>
                <c:pt idx="434" formatCode="#\ ##0.0">
                  <c:v>459.92606451956499</c:v>
                </c:pt>
                <c:pt idx="435" formatCode="#\ ##0.0">
                  <c:v>490.22286879706701</c:v>
                </c:pt>
                <c:pt idx="436" formatCode="#\ ##0.0">
                  <c:v>499.96875873236797</c:v>
                </c:pt>
                <c:pt idx="437" formatCode="#\ ##0.0">
                  <c:v>518.43706058900295</c:v>
                </c:pt>
                <c:pt idx="438" formatCode="#\ ##0.0">
                  <c:v>535.85831819950204</c:v>
                </c:pt>
                <c:pt idx="439" formatCode="#\ ##0.0">
                  <c:v>548.96182463335003</c:v>
                </c:pt>
                <c:pt idx="440" formatCode="#\ ##0.0">
                  <c:v>562.39147581557495</c:v>
                </c:pt>
                <c:pt idx="441" formatCode="#\ ##0.0">
                  <c:v>602.30600900118895</c:v>
                </c:pt>
                <c:pt idx="442" formatCode="#\ ##0.0">
                  <c:v>590.36588472340804</c:v>
                </c:pt>
                <c:pt idx="443" formatCode="#\ ##0.0">
                  <c:v>606.97329295606505</c:v>
                </c:pt>
                <c:pt idx="444" formatCode="#\ ##0.0">
                  <c:v>680.62942191733805</c:v>
                </c:pt>
                <c:pt idx="445" formatCode="#\ ##0.0">
                  <c:v>731.668515357611</c:v>
                </c:pt>
                <c:pt idx="446" formatCode="#\ ##0.0">
                  <c:v>749.07651564218202</c:v>
                </c:pt>
                <c:pt idx="447" formatCode="#\ ##0.0">
                  <c:v>768.21589324256695</c:v>
                </c:pt>
                <c:pt idx="448" formatCode="#\ ##0.0">
                  <c:v>790.95628973364796</c:v>
                </c:pt>
                <c:pt idx="449" formatCode="#\ ##0.0">
                  <c:v>822.97580539505304</c:v>
                </c:pt>
                <c:pt idx="450" formatCode="#\ ##0.0">
                  <c:v>880.66317716159904</c:v>
                </c:pt>
                <c:pt idx="451" formatCode="#\ ##0.0">
                  <c:v>859.62938764310195</c:v>
                </c:pt>
                <c:pt idx="452" formatCode="#\ ##0.0">
                  <c:v>834.124536970892</c:v>
                </c:pt>
                <c:pt idx="453" formatCode="#\ ##0.0">
                  <c:v>831.72319028444497</c:v>
                </c:pt>
                <c:pt idx="454" formatCode="#\ ##0.0">
                  <c:v>849.70487103207302</c:v>
                </c:pt>
                <c:pt idx="455" formatCode="#\ ##0.0">
                  <c:v>838.97071837328599</c:v>
                </c:pt>
                <c:pt idx="456" formatCode="#\ ##0.0">
                  <c:v>868.44445319153499</c:v>
                </c:pt>
                <c:pt idx="457" formatCode="#\ ##0.0">
                  <c:v>852.26361781959201</c:v>
                </c:pt>
                <c:pt idx="458" formatCode="#\ ##0.0">
                  <c:v>833.546416776809</c:v>
                </c:pt>
                <c:pt idx="459" formatCode="#\ ##0.0">
                  <c:v>818.32286064850598</c:v>
                </c:pt>
                <c:pt idx="460" formatCode="#\ ##0.0">
                  <c:v>801.44881449355705</c:v>
                </c:pt>
                <c:pt idx="461" formatCode="#\ ##0.0">
                  <c:v>780.52016426716295</c:v>
                </c:pt>
                <c:pt idx="462" formatCode="#\ ##0.0">
                  <c:v>755.40685040184803</c:v>
                </c:pt>
                <c:pt idx="463" formatCode="#\ ##0.0">
                  <c:v>718.59227700055999</c:v>
                </c:pt>
                <c:pt idx="464" formatCode="#\ ##0.0">
                  <c:v>680.46954592552402</c:v>
                </c:pt>
                <c:pt idx="465" formatCode="#\ ##0.0">
                  <c:v>641.42791103145805</c:v>
                </c:pt>
                <c:pt idx="466" formatCode="#\ ##0.0">
                  <c:v>625.421871908139</c:v>
                </c:pt>
                <c:pt idx="467" formatCode="#\ ##0.0">
                  <c:v>614.46401888493006</c:v>
                </c:pt>
                <c:pt idx="468" formatCode="#\ ##0.0">
                  <c:v>595.79579136165296</c:v>
                </c:pt>
                <c:pt idx="469" formatCode="#\ ##0.0">
                  <c:v>576.01570707998201</c:v>
                </c:pt>
                <c:pt idx="470" formatCode="#\ ##0.0">
                  <c:v>537.91677647084998</c:v>
                </c:pt>
                <c:pt idx="471" formatCode="#\ ##0.0">
                  <c:v>505.74376765845602</c:v>
                </c:pt>
                <c:pt idx="472" formatCode="#\ ##0.0">
                  <c:v>481.82559011084197</c:v>
                </c:pt>
                <c:pt idx="473" formatCode="#\ ##0.0">
                  <c:v>461.00149390192502</c:v>
                </c:pt>
                <c:pt idx="474" formatCode="#\ ##0.0">
                  <c:v>459.07901715185801</c:v>
                </c:pt>
                <c:pt idx="475" formatCode="#\ ##0.0">
                  <c:v>435.06591406867801</c:v>
                </c:pt>
                <c:pt idx="476" formatCode="#\ ##0.0">
                  <c:v>400.97411338587602</c:v>
                </c:pt>
                <c:pt idx="477" formatCode="#\ ##0.0">
                  <c:v>376.71474789144202</c:v>
                </c:pt>
                <c:pt idx="478" formatCode="#\ ##0.0">
                  <c:v>357.42474690482999</c:v>
                </c:pt>
                <c:pt idx="479" formatCode="#\ ##0.0">
                  <c:v>304.64427770371498</c:v>
                </c:pt>
                <c:pt idx="480" formatCode="#\ ##0.0">
                  <c:v>278.97526694760398</c:v>
                </c:pt>
                <c:pt idx="481" formatCode="#\ ##0.0">
                  <c:v>273.30211329545699</c:v>
                </c:pt>
                <c:pt idx="482" formatCode="#\ ##0.0">
                  <c:v>265.703311323344</c:v>
                </c:pt>
                <c:pt idx="483" formatCode="#\ ##0.0">
                  <c:v>245.54135372883999</c:v>
                </c:pt>
                <c:pt idx="484" formatCode="#\ ##0.0">
                  <c:v>233.452331774984</c:v>
                </c:pt>
                <c:pt idx="485" formatCode="#\ ##0.0">
                  <c:v>227.46921409061301</c:v>
                </c:pt>
                <c:pt idx="486" formatCode="#\ ##0.0">
                  <c:v>250.26063777034301</c:v>
                </c:pt>
                <c:pt idx="487" formatCode="#\ ##0.0">
                  <c:v>252.16450688287199</c:v>
                </c:pt>
                <c:pt idx="488" formatCode="#\ ##0.0">
                  <c:v>251.49321826252199</c:v>
                </c:pt>
                <c:pt idx="489" formatCode="#\ ##0.0">
                  <c:v>256.65549726455401</c:v>
                </c:pt>
                <c:pt idx="490" formatCode="#\ ##0.0">
                  <c:v>258.55176864433599</c:v>
                </c:pt>
                <c:pt idx="491" formatCode="#\ ##0.0">
                  <c:v>259.98753645293903</c:v>
                </c:pt>
                <c:pt idx="492" formatCode="#\ ##0.0">
                  <c:v>254.659903829992</c:v>
                </c:pt>
                <c:pt idx="493" formatCode="#\ ##0.0">
                  <c:v>256.74868789635298</c:v>
                </c:pt>
                <c:pt idx="494" formatCode="#\ ##0.0">
                  <c:v>266.32913675057802</c:v>
                </c:pt>
                <c:pt idx="495" formatCode="#\ ##0.0">
                  <c:v>266.048027819146</c:v>
                </c:pt>
                <c:pt idx="496" formatCode="#\ ##0.0">
                  <c:v>248.31137214506299</c:v>
                </c:pt>
                <c:pt idx="497" formatCode="#\ ##0.0">
                  <c:v>236.738870381531</c:v>
                </c:pt>
                <c:pt idx="498" formatCode="#\ ##0.0">
                  <c:v>246.33547928659101</c:v>
                </c:pt>
                <c:pt idx="499" formatCode="#\ ##0.0">
                  <c:v>262.02085155665702</c:v>
                </c:pt>
                <c:pt idx="500" formatCode="#\ ##0.0">
                  <c:v>290.26719499099499</c:v>
                </c:pt>
                <c:pt idx="501" formatCode="#\ ##0.0">
                  <c:v>315.53392063739</c:v>
                </c:pt>
                <c:pt idx="502" formatCode="#\ ##0.0">
                  <c:v>331.65078536062202</c:v>
                </c:pt>
                <c:pt idx="503" formatCode="#\ ##0.0">
                  <c:v>300.339485134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OCK_pocet_sympt_pripadu_7dni_100_000_nyni</c:v>
          </c:tx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#\ ##0.0">
                  <c:v>36.812279684083002</c:v>
                </c:pt>
                <c:pt idx="182" formatCode="#\ ##0.0">
                  <c:v>38.222444006773003</c:v>
                </c:pt>
                <c:pt idx="183" formatCode="#\ ##0.0">
                  <c:v>43.726293739003999</c:v>
                </c:pt>
                <c:pt idx="184" formatCode="#\ ##0.0">
                  <c:v>46.395780425863997</c:v>
                </c:pt>
                <c:pt idx="185" formatCode="#\ ##0.0">
                  <c:v>41.953822511760997</c:v>
                </c:pt>
                <c:pt idx="186" formatCode="#\ ##0.0">
                  <c:v>43.595657310006999</c:v>
                </c:pt>
                <c:pt idx="187" formatCode="#\ ##0.0">
                  <c:v>40.121671300875001</c:v>
                </c:pt>
                <c:pt idx="188" formatCode="#\ ##0.0">
                  <c:v>39.022973641341999</c:v>
                </c:pt>
                <c:pt idx="189" formatCode="#\ ##0.0">
                  <c:v>41.342669153091002</c:v>
                </c:pt>
                <c:pt idx="190" formatCode="#\ ##0.0">
                  <c:v>34.703478059688997</c:v>
                </c:pt>
                <c:pt idx="191" formatCode="#\ ##0.0">
                  <c:v>33.897170214012</c:v>
                </c:pt>
                <c:pt idx="192" formatCode="#\ ##0.0">
                  <c:v>35.610203346539997</c:v>
                </c:pt>
                <c:pt idx="193" formatCode="#\ ##0.0">
                  <c:v>37.162424296874001</c:v>
                </c:pt>
                <c:pt idx="194" formatCode="#\ ##0.0">
                  <c:v>39.11613825925</c:v>
                </c:pt>
                <c:pt idx="195" formatCode="#\ ##0.0">
                  <c:v>39.779165360783999</c:v>
                </c:pt>
                <c:pt idx="196" formatCode="#\ ##0.0">
                  <c:v>39.616198271149003</c:v>
                </c:pt>
                <c:pt idx="197" formatCode="#\ ##0.0">
                  <c:v>40.478423832449998</c:v>
                </c:pt>
                <c:pt idx="198" formatCode="#\ ##0.0">
                  <c:v>39.753072262676</c:v>
                </c:pt>
                <c:pt idx="199" formatCode="#\ ##0.0">
                  <c:v>39.694576447633999</c:v>
                </c:pt>
                <c:pt idx="200" formatCode="#\ ##0.0">
                  <c:v>37.327360955579998</c:v>
                </c:pt>
                <c:pt idx="201" formatCode="#\ ##0.0">
                  <c:v>36.838305884454002</c:v>
                </c:pt>
                <c:pt idx="202" formatCode="#\ ##0.0">
                  <c:v>35.453345955210999</c:v>
                </c:pt>
                <c:pt idx="203" formatCode="#\ ##0.0">
                  <c:v>35.359163380764002</c:v>
                </c:pt>
                <c:pt idx="204" formatCode="#\ ##0.0">
                  <c:v>35.19850563176</c:v>
                </c:pt>
                <c:pt idx="205" formatCode="#\ ##0.0">
                  <c:v>34.877893510680003</c:v>
                </c:pt>
                <c:pt idx="206" formatCode="#\ ##0.0">
                  <c:v>32.256896557399003</c:v>
                </c:pt>
                <c:pt idx="207" formatCode="#\ ##0.0">
                  <c:v>30.807248224485999</c:v>
                </c:pt>
                <c:pt idx="208" formatCode="#\ ##0.0">
                  <c:v>29.711666236772</c:v>
                </c:pt>
                <c:pt idx="209" formatCode="#\ ##0.0">
                  <c:v>30.788079617339001</c:v>
                </c:pt>
                <c:pt idx="210" formatCode="#\ ##0.0">
                  <c:v>27.641617218884001</c:v>
                </c:pt>
                <c:pt idx="211" formatCode="#\ ##0.0">
                  <c:v>27.074872435696999</c:v>
                </c:pt>
                <c:pt idx="212" formatCode="#\ ##0.0">
                  <c:v>22.093233445138001</c:v>
                </c:pt>
                <c:pt idx="213" formatCode="#\ ##0.0">
                  <c:v>19.882143074110001</c:v>
                </c:pt>
                <c:pt idx="214" formatCode="#\ ##0.0">
                  <c:v>21.144261529801</c:v>
                </c:pt>
                <c:pt idx="215" formatCode="#\ ##0.0">
                  <c:v>20.780698012708999</c:v>
                </c:pt>
                <c:pt idx="216" formatCode="#\ ##0.0">
                  <c:v>14.805845136146999</c:v>
                </c:pt>
                <c:pt idx="217" formatCode="#\ ##0.0">
                  <c:v>14.045302484741001</c:v>
                </c:pt>
                <c:pt idx="218" formatCode="#\ ##0.0">
                  <c:v>13.502399744681</c:v>
                </c:pt>
                <c:pt idx="219" formatCode="#\ ##0.0">
                  <c:v>16.228115562997999</c:v>
                </c:pt>
                <c:pt idx="220" formatCode="#\ ##0.0">
                  <c:v>15.812276651592001</c:v>
                </c:pt>
                <c:pt idx="221" formatCode="#\ ##0.0">
                  <c:v>15.641060016980999</c:v>
                </c:pt>
                <c:pt idx="222" formatCode="#\ ##0.0">
                  <c:v>15.718849557325999</c:v>
                </c:pt>
                <c:pt idx="223" formatCode="#\ ##0.0">
                  <c:v>17.780562458458999</c:v>
                </c:pt>
                <c:pt idx="224" formatCode="#\ ##0.0">
                  <c:v>15.770064374211</c:v>
                </c:pt>
                <c:pt idx="225" formatCode="#\ ##0.0">
                  <c:v>15.718598744429</c:v>
                </c:pt>
                <c:pt idx="226" formatCode="#\ ##0.0">
                  <c:v>13.002586069895999</c:v>
                </c:pt>
                <c:pt idx="227" formatCode="#\ ##0.0">
                  <c:v>12.70899231812</c:v>
                </c:pt>
                <c:pt idx="228" formatCode="#\ ##0.0">
                  <c:v>12.468525631478</c:v>
                </c:pt>
                <c:pt idx="229" formatCode="#\ ##0.0">
                  <c:v>13.302067789383001</c:v>
                </c:pt>
                <c:pt idx="230" formatCode="#\ ##0.0">
                  <c:v>12.129993092642</c:v>
                </c:pt>
                <c:pt idx="231" formatCode="#\ ##0.0">
                  <c:v>12.844513947536001</c:v>
                </c:pt>
                <c:pt idx="232" formatCode="#\ ##0.0">
                  <c:v>12.091748466827999</c:v>
                </c:pt>
                <c:pt idx="233" formatCode="#\ ##0.0">
                  <c:v>11.536720790648999</c:v>
                </c:pt>
                <c:pt idx="234" formatCode="#\ ##0.0">
                  <c:v>11.185175536462999</c:v>
                </c:pt>
                <c:pt idx="235" formatCode="#\ ##0.0">
                  <c:v>9.8393415678919993</c:v>
                </c:pt>
                <c:pt idx="236" formatCode="#\ ##0.0">
                  <c:v>9.0207805982139995</c:v>
                </c:pt>
                <c:pt idx="237" formatCode="#\ ##0.0">
                  <c:v>10.042455803284</c:v>
                </c:pt>
                <c:pt idx="238" formatCode="#\ ##0.0">
                  <c:v>9.5806241457270005</c:v>
                </c:pt>
                <c:pt idx="239" formatCode="#\ ##0.0">
                  <c:v>8.2695936914099999</c:v>
                </c:pt>
                <c:pt idx="240" formatCode="#\ ##0.0">
                  <c:v>8.4931887019049999</c:v>
                </c:pt>
                <c:pt idx="241" formatCode="#\ ##0.0">
                  <c:v>8.4722649381689994</c:v>
                </c:pt>
                <c:pt idx="242" formatCode="#\ ##0.0">
                  <c:v>8.9586901016810003</c:v>
                </c:pt>
                <c:pt idx="243" formatCode="#\ ##0.0">
                  <c:v>9.3645041894729992</c:v>
                </c:pt>
                <c:pt idx="244" formatCode="#\ ##0.0">
                  <c:v>8.4166960315829993</c:v>
                </c:pt>
                <c:pt idx="245" formatCode="#\ ##0.0">
                  <c:v>8.6001682545729992</c:v>
                </c:pt>
                <c:pt idx="246" formatCode="#\ ##0.0">
                  <c:v>9.2259333388320002</c:v>
                </c:pt>
                <c:pt idx="247" formatCode="#\ ##0.0">
                  <c:v>8.9484600658990008</c:v>
                </c:pt>
                <c:pt idx="248" formatCode="#\ ##0.0">
                  <c:v>8.203894115073</c:v>
                </c:pt>
                <c:pt idx="249" formatCode="#\ ##0.0">
                  <c:v>7.7403833581750003</c:v>
                </c:pt>
                <c:pt idx="250" formatCode="#\ ##0.0">
                  <c:v>7.0831636325370004</c:v>
                </c:pt>
                <c:pt idx="251" formatCode="#\ ##0.0">
                  <c:v>6.511102980844</c:v>
                </c:pt>
                <c:pt idx="252" formatCode="#\ ##0.0">
                  <c:v>5.9194606350759997</c:v>
                </c:pt>
                <c:pt idx="253" formatCode="#\ ##0.0">
                  <c:v>4.9304157346670001</c:v>
                </c:pt>
                <c:pt idx="254" formatCode="#\ ##0.0">
                  <c:v>4.5556462283209997</c:v>
                </c:pt>
                <c:pt idx="255" formatCode="#\ ##0.0">
                  <c:v>4.4129761110889998</c:v>
                </c:pt>
                <c:pt idx="256" formatCode="#\ ##0.0">
                  <c:v>4.5935401143099996</c:v>
                </c:pt>
                <c:pt idx="257" formatCode="#\ ##0.0">
                  <c:v>4.2907740556389999</c:v>
                </c:pt>
                <c:pt idx="258" formatCode="#\ ##0.0">
                  <c:v>4.366697815777</c:v>
                </c:pt>
                <c:pt idx="259" formatCode="#\ ##0.0">
                  <c:v>3.3689998113359998</c:v>
                </c:pt>
                <c:pt idx="260" formatCode="#\ ##0.0">
                  <c:v>3.6249130736300001</c:v>
                </c:pt>
                <c:pt idx="261" formatCode="#\ ##0.0">
                  <c:v>3.682583927504</c:v>
                </c:pt>
                <c:pt idx="262" formatCode="#\ ##0.0">
                  <c:v>3.8347610803549999</c:v>
                </c:pt>
                <c:pt idx="263" formatCode="#\ ##0.0">
                  <c:v>3.7350120967699998</c:v>
                </c:pt>
                <c:pt idx="264" formatCode="#\ ##0.0">
                  <c:v>3.730779490412</c:v>
                </c:pt>
                <c:pt idx="265" formatCode="#\ ##0.0">
                  <c:v>3.5204906452219999</c:v>
                </c:pt>
                <c:pt idx="266" formatCode="#\ ##0.0">
                  <c:v>3.6757307122920002</c:v>
                </c:pt>
                <c:pt idx="267" formatCode="#\ ##0.0">
                  <c:v>3.0983874715790001</c:v>
                </c:pt>
                <c:pt idx="268" formatCode="#\ ##0.0">
                  <c:v>2.8919547625969999</c:v>
                </c:pt>
                <c:pt idx="269" formatCode="#\ ##0.0">
                  <c:v>2.7819631865500001</c:v>
                </c:pt>
                <c:pt idx="270" formatCode="#\ ##0.0">
                  <c:v>2.5972025441829998</c:v>
                </c:pt>
                <c:pt idx="271" formatCode="#\ ##0.0">
                  <c:v>2.683696810247</c:v>
                </c:pt>
                <c:pt idx="272" formatCode="#\ ##0.0">
                  <c:v>2.223014603427</c:v>
                </c:pt>
                <c:pt idx="273" formatCode="#\ ##0.0">
                  <c:v>2.109517351219</c:v>
                </c:pt>
                <c:pt idx="274" formatCode="#\ ##0.0">
                  <c:v>1.9950401566880001</c:v>
                </c:pt>
                <c:pt idx="275" formatCode="#\ ##0.0">
                  <c:v>1.4407829723179999</c:v>
                </c:pt>
                <c:pt idx="276" formatCode="#\ ##0.0">
                  <c:v>1.2420303055390001</c:v>
                </c:pt>
                <c:pt idx="277" formatCode="#\ ##0.0">
                  <c:v>1.2305995973470001</c:v>
                </c:pt>
                <c:pt idx="278" formatCode="#\ ##0.0">
                  <c:v>1.1401013550100001</c:v>
                </c:pt>
                <c:pt idx="279" formatCode="#\ ##0.0">
                  <c:v>1.188938119733</c:v>
                </c:pt>
                <c:pt idx="280" formatCode="#\ ##0.0">
                  <c:v>1.0019592156349999</c:v>
                </c:pt>
                <c:pt idx="281" formatCode="#\ ##0.0">
                  <c:v>0.82396633423300003</c:v>
                </c:pt>
                <c:pt idx="282" formatCode="#\ ##0.0">
                  <c:v>0.72340108466700004</c:v>
                </c:pt>
                <c:pt idx="283" formatCode="#\ ##0.0">
                  <c:v>0.41988961102099998</c:v>
                </c:pt>
                <c:pt idx="284" formatCode="#\ ##0.0">
                  <c:v>0.34576640160200001</c:v>
                </c:pt>
                <c:pt idx="285" formatCode="#\ ##0.0">
                  <c:v>0.34234476034400002</c:v>
                </c:pt>
                <c:pt idx="286" formatCode="#\ ##0.0">
                  <c:v>0.26524425016699998</c:v>
                </c:pt>
                <c:pt idx="287" formatCode="#\ ##0.0">
                  <c:v>0.19268849913</c:v>
                </c:pt>
                <c:pt idx="288" formatCode="#\ ##0.0">
                  <c:v>0.124152503969</c:v>
                </c:pt>
                <c:pt idx="289" formatCode="#\ ##0.0">
                  <c:v>0.23935584554799999</c:v>
                </c:pt>
                <c:pt idx="290" formatCode="#\ ##0.0">
                  <c:v>0.23140381122000001</c:v>
                </c:pt>
                <c:pt idx="291" formatCode="#\ ##0.0">
                  <c:v>0.28612761749499999</c:v>
                </c:pt>
                <c:pt idx="292" formatCode="#\ ##0.0">
                  <c:v>0.28366653750300003</c:v>
                </c:pt>
                <c:pt idx="293" formatCode="#\ ##0.0">
                  <c:v>0.27498454586799997</c:v>
                </c:pt>
                <c:pt idx="294" formatCode="#\ ##0.0">
                  <c:v>0.26691023114899998</c:v>
                </c:pt>
                <c:pt idx="295" formatCode="#\ ##0.0">
                  <c:v>0.41280649592300001</c:v>
                </c:pt>
                <c:pt idx="296" formatCode="#\ ##0.0">
                  <c:v>0.298620225249</c:v>
                </c:pt>
                <c:pt idx="297" formatCode="#\ ##0.0">
                  <c:v>0.28859279268299998</c:v>
                </c:pt>
                <c:pt idx="298" formatCode="#\ ##0.0">
                  <c:v>0.285732246026</c:v>
                </c:pt>
                <c:pt idx="299" formatCode="#\ ##0.0">
                  <c:v>0.28324706886399997</c:v>
                </c:pt>
                <c:pt idx="300" formatCode="#\ ##0.0">
                  <c:v>0.41045380228400002</c:v>
                </c:pt>
                <c:pt idx="301" formatCode="#\ ##0.0">
                  <c:v>0.44148375626699998</c:v>
                </c:pt>
                <c:pt idx="302" formatCode="#\ ##0.0">
                  <c:v>0.38406784174300002</c:v>
                </c:pt>
                <c:pt idx="303" formatCode="#\ ##0.0">
                  <c:v>0.57697649480099999</c:v>
                </c:pt>
                <c:pt idx="304" formatCode="#\ ##0.0">
                  <c:v>0.75787552333200003</c:v>
                </c:pt>
                <c:pt idx="305" formatCode="#\ ##0.0">
                  <c:v>0.70968795020800002</c:v>
                </c:pt>
                <c:pt idx="306" formatCode="#\ ##0.0">
                  <c:v>0.74213415910699998</c:v>
                </c:pt>
                <c:pt idx="307" formatCode="#\ ##0.0">
                  <c:v>0.64423173849299997</c:v>
                </c:pt>
                <c:pt idx="308" formatCode="#\ ##0.0">
                  <c:v>0.58799577231</c:v>
                </c:pt>
                <c:pt idx="309" formatCode="#\ ##0.0">
                  <c:v>0.64140367631200002</c:v>
                </c:pt>
                <c:pt idx="310" formatCode="#\ ##0.0">
                  <c:v>0.58693915374399996</c:v>
                </c:pt>
                <c:pt idx="311" formatCode="#\ ##0.0">
                  <c:v>0.46938943833500002</c:v>
                </c:pt>
                <c:pt idx="312" formatCode="#\ ##0.0">
                  <c:v>0.56338887021899997</c:v>
                </c:pt>
                <c:pt idx="313" formatCode="#\ ##0.0">
                  <c:v>0.62414959617499999</c:v>
                </c:pt>
                <c:pt idx="314" formatCode="#\ ##0.0">
                  <c:v>0.89475164250799999</c:v>
                </c:pt>
                <c:pt idx="315" formatCode="#\ ##0.0">
                  <c:v>0.99506633671900002</c:v>
                </c:pt>
                <c:pt idx="316" formatCode="#\ ##0.0">
                  <c:v>0.90719788949400004</c:v>
                </c:pt>
                <c:pt idx="317" formatCode="#\ ##0.0">
                  <c:v>0.82426397642600002</c:v>
                </c:pt>
                <c:pt idx="318" formatCode="#\ ##0.0">
                  <c:v>0.86136205458899995</c:v>
                </c:pt>
                <c:pt idx="319" formatCode="#\ ##0.0">
                  <c:v>0.85363393388300002</c:v>
                </c:pt>
                <c:pt idx="320" formatCode="#\ ##0.0">
                  <c:v>0.84837022424099995</c:v>
                </c:pt>
                <c:pt idx="321" formatCode="#\ ##0.0">
                  <c:v>0.75809178750700001</c:v>
                </c:pt>
                <c:pt idx="322" formatCode="#\ ##0.0">
                  <c:v>0.807966662738</c:v>
                </c:pt>
                <c:pt idx="323" formatCode="#\ ##0.0">
                  <c:v>0.84508823811599998</c:v>
                </c:pt>
                <c:pt idx="324" formatCode="#\ ##0.0">
                  <c:v>1.01642733815</c:v>
                </c:pt>
                <c:pt idx="325" formatCode="#\ ##0.0">
                  <c:v>0.94540347456700002</c:v>
                </c:pt>
                <c:pt idx="326" formatCode="#\ ##0.0">
                  <c:v>0.88621125660300004</c:v>
                </c:pt>
                <c:pt idx="327" formatCode="#\ ##0.0">
                  <c:v>0.80322450591299999</c:v>
                </c:pt>
                <c:pt idx="328" formatCode="#\ ##0.0">
                  <c:v>0.76364325031000002</c:v>
                </c:pt>
                <c:pt idx="329" formatCode="#\ ##0.0">
                  <c:v>0.77530915452500004</c:v>
                </c:pt>
                <c:pt idx="330" formatCode="#\ ##0.0">
                  <c:v>0.81073252631799997</c:v>
                </c:pt>
                <c:pt idx="331" formatCode="#\ ##0.0">
                  <c:v>0.70109121220799997</c:v>
                </c:pt>
                <c:pt idx="332" formatCode="#\ ##0.0">
                  <c:v>0.80776768411300004</c:v>
                </c:pt>
                <c:pt idx="333" formatCode="#\ ##0.0">
                  <c:v>0.80177900612399999</c:v>
                </c:pt>
                <c:pt idx="334" formatCode="#\ ##0.0">
                  <c:v>0.79689398848899995</c:v>
                </c:pt>
                <c:pt idx="335" formatCode="#\ ##0.0">
                  <c:v>0.85379696200499999</c:v>
                </c:pt>
                <c:pt idx="336" formatCode="#\ ##0.0">
                  <c:v>0.74989160657599996</c:v>
                </c:pt>
                <c:pt idx="337" formatCode="#\ ##0.0">
                  <c:v>0.82883577918200002</c:v>
                </c:pt>
                <c:pt idx="338" formatCode="#\ ##0.0">
                  <c:v>0.88442568380999997</c:v>
                </c:pt>
                <c:pt idx="339" formatCode="#\ ##0.0">
                  <c:v>0.808312775973</c:v>
                </c:pt>
                <c:pt idx="340" formatCode="#\ ##0.0">
                  <c:v>0.80345703676299995</c:v>
                </c:pt>
                <c:pt idx="341" formatCode="#\ ##0.0">
                  <c:v>0.82122725497600002</c:v>
                </c:pt>
                <c:pt idx="342" formatCode="#\ ##0.0">
                  <c:v>0.72713538811800005</c:v>
                </c:pt>
                <c:pt idx="343" formatCode="#\ ##0.0">
                  <c:v>0.78348531536699995</c:v>
                </c:pt>
                <c:pt idx="344" formatCode="#\ ##0.0">
                  <c:v>0.62913512165600005</c:v>
                </c:pt>
                <c:pt idx="345" formatCode="#\ ##0.0">
                  <c:v>0.60286172223000001</c:v>
                </c:pt>
                <c:pt idx="346" formatCode="#\ ##0.0">
                  <c:v>0.72121526833299998</c:v>
                </c:pt>
                <c:pt idx="347" formatCode="#\ ##0.0">
                  <c:v>0.80042163748999995</c:v>
                </c:pt>
                <c:pt idx="348" formatCode="#\ ##0.0">
                  <c:v>0.83868763794800005</c:v>
                </c:pt>
                <c:pt idx="349" formatCode="#\ ##0.0">
                  <c:v>0.85259781479100005</c:v>
                </c:pt>
                <c:pt idx="350" formatCode="#\ ##0.0">
                  <c:v>0.84605743279500001</c:v>
                </c:pt>
                <c:pt idx="351" formatCode="#\ ##0.0">
                  <c:v>0.99981663362899997</c:v>
                </c:pt>
                <c:pt idx="352" formatCode="#\ ##0.0">
                  <c:v>0.95212327457400003</c:v>
                </c:pt>
                <c:pt idx="353" formatCode="#\ ##0.0">
                  <c:v>0.90468886471499999</c:v>
                </c:pt>
                <c:pt idx="354" formatCode="#\ ##0.0">
                  <c:v>0.80348485097900002</c:v>
                </c:pt>
                <c:pt idx="355" formatCode="#\ ##0.0">
                  <c:v>0.85962516435400005</c:v>
                </c:pt>
                <c:pt idx="356" formatCode="#\ ##0.0">
                  <c:v>1.007065338011</c:v>
                </c:pt>
                <c:pt idx="357" formatCode="#\ ##0.0">
                  <c:v>1.114732068381</c:v>
                </c:pt>
                <c:pt idx="358" formatCode="#\ ##0.0">
                  <c:v>1.124633398104</c:v>
                </c:pt>
                <c:pt idx="359" formatCode="#\ ##0.0">
                  <c:v>1.1545943105750001</c:v>
                </c:pt>
                <c:pt idx="360" formatCode="#\ ##0.0">
                  <c:v>1.1270676760930001</c:v>
                </c:pt>
                <c:pt idx="361" formatCode="#\ ##0.0">
                  <c:v>1.218545132099</c:v>
                </c:pt>
                <c:pt idx="362" formatCode="#\ ##0.0">
                  <c:v>1.17876163419</c:v>
                </c:pt>
                <c:pt idx="363" formatCode="#\ ##0.0">
                  <c:v>1.078340107354</c:v>
                </c:pt>
                <c:pt idx="364" formatCode="#\ ##0.0">
                  <c:v>1.0729399368220001</c:v>
                </c:pt>
                <c:pt idx="365" formatCode="#\ ##0.0">
                  <c:v>1.248956065582</c:v>
                </c:pt>
                <c:pt idx="366" formatCode="#\ ##0.0">
                  <c:v>1.4226118314239999</c:v>
                </c:pt>
                <c:pt idx="367" formatCode="#\ ##0.0">
                  <c:v>1.8287056819509999</c:v>
                </c:pt>
                <c:pt idx="368" formatCode="#\ ##0.0">
                  <c:v>1.8967544183530001</c:v>
                </c:pt>
                <c:pt idx="369" formatCode="#\ ##0.0">
                  <c:v>1.9827943917919999</c:v>
                </c:pt>
                <c:pt idx="370" formatCode="#\ ##0.0">
                  <c:v>2.2910471069709999</c:v>
                </c:pt>
                <c:pt idx="371" formatCode="#\ ##0.0">
                  <c:v>2.686744297563</c:v>
                </c:pt>
                <c:pt idx="372" formatCode="#\ ##0.0">
                  <c:v>2.726376435043</c:v>
                </c:pt>
                <c:pt idx="373" formatCode="#\ ##0.0">
                  <c:v>2.8019472652370001</c:v>
                </c:pt>
                <c:pt idx="374" formatCode="#\ ##0.0">
                  <c:v>2.8593671992340002</c:v>
                </c:pt>
                <c:pt idx="375" formatCode="#\ ##0.0">
                  <c:v>2.9084053791479998</c:v>
                </c:pt>
                <c:pt idx="376" formatCode="#\ ##0.0">
                  <c:v>2.905040525315</c:v>
                </c:pt>
                <c:pt idx="377" formatCode="#\ ##0.0">
                  <c:v>3.1380413949500001</c:v>
                </c:pt>
                <c:pt idx="378" formatCode="#\ ##0.0">
                  <c:v>3.2150825954709998</c:v>
                </c:pt>
                <c:pt idx="379" formatCode="#\ ##0.0">
                  <c:v>3.259298144817</c:v>
                </c:pt>
                <c:pt idx="380" formatCode="#\ ##0.0">
                  <c:v>3.5970700480960001</c:v>
                </c:pt>
                <c:pt idx="381" formatCode="#\ ##0.0">
                  <c:v>3.759797246897</c:v>
                </c:pt>
                <c:pt idx="382" formatCode="#\ ##0.0">
                  <c:v>3.7575005657789999</c:v>
                </c:pt>
                <c:pt idx="383" formatCode="#\ ##0.0">
                  <c:v>3.7728905923739999</c:v>
                </c:pt>
                <c:pt idx="384" formatCode="#\ ##0.0">
                  <c:v>3.7647715711949998</c:v>
                </c:pt>
                <c:pt idx="385" formatCode="#\ ##0.0">
                  <c:v>3.8777173833780001</c:v>
                </c:pt>
                <c:pt idx="386" formatCode="#\ ##0.0">
                  <c:v>4.1281218278980001</c:v>
                </c:pt>
                <c:pt idx="387" formatCode="#\ ##0.0">
                  <c:v>3.898731475895</c:v>
                </c:pt>
                <c:pt idx="388" formatCode="#\ ##0.0">
                  <c:v>3.7541278341950002</c:v>
                </c:pt>
                <c:pt idx="389" formatCode="#\ ##0.0">
                  <c:v>3.8378280554100002</c:v>
                </c:pt>
                <c:pt idx="390" formatCode="#\ ##0.0">
                  <c:v>3.990235178322</c:v>
                </c:pt>
                <c:pt idx="391" formatCode="#\ ##0.0">
                  <c:v>4.2896530334570002</c:v>
                </c:pt>
                <c:pt idx="392" formatCode="#\ ##0.0">
                  <c:v>3.8921702282289998</c:v>
                </c:pt>
                <c:pt idx="393" formatCode="#\ ##0.0">
                  <c:v>4.4296510317519999</c:v>
                </c:pt>
                <c:pt idx="394" formatCode="#\ ##0.0">
                  <c:v>5.3216938510869998</c:v>
                </c:pt>
                <c:pt idx="395" formatCode="#\ ##0.0">
                  <c:v>5.8200570331749999</c:v>
                </c:pt>
                <c:pt idx="396" formatCode="#\ ##0.0">
                  <c:v>6.1390707543970002</c:v>
                </c:pt>
                <c:pt idx="397" formatCode="#\ ##0.0">
                  <c:v>6.3234316959469998</c:v>
                </c:pt>
                <c:pt idx="398" formatCode="#\ ##0.0">
                  <c:v>6.8048277466759997</c:v>
                </c:pt>
                <c:pt idx="399" formatCode="#\ ##0.0">
                  <c:v>8.0784626162809996</c:v>
                </c:pt>
                <c:pt idx="400" formatCode="#\ ##0.0">
                  <c:v>8.6276551735170006</c:v>
                </c:pt>
                <c:pt idx="401" formatCode="#\ ##0.0">
                  <c:v>9.1753714846960008</c:v>
                </c:pt>
                <c:pt idx="402" formatCode="#\ ##0.0">
                  <c:v>9.7832505707309991</c:v>
                </c:pt>
                <c:pt idx="403" formatCode="#\ ##0.0">
                  <c:v>9.9817538916230006</c:v>
                </c:pt>
                <c:pt idx="404" formatCode="#\ ##0.0">
                  <c:v>9.9455364281309997</c:v>
                </c:pt>
                <c:pt idx="405" formatCode="#\ ##0.0">
                  <c:v>10.942948134286</c:v>
                </c:pt>
                <c:pt idx="406" formatCode="#\ ##0.0">
                  <c:v>11.848148357613001</c:v>
                </c:pt>
                <c:pt idx="407" formatCode="#\ ##0.0">
                  <c:v>12.94178076221</c:v>
                </c:pt>
                <c:pt idx="408" formatCode="#\ ##0.0">
                  <c:v>13.764915340746001</c:v>
                </c:pt>
                <c:pt idx="409" formatCode="#\ ##0.0">
                  <c:v>15.273149318370001</c:v>
                </c:pt>
                <c:pt idx="410" formatCode="#\ ##0.0">
                  <c:v>16.139172179210998</c:v>
                </c:pt>
                <c:pt idx="411" formatCode="#\ ##0.0">
                  <c:v>16.822674959164001</c:v>
                </c:pt>
                <c:pt idx="412" formatCode="#\ ##0.0">
                  <c:v>19.903557155043998</c:v>
                </c:pt>
                <c:pt idx="413" formatCode="#\ ##0.0">
                  <c:v>23.401526260571</c:v>
                </c:pt>
                <c:pt idx="414" formatCode="#\ ##0.0">
                  <c:v>25.946162547532001</c:v>
                </c:pt>
                <c:pt idx="415" formatCode="#\ ##0.0">
                  <c:v>29.722130621169999</c:v>
                </c:pt>
                <c:pt idx="416" formatCode="#\ ##0.0">
                  <c:v>34.629619868192997</c:v>
                </c:pt>
                <c:pt idx="417" formatCode="#\ ##0.0">
                  <c:v>36.240482703883004</c:v>
                </c:pt>
                <c:pt idx="418" formatCode="#\ ##0.0">
                  <c:v>37.604366709112</c:v>
                </c:pt>
                <c:pt idx="419" formatCode="#\ ##0.0">
                  <c:v>41.644528770816997</c:v>
                </c:pt>
                <c:pt idx="420" formatCode="#\ ##0.0">
                  <c:v>47.908559662659002</c:v>
                </c:pt>
                <c:pt idx="421" formatCode="#\ ##0.0">
                  <c:v>53.561363936047997</c:v>
                </c:pt>
                <c:pt idx="422" formatCode="#\ ##0.0">
                  <c:v>53.059780686239002</c:v>
                </c:pt>
                <c:pt idx="423" formatCode="#\ ##0.0">
                  <c:v>56.700633157070001</c:v>
                </c:pt>
                <c:pt idx="424" formatCode="#\ ##0.0">
                  <c:v>60.729649067955997</c:v>
                </c:pt>
                <c:pt idx="425" formatCode="#\ ##0.0">
                  <c:v>62.557835585543003</c:v>
                </c:pt>
                <c:pt idx="426" formatCode="#\ ##0.0">
                  <c:v>74.261280328495999</c:v>
                </c:pt>
                <c:pt idx="427" formatCode="#\ ##0.0">
                  <c:v>88.580747738393995</c:v>
                </c:pt>
                <c:pt idx="428" formatCode="#\ ##0.0">
                  <c:v>103.808393057449</c:v>
                </c:pt>
                <c:pt idx="429" formatCode="#\ ##0.0">
                  <c:v>125.08552175730399</c:v>
                </c:pt>
                <c:pt idx="430" formatCode="#\ ##0.0">
                  <c:v>141.871868892724</c:v>
                </c:pt>
                <c:pt idx="431" formatCode="#\ ##0.0">
                  <c:v>148.32418367939999</c:v>
                </c:pt>
                <c:pt idx="432" formatCode="#\ ##0.0">
                  <c:v>150.308101364718</c:v>
                </c:pt>
                <c:pt idx="433" formatCode="#\ ##0.0">
                  <c:v>157.04731511404799</c:v>
                </c:pt>
                <c:pt idx="434" formatCode="#\ ##0.0">
                  <c:v>165.914604892733</c:v>
                </c:pt>
                <c:pt idx="435" formatCode="#\ ##0.0">
                  <c:v>174.98739138677101</c:v>
                </c:pt>
                <c:pt idx="436" formatCode="#\ ##0.0">
                  <c:v>178.25000762693699</c:v>
                </c:pt>
                <c:pt idx="437" formatCode="#\ ##0.0">
                  <c:v>186.73754214202901</c:v>
                </c:pt>
                <c:pt idx="438" formatCode="#\ ##0.0">
                  <c:v>190.75837493293599</c:v>
                </c:pt>
                <c:pt idx="439" formatCode="#\ ##0.0">
                  <c:v>195.147009161445</c:v>
                </c:pt>
                <c:pt idx="440" formatCode="#\ ##0.0">
                  <c:v>201.563706613016</c:v>
                </c:pt>
                <c:pt idx="441" formatCode="#\ ##0.0">
                  <c:v>217.36694601319701</c:v>
                </c:pt>
                <c:pt idx="442" formatCode="#\ ##0.0">
                  <c:v>209.975598589073</c:v>
                </c:pt>
                <c:pt idx="443" formatCode="#\ ##0.0">
                  <c:v>215.610592533166</c:v>
                </c:pt>
                <c:pt idx="444" formatCode="#\ ##0.0">
                  <c:v>236.36525073234699</c:v>
                </c:pt>
                <c:pt idx="445" formatCode="#\ ##0.0">
                  <c:v>251.43630352334</c:v>
                </c:pt>
                <c:pt idx="446" formatCode="#\ ##0.0">
                  <c:v>256.70369286721598</c:v>
                </c:pt>
                <c:pt idx="447" formatCode="#\ ##0.0">
                  <c:v>264.166835492921</c:v>
                </c:pt>
                <c:pt idx="448" formatCode="#\ ##0.0">
                  <c:v>272.23157823637501</c:v>
                </c:pt>
                <c:pt idx="449" formatCode="#\ ##0.0">
                  <c:v>287.891066884873</c:v>
                </c:pt>
                <c:pt idx="450" formatCode="#\ ##0.0">
                  <c:v>309.566967369162</c:v>
                </c:pt>
                <c:pt idx="451" formatCode="#\ ##0.0">
                  <c:v>306.87138819757803</c:v>
                </c:pt>
                <c:pt idx="452" formatCode="#\ ##0.0">
                  <c:v>303.63270955887401</c:v>
                </c:pt>
                <c:pt idx="453" formatCode="#\ ##0.0">
                  <c:v>305.619076003864</c:v>
                </c:pt>
                <c:pt idx="454" formatCode="#\ ##0.0">
                  <c:v>315.13963584412397</c:v>
                </c:pt>
                <c:pt idx="455" formatCode="#\ ##0.0">
                  <c:v>314.85064690933598</c:v>
                </c:pt>
                <c:pt idx="456" formatCode="#\ ##0.0">
                  <c:v>328.45649303249201</c:v>
                </c:pt>
                <c:pt idx="457" formatCode="#\ ##0.0">
                  <c:v>323.18013218074401</c:v>
                </c:pt>
                <c:pt idx="458" formatCode="#\ ##0.0">
                  <c:v>319.730902323468</c:v>
                </c:pt>
                <c:pt idx="459" formatCode="#\ ##0.0">
                  <c:v>315.91487030190802</c:v>
                </c:pt>
                <c:pt idx="460" formatCode="#\ ##0.0">
                  <c:v>309.59126183054201</c:v>
                </c:pt>
                <c:pt idx="461" formatCode="#\ ##0.0">
                  <c:v>299.89618499858102</c:v>
                </c:pt>
                <c:pt idx="462" formatCode="#\ ##0.0">
                  <c:v>290.45876021874801</c:v>
                </c:pt>
                <c:pt idx="463" formatCode="#\ ##0.0">
                  <c:v>275.57232018821202</c:v>
                </c:pt>
                <c:pt idx="464" formatCode="#\ ##0.0">
                  <c:v>264.49831324541299</c:v>
                </c:pt>
                <c:pt idx="465" formatCode="#\ ##0.0">
                  <c:v>248.94743121468301</c:v>
                </c:pt>
                <c:pt idx="466" formatCode="#\ ##0.0">
                  <c:v>240.534168848479</c:v>
                </c:pt>
                <c:pt idx="467" formatCode="#\ ##0.0">
                  <c:v>236.47457529554799</c:v>
                </c:pt>
                <c:pt idx="468" formatCode="#\ ##0.0">
                  <c:v>224.27934606062701</c:v>
                </c:pt>
                <c:pt idx="469" formatCode="#\ ##0.0">
                  <c:v>216.68535480770601</c:v>
                </c:pt>
                <c:pt idx="470" formatCode="#\ ##0.0">
                  <c:v>204.32138160137299</c:v>
                </c:pt>
                <c:pt idx="471" formatCode="#\ ##0.0">
                  <c:v>191.53674087979701</c:v>
                </c:pt>
                <c:pt idx="472" formatCode="#\ ##0.0">
                  <c:v>181.00457444849101</c:v>
                </c:pt>
                <c:pt idx="473" formatCode="#\ ##0.0">
                  <c:v>174.28287616950601</c:v>
                </c:pt>
                <c:pt idx="474" formatCode="#\ ##0.0">
                  <c:v>171.748400994175</c:v>
                </c:pt>
                <c:pt idx="475" formatCode="#\ ##0.0">
                  <c:v>165.30038882616</c:v>
                </c:pt>
                <c:pt idx="476" formatCode="#\ ##0.0">
                  <c:v>151.8961338965</c:v>
                </c:pt>
                <c:pt idx="477" formatCode="#\ ##0.0">
                  <c:v>143.565656357043</c:v>
                </c:pt>
                <c:pt idx="478" formatCode="#\ ##0.0">
                  <c:v>134.493789182081</c:v>
                </c:pt>
                <c:pt idx="479" formatCode="#\ ##0.0">
                  <c:v>113.129748201583</c:v>
                </c:pt>
                <c:pt idx="480" formatCode="#\ ##0.0">
                  <c:v>103.13244284110699</c:v>
                </c:pt>
                <c:pt idx="481" formatCode="#\ ##0.0">
                  <c:v>102.278991992511</c:v>
                </c:pt>
                <c:pt idx="482" formatCode="#\ ##0.0">
                  <c:v>97.797987083693997</c:v>
                </c:pt>
                <c:pt idx="483" formatCode="#\ ##0.0">
                  <c:v>93.593951701037</c:v>
                </c:pt>
                <c:pt idx="484" formatCode="#\ ##0.0">
                  <c:v>91.414326132010999</c:v>
                </c:pt>
                <c:pt idx="485" formatCode="#\ ##0.0">
                  <c:v>92.497505015513994</c:v>
                </c:pt>
                <c:pt idx="486" formatCode="#\ ##0.0">
                  <c:v>103.24029280507099</c:v>
                </c:pt>
                <c:pt idx="487" formatCode="#\ ##0.0">
                  <c:v>104.145880415769</c:v>
                </c:pt>
                <c:pt idx="488" formatCode="#\ ##0.0">
                  <c:v>104.06469036411301</c:v>
                </c:pt>
                <c:pt idx="489" formatCode="#\ ##0.0">
                  <c:v>115.57824809904101</c:v>
                </c:pt>
                <c:pt idx="490" formatCode="#\ ##0.0">
                  <c:v>126.171445042249</c:v>
                </c:pt>
                <c:pt idx="491" formatCode="#\ ##0.0">
                  <c:v>136.425310905039</c:v>
                </c:pt>
                <c:pt idx="492" formatCode="#\ ##0.0">
                  <c:v>139.69545127410001</c:v>
                </c:pt>
                <c:pt idx="493" formatCode="#\ ##0.0">
                  <c:v>147.720158462211</c:v>
                </c:pt>
                <c:pt idx="494" formatCode="#\ ##0.0">
                  <c:v>156.074076599341</c:v>
                </c:pt>
                <c:pt idx="495" formatCode="#\ ##0.0">
                  <c:v>157.005084544065</c:v>
                </c:pt>
                <c:pt idx="496" formatCode="#\ ##0.0">
                  <c:v>152.25264186359701</c:v>
                </c:pt>
                <c:pt idx="497" formatCode="#\ ##0.0">
                  <c:v>154.64572207150999</c:v>
                </c:pt>
                <c:pt idx="498" formatCode="#\ ##0.0">
                  <c:v>165.75710080339701</c:v>
                </c:pt>
                <c:pt idx="499" formatCode="#\ ##0.0">
                  <c:v>184.32386238939301</c:v>
                </c:pt>
                <c:pt idx="500" formatCode="#\ ##0.0">
                  <c:v>204.850090406921</c:v>
                </c:pt>
                <c:pt idx="501" formatCode="#\ ##0.0">
                  <c:v>222.80721061160801</c:v>
                </c:pt>
                <c:pt idx="502" formatCode="#\ ##0.0">
                  <c:v>234.22291726628299</c:v>
                </c:pt>
                <c:pt idx="503" formatCode="#\ ##0.0">
                  <c:v>211.02298557826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OCK_s_posil_pocet_sympt_pripadu_7dni_100_000_nyni</c:v>
          </c:tx>
          <c:spPr>
            <a:ln>
              <a:solidFill>
                <a:srgbClr val="70AD47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>
                  <c:v>23.647650014779</c:v>
                </c:pt>
                <c:pt idx="427">
                  <c:v>24.314729863351001</c:v>
                </c:pt>
                <c:pt idx="428">
                  <c:v>20.860223465143001</c:v>
                </c:pt>
                <c:pt idx="429">
                  <c:v>22.270770144440998</c:v>
                </c:pt>
                <c:pt idx="430">
                  <c:v>23.862973503260999</c:v>
                </c:pt>
                <c:pt idx="431">
                  <c:v>23.113667882274001</c:v>
                </c:pt>
                <c:pt idx="432">
                  <c:v>21.791422560827002</c:v>
                </c:pt>
                <c:pt idx="433">
                  <c:v>18.679771244647</c:v>
                </c:pt>
                <c:pt idx="434">
                  <c:v>21.025942302339999</c:v>
                </c:pt>
                <c:pt idx="435">
                  <c:v>19.670178945465</c:v>
                </c:pt>
                <c:pt idx="436">
                  <c:v>20.275644791497999</c:v>
                </c:pt>
                <c:pt idx="437">
                  <c:v>19.391485718879999</c:v>
                </c:pt>
                <c:pt idx="438">
                  <c:v>20.438213885907999</c:v>
                </c:pt>
                <c:pt idx="439">
                  <c:v>20.092700413269998</c:v>
                </c:pt>
                <c:pt idx="440">
                  <c:v>21.583121998597001</c:v>
                </c:pt>
                <c:pt idx="441">
                  <c:v>22.895061797899999</c:v>
                </c:pt>
                <c:pt idx="442">
                  <c:v>20.558656205342999</c:v>
                </c:pt>
                <c:pt idx="443">
                  <c:v>19.519217279387</c:v>
                </c:pt>
                <c:pt idx="444">
                  <c:v>24.245126590215001</c:v>
                </c:pt>
                <c:pt idx="445">
                  <c:v>26.801879413420998</c:v>
                </c:pt>
                <c:pt idx="446">
                  <c:v>29.164675097418002</c:v>
                </c:pt>
                <c:pt idx="447">
                  <c:v>30.841570392091999</c:v>
                </c:pt>
                <c:pt idx="448">
                  <c:v>31.384430962509999</c:v>
                </c:pt>
                <c:pt idx="449">
                  <c:v>32.484608483122997</c:v>
                </c:pt>
                <c:pt idx="450">
                  <c:v>33.528185542063</c:v>
                </c:pt>
                <c:pt idx="451">
                  <c:v>33.286456548371</c:v>
                </c:pt>
                <c:pt idx="452">
                  <c:v>34.472214810586998</c:v>
                </c:pt>
                <c:pt idx="453">
                  <c:v>36.549848965968003</c:v>
                </c:pt>
                <c:pt idx="454">
                  <c:v>37.060165325397001</c:v>
                </c:pt>
                <c:pt idx="455">
                  <c:v>38.641717174390003</c:v>
                </c:pt>
                <c:pt idx="456">
                  <c:v>41.487819736298</c:v>
                </c:pt>
                <c:pt idx="457">
                  <c:v>43.050378994094999</c:v>
                </c:pt>
                <c:pt idx="458">
                  <c:v>42.091193301395002</c:v>
                </c:pt>
                <c:pt idx="459">
                  <c:v>42.832348773146997</c:v>
                </c:pt>
                <c:pt idx="460">
                  <c:v>41.995499350258001</c:v>
                </c:pt>
                <c:pt idx="461">
                  <c:v>41.308215898154998</c:v>
                </c:pt>
                <c:pt idx="462">
                  <c:v>40.304851238457999</c:v>
                </c:pt>
                <c:pt idx="463">
                  <c:v>39.080566415173003</c:v>
                </c:pt>
                <c:pt idx="464">
                  <c:v>37.457558169975997</c:v>
                </c:pt>
                <c:pt idx="465">
                  <c:v>35.913136383983002</c:v>
                </c:pt>
                <c:pt idx="466">
                  <c:v>34.408372788690002</c:v>
                </c:pt>
                <c:pt idx="467">
                  <c:v>33.853511200603997</c:v>
                </c:pt>
                <c:pt idx="468">
                  <c:v>32.266499696525997</c:v>
                </c:pt>
                <c:pt idx="469">
                  <c:v>28.928155344194</c:v>
                </c:pt>
                <c:pt idx="470">
                  <c:v>26.971330318724998</c:v>
                </c:pt>
                <c:pt idx="471">
                  <c:v>24.844963515073001</c:v>
                </c:pt>
                <c:pt idx="472">
                  <c:v>22.763549547597002</c:v>
                </c:pt>
                <c:pt idx="473">
                  <c:v>23.204826603933</c:v>
                </c:pt>
                <c:pt idx="474">
                  <c:v>22.818155908327999</c:v>
                </c:pt>
                <c:pt idx="475">
                  <c:v>21.806233443987999</c:v>
                </c:pt>
                <c:pt idx="476">
                  <c:v>21.570804614288999</c:v>
                </c:pt>
                <c:pt idx="477">
                  <c:v>20.646204308417001</c:v>
                </c:pt>
                <c:pt idx="478">
                  <c:v>19.355896384649</c:v>
                </c:pt>
                <c:pt idx="479">
                  <c:v>16.031471414249999</c:v>
                </c:pt>
                <c:pt idx="480">
                  <c:v>13.961448387677001</c:v>
                </c:pt>
                <c:pt idx="481">
                  <c:v>13.564183423420999</c:v>
                </c:pt>
                <c:pt idx="482">
                  <c:v>13.672786311516999</c:v>
                </c:pt>
                <c:pt idx="483">
                  <c:v>13.201018062512</c:v>
                </c:pt>
                <c:pt idx="484">
                  <c:v>13.440890450555999</c:v>
                </c:pt>
                <c:pt idx="485">
                  <c:v>13.707338606881001</c:v>
                </c:pt>
                <c:pt idx="486">
                  <c:v>15.515887698184001</c:v>
                </c:pt>
                <c:pt idx="487">
                  <c:v>15.363492552034</c:v>
                </c:pt>
                <c:pt idx="488">
                  <c:v>16.389333436167998</c:v>
                </c:pt>
                <c:pt idx="489">
                  <c:v>20.039046671823002</c:v>
                </c:pt>
                <c:pt idx="490">
                  <c:v>24.033803116603998</c:v>
                </c:pt>
                <c:pt idx="491">
                  <c:v>27.367648296132</c:v>
                </c:pt>
                <c:pt idx="492">
                  <c:v>30.995805295215</c:v>
                </c:pt>
                <c:pt idx="493">
                  <c:v>35.234521798621003</c:v>
                </c:pt>
                <c:pt idx="494">
                  <c:v>37.744391512029999</c:v>
                </c:pt>
                <c:pt idx="495">
                  <c:v>37.818652944288999</c:v>
                </c:pt>
                <c:pt idx="496">
                  <c:v>36.894640150111996</c:v>
                </c:pt>
                <c:pt idx="497">
                  <c:v>38.870832744546</c:v>
                </c:pt>
                <c:pt idx="498">
                  <c:v>41.417057462347998</c:v>
                </c:pt>
                <c:pt idx="499">
                  <c:v>44.956029336828998</c:v>
                </c:pt>
                <c:pt idx="500">
                  <c:v>51.055181934933003</c:v>
                </c:pt>
                <c:pt idx="501">
                  <c:v>57.654280197311003</c:v>
                </c:pt>
                <c:pt idx="502">
                  <c:v>61.264593688589997</c:v>
                </c:pt>
                <c:pt idx="503">
                  <c:v>54.241845286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6950688330131722"/>
        </c:manualLayout>
      </c:layout>
      <c:lineChart>
        <c:grouping val="standard"/>
        <c:varyColors val="0"/>
        <c:ser>
          <c:idx val="3"/>
          <c:order val="0"/>
          <c:tx>
            <c:v>NEOCK_POZ_indik_testu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1.5022802468E-2</c:v>
                </c:pt>
                <c:pt idx="1">
                  <c:v>2.5889164597999999E-2</c:v>
                </c:pt>
                <c:pt idx="2">
                  <c:v>3.7424978019000001E-2</c:v>
                </c:pt>
                <c:pt idx="3">
                  <c:v>4.9611454885000003E-2</c:v>
                </c:pt>
                <c:pt idx="4">
                  <c:v>5.6178999342999997E-2</c:v>
                </c:pt>
                <c:pt idx="5">
                  <c:v>6.0824638506999998E-2</c:v>
                </c:pt>
                <c:pt idx="6">
                  <c:v>6.5567460061999996E-2</c:v>
                </c:pt>
                <c:pt idx="7">
                  <c:v>7.2201330632999994E-2</c:v>
                </c:pt>
                <c:pt idx="8">
                  <c:v>7.5971068845000003E-2</c:v>
                </c:pt>
                <c:pt idx="9">
                  <c:v>8.1471844468999993E-2</c:v>
                </c:pt>
                <c:pt idx="10">
                  <c:v>8.1204181668000003E-2</c:v>
                </c:pt>
                <c:pt idx="11">
                  <c:v>9.0824452279999995E-2</c:v>
                </c:pt>
                <c:pt idx="12">
                  <c:v>9.3122302158000006E-2</c:v>
                </c:pt>
                <c:pt idx="13">
                  <c:v>9.1892857142000003E-2</c:v>
                </c:pt>
                <c:pt idx="14">
                  <c:v>9.2083326315999997E-2</c:v>
                </c:pt>
                <c:pt idx="15">
                  <c:v>9.7263013184999997E-2</c:v>
                </c:pt>
                <c:pt idx="16">
                  <c:v>0.10959713079900001</c:v>
                </c:pt>
                <c:pt idx="17">
                  <c:v>0.116234484109</c:v>
                </c:pt>
                <c:pt idx="18">
                  <c:v>0.116295675816</c:v>
                </c:pt>
                <c:pt idx="19">
                  <c:v>0.114272797383</c:v>
                </c:pt>
                <c:pt idx="20">
                  <c:v>0.116024940541</c:v>
                </c:pt>
                <c:pt idx="21">
                  <c:v>0.121289196434</c:v>
                </c:pt>
                <c:pt idx="22">
                  <c:v>0.12199343913000001</c:v>
                </c:pt>
                <c:pt idx="23">
                  <c:v>0.11929929451100001</c:v>
                </c:pt>
                <c:pt idx="24">
                  <c:v>0.12441157467199999</c:v>
                </c:pt>
                <c:pt idx="25">
                  <c:v>0.12620905192000001</c:v>
                </c:pt>
                <c:pt idx="26">
                  <c:v>0.128987877079</c:v>
                </c:pt>
                <c:pt idx="27">
                  <c:v>0.13354784916500001</c:v>
                </c:pt>
                <c:pt idx="28">
                  <c:v>0.135131237381</c:v>
                </c:pt>
                <c:pt idx="29">
                  <c:v>0.142042858173</c:v>
                </c:pt>
                <c:pt idx="30">
                  <c:v>0.15018301958499999</c:v>
                </c:pt>
                <c:pt idx="31">
                  <c:v>0.15899735024100001</c:v>
                </c:pt>
                <c:pt idx="32">
                  <c:v>0.16599080193400001</c:v>
                </c:pt>
                <c:pt idx="33">
                  <c:v>0.17394656322999999</c:v>
                </c:pt>
                <c:pt idx="34">
                  <c:v>0.184498707268</c:v>
                </c:pt>
                <c:pt idx="35">
                  <c:v>0.197603419325</c:v>
                </c:pt>
                <c:pt idx="36">
                  <c:v>0.21360126916899999</c:v>
                </c:pt>
                <c:pt idx="37">
                  <c:v>0.226835369461</c:v>
                </c:pt>
                <c:pt idx="38">
                  <c:v>0.25859546816000001</c:v>
                </c:pt>
                <c:pt idx="39">
                  <c:v>0.26993359507499998</c:v>
                </c:pt>
                <c:pt idx="40">
                  <c:v>0.27335705454300002</c:v>
                </c:pt>
                <c:pt idx="41">
                  <c:v>0.27455574178800002</c:v>
                </c:pt>
                <c:pt idx="42">
                  <c:v>0.28687796338799998</c:v>
                </c:pt>
                <c:pt idx="43">
                  <c:v>0.297439264609</c:v>
                </c:pt>
                <c:pt idx="44">
                  <c:v>0.30682399243800001</c:v>
                </c:pt>
                <c:pt idx="45">
                  <c:v>0.30353349926599998</c:v>
                </c:pt>
                <c:pt idx="46">
                  <c:v>0.30776584339899998</c:v>
                </c:pt>
                <c:pt idx="47">
                  <c:v>0.30986259421000001</c:v>
                </c:pt>
                <c:pt idx="48">
                  <c:v>0.31625061890099998</c:v>
                </c:pt>
                <c:pt idx="49">
                  <c:v>0.32074645068800001</c:v>
                </c:pt>
                <c:pt idx="50">
                  <c:v>0.330599974199</c:v>
                </c:pt>
                <c:pt idx="51">
                  <c:v>0.33566075033999998</c:v>
                </c:pt>
                <c:pt idx="52">
                  <c:v>0.34231819612300002</c:v>
                </c:pt>
                <c:pt idx="53">
                  <c:v>0.34426506675899998</c:v>
                </c:pt>
                <c:pt idx="54">
                  <c:v>0.347320209376</c:v>
                </c:pt>
                <c:pt idx="55">
                  <c:v>0.34860594623500002</c:v>
                </c:pt>
                <c:pt idx="56">
                  <c:v>0.35198753201999999</c:v>
                </c:pt>
                <c:pt idx="57">
                  <c:v>0.34937505083600001</c:v>
                </c:pt>
                <c:pt idx="58">
                  <c:v>0.34678965949200002</c:v>
                </c:pt>
                <c:pt idx="59">
                  <c:v>0.33811054940899998</c:v>
                </c:pt>
                <c:pt idx="60">
                  <c:v>0.33744867244900001</c:v>
                </c:pt>
                <c:pt idx="61">
                  <c:v>0.335770598167</c:v>
                </c:pt>
                <c:pt idx="62">
                  <c:v>0.33564429099600002</c:v>
                </c:pt>
                <c:pt idx="63">
                  <c:v>0.32873132927999998</c:v>
                </c:pt>
                <c:pt idx="64">
                  <c:v>0.33275445902099998</c:v>
                </c:pt>
                <c:pt idx="65">
                  <c:v>0.33405857971000003</c:v>
                </c:pt>
                <c:pt idx="66">
                  <c:v>0.33486701776200001</c:v>
                </c:pt>
                <c:pt idx="67">
                  <c:v>0.33298112836600002</c:v>
                </c:pt>
                <c:pt idx="68">
                  <c:v>0.329257500594</c:v>
                </c:pt>
                <c:pt idx="69">
                  <c:v>0.31769593475199998</c:v>
                </c:pt>
                <c:pt idx="70">
                  <c:v>0.31142966141099998</c:v>
                </c:pt>
                <c:pt idx="71">
                  <c:v>0.29516942647200001</c:v>
                </c:pt>
                <c:pt idx="72">
                  <c:v>0.28418543816300001</c:v>
                </c:pt>
                <c:pt idx="73">
                  <c:v>0.27401845540699998</c:v>
                </c:pt>
                <c:pt idx="74">
                  <c:v>0.26833413499999997</c:v>
                </c:pt>
                <c:pt idx="75">
                  <c:v>0.26620955050900003</c:v>
                </c:pt>
                <c:pt idx="76">
                  <c:v>0.26401006262299997</c:v>
                </c:pt>
                <c:pt idx="77">
                  <c:v>0.26397108651399998</c:v>
                </c:pt>
                <c:pt idx="78">
                  <c:v>0.25492894635699997</c:v>
                </c:pt>
                <c:pt idx="79">
                  <c:v>0.25185343833399998</c:v>
                </c:pt>
                <c:pt idx="80">
                  <c:v>0.25025484636400003</c:v>
                </c:pt>
                <c:pt idx="81">
                  <c:v>0.245281381524</c:v>
                </c:pt>
                <c:pt idx="82">
                  <c:v>0.24445671416799999</c:v>
                </c:pt>
                <c:pt idx="83">
                  <c:v>0.23921450897900001</c:v>
                </c:pt>
                <c:pt idx="84">
                  <c:v>0.237663173915</c:v>
                </c:pt>
                <c:pt idx="85">
                  <c:v>0.23750904524700001</c:v>
                </c:pt>
                <c:pt idx="86">
                  <c:v>0.229851307438</c:v>
                </c:pt>
                <c:pt idx="87">
                  <c:v>0.224018093556</c:v>
                </c:pt>
                <c:pt idx="88">
                  <c:v>0.223496587302</c:v>
                </c:pt>
                <c:pt idx="89">
                  <c:v>0.22200817775699999</c:v>
                </c:pt>
                <c:pt idx="90">
                  <c:v>0.21655200053400001</c:v>
                </c:pt>
                <c:pt idx="91">
                  <c:v>0.21424358168499999</c:v>
                </c:pt>
                <c:pt idx="92">
                  <c:v>0.211368441283</c:v>
                </c:pt>
                <c:pt idx="93">
                  <c:v>0.214542488309</c:v>
                </c:pt>
                <c:pt idx="94">
                  <c:v>0.217546119171</c:v>
                </c:pt>
                <c:pt idx="95">
                  <c:v>0.22205699657399999</c:v>
                </c:pt>
                <c:pt idx="96">
                  <c:v>0.220832319754</c:v>
                </c:pt>
                <c:pt idx="97">
                  <c:v>0.22373462020099999</c:v>
                </c:pt>
                <c:pt idx="98">
                  <c:v>0.223378273199</c:v>
                </c:pt>
                <c:pt idx="99">
                  <c:v>0.231902810101</c:v>
                </c:pt>
                <c:pt idx="100">
                  <c:v>0.23313554158999999</c:v>
                </c:pt>
                <c:pt idx="101">
                  <c:v>0.23258834523899999</c:v>
                </c:pt>
                <c:pt idx="102">
                  <c:v>0.23070596086</c:v>
                </c:pt>
                <c:pt idx="103">
                  <c:v>0.234097842917</c:v>
                </c:pt>
                <c:pt idx="104">
                  <c:v>0.23504215801</c:v>
                </c:pt>
                <c:pt idx="105">
                  <c:v>0.23844501470500001</c:v>
                </c:pt>
                <c:pt idx="106">
                  <c:v>0.23740789826</c:v>
                </c:pt>
                <c:pt idx="107">
                  <c:v>0.23663172035899999</c:v>
                </c:pt>
                <c:pt idx="108">
                  <c:v>0.23985160560400001</c:v>
                </c:pt>
                <c:pt idx="109">
                  <c:v>0.23731436963300001</c:v>
                </c:pt>
                <c:pt idx="110">
                  <c:v>0.23778233104900001</c:v>
                </c:pt>
                <c:pt idx="111">
                  <c:v>0.23881821676699999</c:v>
                </c:pt>
                <c:pt idx="112">
                  <c:v>0.23737538458099999</c:v>
                </c:pt>
                <c:pt idx="113">
                  <c:v>0.24374037760299999</c:v>
                </c:pt>
                <c:pt idx="114">
                  <c:v>0.24885000250299999</c:v>
                </c:pt>
                <c:pt idx="115">
                  <c:v>0.250762122054</c:v>
                </c:pt>
                <c:pt idx="116">
                  <c:v>0.25401828353099998</c:v>
                </c:pt>
                <c:pt idx="117">
                  <c:v>0.25395024659299997</c:v>
                </c:pt>
                <c:pt idx="118">
                  <c:v>0.27128733054699999</c:v>
                </c:pt>
                <c:pt idx="119">
                  <c:v>0.305531978461</c:v>
                </c:pt>
                <c:pt idx="120">
                  <c:v>0.33360636059299997</c:v>
                </c:pt>
                <c:pt idx="121">
                  <c:v>0.34569684485500002</c:v>
                </c:pt>
                <c:pt idx="122">
                  <c:v>0.35132392519700001</c:v>
                </c:pt>
                <c:pt idx="123">
                  <c:v>0.34984582753499999</c:v>
                </c:pt>
                <c:pt idx="124">
                  <c:v>0.353387250752</c:v>
                </c:pt>
                <c:pt idx="125">
                  <c:v>0.34676018089100002</c:v>
                </c:pt>
                <c:pt idx="126">
                  <c:v>0.33619575150999997</c:v>
                </c:pt>
                <c:pt idx="127">
                  <c:v>0.33825480354600002</c:v>
                </c:pt>
                <c:pt idx="128">
                  <c:v>0.32838708662499999</c:v>
                </c:pt>
                <c:pt idx="129">
                  <c:v>0.31915276664999997</c:v>
                </c:pt>
                <c:pt idx="130">
                  <c:v>0.32484402257700001</c:v>
                </c:pt>
                <c:pt idx="131">
                  <c:v>0.32277249612999998</c:v>
                </c:pt>
                <c:pt idx="132">
                  <c:v>0.313108244072</c:v>
                </c:pt>
                <c:pt idx="133">
                  <c:v>0.299094597382</c:v>
                </c:pt>
                <c:pt idx="134">
                  <c:v>0.28024824380199997</c:v>
                </c:pt>
                <c:pt idx="135">
                  <c:v>0.26214895559200002</c:v>
                </c:pt>
                <c:pt idx="136">
                  <c:v>0.25520883292800001</c:v>
                </c:pt>
                <c:pt idx="137">
                  <c:v>0.24628248959900001</c:v>
                </c:pt>
                <c:pt idx="138">
                  <c:v>0.244450611885</c:v>
                </c:pt>
                <c:pt idx="139">
                  <c:v>0.244991172802</c:v>
                </c:pt>
                <c:pt idx="140">
                  <c:v>0.24838567449999999</c:v>
                </c:pt>
                <c:pt idx="141">
                  <c:v>0.24265880399600001</c:v>
                </c:pt>
                <c:pt idx="142">
                  <c:v>0.24788348230599999</c:v>
                </c:pt>
                <c:pt idx="143">
                  <c:v>0.24445778049700001</c:v>
                </c:pt>
                <c:pt idx="144">
                  <c:v>0.24295200724400001</c:v>
                </c:pt>
                <c:pt idx="145">
                  <c:v>0.24176628150900001</c:v>
                </c:pt>
                <c:pt idx="146">
                  <c:v>0.23860615902999999</c:v>
                </c:pt>
                <c:pt idx="147">
                  <c:v>0.23676327942399999</c:v>
                </c:pt>
                <c:pt idx="148">
                  <c:v>0.23394509218500001</c:v>
                </c:pt>
                <c:pt idx="149">
                  <c:v>0.23479218768599999</c:v>
                </c:pt>
                <c:pt idx="150">
                  <c:v>0.23313163942099999</c:v>
                </c:pt>
                <c:pt idx="151">
                  <c:v>0.231438696966</c:v>
                </c:pt>
                <c:pt idx="152">
                  <c:v>0.23181578776</c:v>
                </c:pt>
                <c:pt idx="153">
                  <c:v>0.23223225578699999</c:v>
                </c:pt>
                <c:pt idx="154">
                  <c:v>0.22937293729300001</c:v>
                </c:pt>
                <c:pt idx="155">
                  <c:v>0.23380955707600001</c:v>
                </c:pt>
                <c:pt idx="156">
                  <c:v>0.230214710701</c:v>
                </c:pt>
                <c:pt idx="157">
                  <c:v>0.23078862184500001</c:v>
                </c:pt>
                <c:pt idx="158">
                  <c:v>0.23335462967100001</c:v>
                </c:pt>
                <c:pt idx="159">
                  <c:v>0.23189560486399999</c:v>
                </c:pt>
                <c:pt idx="160">
                  <c:v>0.234820901256</c:v>
                </c:pt>
                <c:pt idx="161">
                  <c:v>0.238791815967</c:v>
                </c:pt>
                <c:pt idx="162">
                  <c:v>0.23838794315299999</c:v>
                </c:pt>
                <c:pt idx="163">
                  <c:v>0.241392221938</c:v>
                </c:pt>
                <c:pt idx="164">
                  <c:v>0.24202150221400001</c:v>
                </c:pt>
                <c:pt idx="165">
                  <c:v>0.240712573875</c:v>
                </c:pt>
                <c:pt idx="166">
                  <c:v>0.24161751182999999</c:v>
                </c:pt>
                <c:pt idx="167">
                  <c:v>0.24208778094899999</c:v>
                </c:pt>
                <c:pt idx="168">
                  <c:v>0.24744911731300001</c:v>
                </c:pt>
                <c:pt idx="169">
                  <c:v>0.24810331938899999</c:v>
                </c:pt>
                <c:pt idx="170">
                  <c:v>0.25138789743099998</c:v>
                </c:pt>
                <c:pt idx="171">
                  <c:v>0.25238765855700002</c:v>
                </c:pt>
                <c:pt idx="172">
                  <c:v>0.25586822237399998</c:v>
                </c:pt>
                <c:pt idx="173">
                  <c:v>0.258122383894</c:v>
                </c:pt>
                <c:pt idx="174">
                  <c:v>0.26001772130400003</c:v>
                </c:pt>
                <c:pt idx="175">
                  <c:v>0.26307648081399998</c:v>
                </c:pt>
                <c:pt idx="176">
                  <c:v>0.26562335243000001</c:v>
                </c:pt>
                <c:pt idx="177">
                  <c:v>0.26820525746899998</c:v>
                </c:pt>
                <c:pt idx="178">
                  <c:v>0.27198221569699998</c:v>
                </c:pt>
                <c:pt idx="179">
                  <c:v>0.27027436837800001</c:v>
                </c:pt>
                <c:pt idx="180">
                  <c:v>0.26912031715200002</c:v>
                </c:pt>
                <c:pt idx="181">
                  <c:v>0.26878270332699999</c:v>
                </c:pt>
                <c:pt idx="182">
                  <c:v>0.266539703568</c:v>
                </c:pt>
                <c:pt idx="183">
                  <c:v>0.26723574978499998</c:v>
                </c:pt>
                <c:pt idx="184">
                  <c:v>0.26412098736799999</c:v>
                </c:pt>
                <c:pt idx="185">
                  <c:v>0.25633202262400001</c:v>
                </c:pt>
                <c:pt idx="186">
                  <c:v>0.26109343715599997</c:v>
                </c:pt>
                <c:pt idx="187">
                  <c:v>0.25958698675000003</c:v>
                </c:pt>
                <c:pt idx="188">
                  <c:v>0.25081351029600002</c:v>
                </c:pt>
                <c:pt idx="189">
                  <c:v>0.242103274279</c:v>
                </c:pt>
                <c:pt idx="190">
                  <c:v>0.23342995587000001</c:v>
                </c:pt>
                <c:pt idx="191">
                  <c:v>0.21976148099199999</c:v>
                </c:pt>
                <c:pt idx="192">
                  <c:v>0.22282604859899999</c:v>
                </c:pt>
                <c:pt idx="193">
                  <c:v>0.217846976163</c:v>
                </c:pt>
                <c:pt idx="194">
                  <c:v>0.21686991797399999</c:v>
                </c:pt>
                <c:pt idx="195">
                  <c:v>0.212206654685</c:v>
                </c:pt>
                <c:pt idx="196">
                  <c:v>0.20829301234299999</c:v>
                </c:pt>
                <c:pt idx="197">
                  <c:v>0.203734049413</c:v>
                </c:pt>
                <c:pt idx="198">
                  <c:v>0.204659644014</c:v>
                </c:pt>
                <c:pt idx="199">
                  <c:v>0.19481817313399999</c:v>
                </c:pt>
                <c:pt idx="200">
                  <c:v>0.192397444891</c:v>
                </c:pt>
                <c:pt idx="201">
                  <c:v>0.19078010248400001</c:v>
                </c:pt>
                <c:pt idx="202">
                  <c:v>0.18452480700599999</c:v>
                </c:pt>
                <c:pt idx="203">
                  <c:v>0.17746624507299999</c:v>
                </c:pt>
                <c:pt idx="204">
                  <c:v>0.170576709007</c:v>
                </c:pt>
                <c:pt idx="205">
                  <c:v>0.163045608802</c:v>
                </c:pt>
                <c:pt idx="206">
                  <c:v>0.15994719955100001</c:v>
                </c:pt>
                <c:pt idx="207">
                  <c:v>0.157847145933</c:v>
                </c:pt>
                <c:pt idx="208">
                  <c:v>0.15661076885700001</c:v>
                </c:pt>
                <c:pt idx="209">
                  <c:v>0.15390085655800001</c:v>
                </c:pt>
                <c:pt idx="210">
                  <c:v>0.14795928740700001</c:v>
                </c:pt>
                <c:pt idx="211">
                  <c:v>0.14313794399800001</c:v>
                </c:pt>
                <c:pt idx="212">
                  <c:v>0.13724098779400001</c:v>
                </c:pt>
                <c:pt idx="213">
                  <c:v>0.13623856489399999</c:v>
                </c:pt>
                <c:pt idx="214">
                  <c:v>0.13287215475200001</c:v>
                </c:pt>
                <c:pt idx="215">
                  <c:v>0.13422975390299999</c:v>
                </c:pt>
                <c:pt idx="216">
                  <c:v>0.13780209707300001</c:v>
                </c:pt>
                <c:pt idx="217">
                  <c:v>0.114101250572</c:v>
                </c:pt>
                <c:pt idx="218">
                  <c:v>0.11102370489799999</c:v>
                </c:pt>
                <c:pt idx="219">
                  <c:v>0.11038236114900001</c:v>
                </c:pt>
                <c:pt idx="220">
                  <c:v>0.106190869321</c:v>
                </c:pt>
                <c:pt idx="221">
                  <c:v>0.10512443444199999</c:v>
                </c:pt>
                <c:pt idx="222">
                  <c:v>0.10212791902899999</c:v>
                </c:pt>
                <c:pt idx="223">
                  <c:v>9.5299330749999994E-2</c:v>
                </c:pt>
                <c:pt idx="224">
                  <c:v>0.100695169615</c:v>
                </c:pt>
                <c:pt idx="225">
                  <c:v>9.2243474256999997E-2</c:v>
                </c:pt>
                <c:pt idx="226">
                  <c:v>8.6242299793999999E-2</c:v>
                </c:pt>
                <c:pt idx="227">
                  <c:v>8.2033656940000005E-2</c:v>
                </c:pt>
                <c:pt idx="228">
                  <c:v>8.0105282015000001E-2</c:v>
                </c:pt>
                <c:pt idx="229">
                  <c:v>7.9516469399999998E-2</c:v>
                </c:pt>
                <c:pt idx="230">
                  <c:v>7.7937870803000006E-2</c:v>
                </c:pt>
                <c:pt idx="231">
                  <c:v>7.3359954894999996E-2</c:v>
                </c:pt>
                <c:pt idx="232">
                  <c:v>7.1106514021999995E-2</c:v>
                </c:pt>
                <c:pt idx="233">
                  <c:v>6.8669931291999997E-2</c:v>
                </c:pt>
                <c:pt idx="234">
                  <c:v>6.6249718065999996E-2</c:v>
                </c:pt>
                <c:pt idx="235">
                  <c:v>6.5427327522000006E-2</c:v>
                </c:pt>
                <c:pt idx="236">
                  <c:v>6.5768168621000003E-2</c:v>
                </c:pt>
                <c:pt idx="237">
                  <c:v>6.2972744408999998E-2</c:v>
                </c:pt>
                <c:pt idx="238">
                  <c:v>6.1352118578999998E-2</c:v>
                </c:pt>
                <c:pt idx="239">
                  <c:v>5.9538505365000001E-2</c:v>
                </c:pt>
                <c:pt idx="240">
                  <c:v>5.7693942914999997E-2</c:v>
                </c:pt>
                <c:pt idx="241">
                  <c:v>5.5792518046000002E-2</c:v>
                </c:pt>
                <c:pt idx="242">
                  <c:v>5.6056986942000002E-2</c:v>
                </c:pt>
                <c:pt idx="243">
                  <c:v>5.4593151261999998E-2</c:v>
                </c:pt>
                <c:pt idx="244">
                  <c:v>5.1698847754E-2</c:v>
                </c:pt>
                <c:pt idx="245">
                  <c:v>4.8768659959000003E-2</c:v>
                </c:pt>
                <c:pt idx="246">
                  <c:v>4.6511627905999997E-2</c:v>
                </c:pt>
                <c:pt idx="247">
                  <c:v>4.4453674858000003E-2</c:v>
                </c:pt>
                <c:pt idx="248">
                  <c:v>4.2791297849000001E-2</c:v>
                </c:pt>
                <c:pt idx="249">
                  <c:v>4.0803846902E-2</c:v>
                </c:pt>
                <c:pt idx="250">
                  <c:v>4.0406010288999997E-2</c:v>
                </c:pt>
                <c:pt idx="251">
                  <c:v>3.8161832649999998E-2</c:v>
                </c:pt>
                <c:pt idx="252">
                  <c:v>3.5399506724000003E-2</c:v>
                </c:pt>
                <c:pt idx="253">
                  <c:v>3.3042189303E-2</c:v>
                </c:pt>
                <c:pt idx="254">
                  <c:v>3.1592269185000001E-2</c:v>
                </c:pt>
                <c:pt idx="255">
                  <c:v>2.9277477053E-2</c:v>
                </c:pt>
                <c:pt idx="256">
                  <c:v>2.8616687740000001E-2</c:v>
                </c:pt>
                <c:pt idx="257">
                  <c:v>2.8084026505000002E-2</c:v>
                </c:pt>
                <c:pt idx="258">
                  <c:v>2.5134067873000002E-2</c:v>
                </c:pt>
                <c:pt idx="259">
                  <c:v>2.2943261159999999E-2</c:v>
                </c:pt>
                <c:pt idx="260">
                  <c:v>2.1054405309000001E-2</c:v>
                </c:pt>
                <c:pt idx="261">
                  <c:v>1.9094371488999999E-2</c:v>
                </c:pt>
                <c:pt idx="262">
                  <c:v>1.7205208733999999E-2</c:v>
                </c:pt>
                <c:pt idx="263">
                  <c:v>1.6375175019000002E-2</c:v>
                </c:pt>
                <c:pt idx="264">
                  <c:v>1.6263798143E-2</c:v>
                </c:pt>
                <c:pt idx="265">
                  <c:v>1.5374280392999999E-2</c:v>
                </c:pt>
                <c:pt idx="266">
                  <c:v>1.3838351382E-2</c:v>
                </c:pt>
                <c:pt idx="267">
                  <c:v>1.3420884337E-2</c:v>
                </c:pt>
                <c:pt idx="268">
                  <c:v>1.3063285075E-2</c:v>
                </c:pt>
                <c:pt idx="269">
                  <c:v>1.2508238394999999E-2</c:v>
                </c:pt>
                <c:pt idx="270">
                  <c:v>1.2266581114999999E-2</c:v>
                </c:pt>
                <c:pt idx="271">
                  <c:v>1.2031287034000001E-2</c:v>
                </c:pt>
                <c:pt idx="272">
                  <c:v>1.1607064146999999E-2</c:v>
                </c:pt>
                <c:pt idx="273">
                  <c:v>1.1258806192999999E-2</c:v>
                </c:pt>
                <c:pt idx="274">
                  <c:v>1.0530171228999999E-2</c:v>
                </c:pt>
                <c:pt idx="275">
                  <c:v>9.7685348729999993E-3</c:v>
                </c:pt>
                <c:pt idx="276">
                  <c:v>9.1878952960000003E-3</c:v>
                </c:pt>
                <c:pt idx="277">
                  <c:v>8.8215781390000008E-3</c:v>
                </c:pt>
                <c:pt idx="278">
                  <c:v>8.7612710100000001E-3</c:v>
                </c:pt>
                <c:pt idx="279">
                  <c:v>7.9649195339999996E-3</c:v>
                </c:pt>
                <c:pt idx="280">
                  <c:v>7.449078564E-3</c:v>
                </c:pt>
                <c:pt idx="281">
                  <c:v>7.1151578370000001E-3</c:v>
                </c:pt>
                <c:pt idx="282">
                  <c:v>6.6763049939999996E-3</c:v>
                </c:pt>
                <c:pt idx="283">
                  <c:v>6.1654495389999999E-3</c:v>
                </c:pt>
                <c:pt idx="284">
                  <c:v>5.8664557369999997E-3</c:v>
                </c:pt>
                <c:pt idx="285">
                  <c:v>5.6354800679999997E-3</c:v>
                </c:pt>
                <c:pt idx="286">
                  <c:v>5.3739923760000004E-3</c:v>
                </c:pt>
                <c:pt idx="287">
                  <c:v>4.6277252149999996E-3</c:v>
                </c:pt>
                <c:pt idx="288">
                  <c:v>4.1084634339999997E-3</c:v>
                </c:pt>
                <c:pt idx="289">
                  <c:v>3.7118360509999998E-3</c:v>
                </c:pt>
                <c:pt idx="290">
                  <c:v>3.4112419810000002E-3</c:v>
                </c:pt>
                <c:pt idx="291">
                  <c:v>3.2753030310000001E-3</c:v>
                </c:pt>
                <c:pt idx="292">
                  <c:v>3.3397135500000002E-3</c:v>
                </c:pt>
                <c:pt idx="293">
                  <c:v>3.0755265309999999E-3</c:v>
                </c:pt>
                <c:pt idx="294">
                  <c:v>2.7253654150000001E-3</c:v>
                </c:pt>
                <c:pt idx="295">
                  <c:v>2.7335046509999999E-3</c:v>
                </c:pt>
                <c:pt idx="296">
                  <c:v>2.6932360039999999E-3</c:v>
                </c:pt>
                <c:pt idx="297">
                  <c:v>2.8245568489999998E-3</c:v>
                </c:pt>
                <c:pt idx="298">
                  <c:v>2.8091807059999999E-3</c:v>
                </c:pt>
                <c:pt idx="299">
                  <c:v>2.7743902430000002E-3</c:v>
                </c:pt>
                <c:pt idx="300">
                  <c:v>2.8446715300000001E-3</c:v>
                </c:pt>
                <c:pt idx="301">
                  <c:v>3.042723276E-3</c:v>
                </c:pt>
                <c:pt idx="302">
                  <c:v>3.014428963E-3</c:v>
                </c:pt>
                <c:pt idx="303">
                  <c:v>3.2781754880000001E-3</c:v>
                </c:pt>
                <c:pt idx="304">
                  <c:v>3.259879391E-3</c:v>
                </c:pt>
                <c:pt idx="305">
                  <c:v>3.4199626639999999E-3</c:v>
                </c:pt>
                <c:pt idx="306">
                  <c:v>3.537575074E-3</c:v>
                </c:pt>
                <c:pt idx="307">
                  <c:v>4.1626208459999998E-3</c:v>
                </c:pt>
                <c:pt idx="308">
                  <c:v>4.4655944019999999E-3</c:v>
                </c:pt>
                <c:pt idx="309">
                  <c:v>5.3092448949999997E-3</c:v>
                </c:pt>
                <c:pt idx="310">
                  <c:v>5.9940398239999998E-3</c:v>
                </c:pt>
                <c:pt idx="311">
                  <c:v>6.8346209300000002E-3</c:v>
                </c:pt>
                <c:pt idx="312">
                  <c:v>7.0190753690000003E-3</c:v>
                </c:pt>
                <c:pt idx="313">
                  <c:v>6.9170297720000003E-3</c:v>
                </c:pt>
                <c:pt idx="314">
                  <c:v>6.5058822349999997E-3</c:v>
                </c:pt>
                <c:pt idx="315">
                  <c:v>6.9949892100000001E-3</c:v>
                </c:pt>
                <c:pt idx="316">
                  <c:v>7.1110628590000001E-3</c:v>
                </c:pt>
                <c:pt idx="317">
                  <c:v>6.9940528550000002E-3</c:v>
                </c:pt>
                <c:pt idx="318">
                  <c:v>6.3323416910000003E-3</c:v>
                </c:pt>
                <c:pt idx="319">
                  <c:v>6.3725121719999996E-3</c:v>
                </c:pt>
                <c:pt idx="320">
                  <c:v>6.3289025440000004E-3</c:v>
                </c:pt>
                <c:pt idx="321">
                  <c:v>6.4170672060000003E-3</c:v>
                </c:pt>
                <c:pt idx="322">
                  <c:v>6.3482311980000003E-3</c:v>
                </c:pt>
                <c:pt idx="323">
                  <c:v>6.3618802309999998E-3</c:v>
                </c:pt>
                <c:pt idx="324">
                  <c:v>6.1322370669999998E-3</c:v>
                </c:pt>
                <c:pt idx="325">
                  <c:v>6.0787685809999999E-3</c:v>
                </c:pt>
                <c:pt idx="326">
                  <c:v>5.7184787829999998E-3</c:v>
                </c:pt>
                <c:pt idx="327">
                  <c:v>5.4956615409999998E-3</c:v>
                </c:pt>
                <c:pt idx="328">
                  <c:v>5.3417465839999999E-3</c:v>
                </c:pt>
                <c:pt idx="329">
                  <c:v>5.0795633870000002E-3</c:v>
                </c:pt>
                <c:pt idx="330">
                  <c:v>4.7188168899999997E-3</c:v>
                </c:pt>
                <c:pt idx="331">
                  <c:v>4.7987978759999996E-3</c:v>
                </c:pt>
                <c:pt idx="332">
                  <c:v>4.6360014479999998E-3</c:v>
                </c:pt>
                <c:pt idx="333">
                  <c:v>4.6033822740000003E-3</c:v>
                </c:pt>
                <c:pt idx="334">
                  <c:v>4.6838029239999997E-3</c:v>
                </c:pt>
                <c:pt idx="335">
                  <c:v>4.360627039E-3</c:v>
                </c:pt>
                <c:pt idx="336">
                  <c:v>4.367442121E-3</c:v>
                </c:pt>
                <c:pt idx="337">
                  <c:v>4.6779826190000004E-3</c:v>
                </c:pt>
                <c:pt idx="338">
                  <c:v>4.4527732400000001E-3</c:v>
                </c:pt>
                <c:pt idx="339">
                  <c:v>4.6111153029999999E-3</c:v>
                </c:pt>
                <c:pt idx="340">
                  <c:v>4.8146894560000004E-3</c:v>
                </c:pt>
                <c:pt idx="341">
                  <c:v>4.9664259470000001E-3</c:v>
                </c:pt>
                <c:pt idx="342">
                  <c:v>5.2872570190000004E-3</c:v>
                </c:pt>
                <c:pt idx="343">
                  <c:v>5.3166536349999998E-3</c:v>
                </c:pt>
                <c:pt idx="344">
                  <c:v>5.3068598319999999E-3</c:v>
                </c:pt>
                <c:pt idx="345">
                  <c:v>5.5424211719999998E-3</c:v>
                </c:pt>
                <c:pt idx="346">
                  <c:v>5.5729680990000002E-3</c:v>
                </c:pt>
                <c:pt idx="347">
                  <c:v>5.4181071279999996E-3</c:v>
                </c:pt>
                <c:pt idx="348">
                  <c:v>5.1625222850000003E-3</c:v>
                </c:pt>
                <c:pt idx="349">
                  <c:v>5.2787466790000003E-3</c:v>
                </c:pt>
                <c:pt idx="350">
                  <c:v>5.5691423170000001E-3</c:v>
                </c:pt>
                <c:pt idx="351">
                  <c:v>5.4226558039999996E-3</c:v>
                </c:pt>
                <c:pt idx="352">
                  <c:v>5.3166247780000002E-3</c:v>
                </c:pt>
                <c:pt idx="353">
                  <c:v>5.3023698889999998E-3</c:v>
                </c:pt>
                <c:pt idx="354">
                  <c:v>5.3650549910000001E-3</c:v>
                </c:pt>
                <c:pt idx="355">
                  <c:v>5.3920885040000003E-3</c:v>
                </c:pt>
                <c:pt idx="356">
                  <c:v>5.4067849469999997E-3</c:v>
                </c:pt>
                <c:pt idx="357">
                  <c:v>5.0819282829999996E-3</c:v>
                </c:pt>
                <c:pt idx="358">
                  <c:v>5.2458953499999999E-3</c:v>
                </c:pt>
                <c:pt idx="359">
                  <c:v>5.5445660319999998E-3</c:v>
                </c:pt>
                <c:pt idx="360">
                  <c:v>5.8133520899999996E-3</c:v>
                </c:pt>
                <c:pt idx="361">
                  <c:v>6.1734422629999997E-3</c:v>
                </c:pt>
                <c:pt idx="362">
                  <c:v>6.5225323840000004E-3</c:v>
                </c:pt>
                <c:pt idx="363">
                  <c:v>7.0194448039999999E-3</c:v>
                </c:pt>
                <c:pt idx="364">
                  <c:v>7.0272475850000002E-3</c:v>
                </c:pt>
                <c:pt idx="365">
                  <c:v>6.8375886600000003E-3</c:v>
                </c:pt>
                <c:pt idx="366">
                  <c:v>7.1322011730000001E-3</c:v>
                </c:pt>
                <c:pt idx="367">
                  <c:v>8.0932755339999992E-3</c:v>
                </c:pt>
                <c:pt idx="368">
                  <c:v>8.6013584509999994E-3</c:v>
                </c:pt>
                <c:pt idx="369">
                  <c:v>9.0162226189999996E-3</c:v>
                </c:pt>
                <c:pt idx="370">
                  <c:v>9.4123287949999992E-3</c:v>
                </c:pt>
                <c:pt idx="371">
                  <c:v>1.1123387001000001E-2</c:v>
                </c:pt>
                <c:pt idx="372">
                  <c:v>1.2480676548000001E-2</c:v>
                </c:pt>
                <c:pt idx="373">
                  <c:v>1.3661331007E-2</c:v>
                </c:pt>
                <c:pt idx="374">
                  <c:v>1.4235484828E-2</c:v>
                </c:pt>
                <c:pt idx="375">
                  <c:v>1.4377682403000001E-2</c:v>
                </c:pt>
                <c:pt idx="376">
                  <c:v>1.4271117547999999E-2</c:v>
                </c:pt>
                <c:pt idx="377">
                  <c:v>1.5880994267000001E-2</c:v>
                </c:pt>
                <c:pt idx="378">
                  <c:v>1.6700025018000001E-2</c:v>
                </c:pt>
                <c:pt idx="379">
                  <c:v>1.7860042214000001E-2</c:v>
                </c:pt>
                <c:pt idx="380">
                  <c:v>1.8641047686000001E-2</c:v>
                </c:pt>
                <c:pt idx="381">
                  <c:v>1.7689577206999998E-2</c:v>
                </c:pt>
                <c:pt idx="382">
                  <c:v>1.7569495974999998E-2</c:v>
                </c:pt>
                <c:pt idx="383">
                  <c:v>1.7558547346E-2</c:v>
                </c:pt>
                <c:pt idx="384">
                  <c:v>1.790885628E-2</c:v>
                </c:pt>
                <c:pt idx="385">
                  <c:v>1.7737161114000002E-2</c:v>
                </c:pt>
                <c:pt idx="386">
                  <c:v>1.7553464101000001E-2</c:v>
                </c:pt>
                <c:pt idx="387">
                  <c:v>1.7151541467E-2</c:v>
                </c:pt>
                <c:pt idx="388">
                  <c:v>1.7170214430999999E-2</c:v>
                </c:pt>
                <c:pt idx="389">
                  <c:v>1.7653086227000001E-2</c:v>
                </c:pt>
                <c:pt idx="390">
                  <c:v>1.7936016281E-2</c:v>
                </c:pt>
                <c:pt idx="391">
                  <c:v>1.8291928028999999E-2</c:v>
                </c:pt>
                <c:pt idx="392">
                  <c:v>1.8276705861000001E-2</c:v>
                </c:pt>
                <c:pt idx="393">
                  <c:v>1.8797153176999998E-2</c:v>
                </c:pt>
                <c:pt idx="394">
                  <c:v>2.1196900421999999E-2</c:v>
                </c:pt>
                <c:pt idx="395">
                  <c:v>2.3618068371000001E-2</c:v>
                </c:pt>
                <c:pt idx="396">
                  <c:v>2.4814626138999998E-2</c:v>
                </c:pt>
                <c:pt idx="397">
                  <c:v>2.5370265685999999E-2</c:v>
                </c:pt>
                <c:pt idx="398">
                  <c:v>2.6128781646999999E-2</c:v>
                </c:pt>
                <c:pt idx="399">
                  <c:v>2.8678521617000002E-2</c:v>
                </c:pt>
                <c:pt idx="400">
                  <c:v>3.0688852789999999E-2</c:v>
                </c:pt>
                <c:pt idx="401">
                  <c:v>3.0776171299E-2</c:v>
                </c:pt>
                <c:pt idx="402">
                  <c:v>3.0787792607E-2</c:v>
                </c:pt>
                <c:pt idx="403">
                  <c:v>3.1083050024000001E-2</c:v>
                </c:pt>
                <c:pt idx="404">
                  <c:v>3.1076208197000001E-2</c:v>
                </c:pt>
                <c:pt idx="405">
                  <c:v>3.3666208832999998E-2</c:v>
                </c:pt>
                <c:pt idx="406">
                  <c:v>3.5164547531999997E-2</c:v>
                </c:pt>
                <c:pt idx="407">
                  <c:v>3.6525599630000002E-2</c:v>
                </c:pt>
                <c:pt idx="408">
                  <c:v>3.8848586308999997E-2</c:v>
                </c:pt>
                <c:pt idx="409">
                  <c:v>4.1259452132000003E-2</c:v>
                </c:pt>
                <c:pt idx="410">
                  <c:v>4.1884049222000001E-2</c:v>
                </c:pt>
                <c:pt idx="411">
                  <c:v>4.2819365337000002E-2</c:v>
                </c:pt>
                <c:pt idx="412">
                  <c:v>4.6274960022000003E-2</c:v>
                </c:pt>
                <c:pt idx="413">
                  <c:v>5.1402385159000002E-2</c:v>
                </c:pt>
                <c:pt idx="414">
                  <c:v>5.7190509495E-2</c:v>
                </c:pt>
                <c:pt idx="415">
                  <c:v>6.1679157353000003E-2</c:v>
                </c:pt>
                <c:pt idx="416">
                  <c:v>6.6605933869999995E-2</c:v>
                </c:pt>
                <c:pt idx="417">
                  <c:v>6.8758211569E-2</c:v>
                </c:pt>
                <c:pt idx="418">
                  <c:v>6.9692268747000005E-2</c:v>
                </c:pt>
                <c:pt idx="419">
                  <c:v>7.1356653549999996E-2</c:v>
                </c:pt>
                <c:pt idx="420">
                  <c:v>7.2508214675999993E-2</c:v>
                </c:pt>
                <c:pt idx="421">
                  <c:v>7.1174753371999994E-2</c:v>
                </c:pt>
                <c:pt idx="422">
                  <c:v>7.3283095009999993E-2</c:v>
                </c:pt>
                <c:pt idx="423">
                  <c:v>7.6309771417000002E-2</c:v>
                </c:pt>
                <c:pt idx="424">
                  <c:v>8.0857678133000002E-2</c:v>
                </c:pt>
                <c:pt idx="425">
                  <c:v>8.0441226884000003E-2</c:v>
                </c:pt>
                <c:pt idx="426">
                  <c:v>8.4912212535000003E-2</c:v>
                </c:pt>
                <c:pt idx="427">
                  <c:v>9.6369174027000001E-2</c:v>
                </c:pt>
                <c:pt idx="428">
                  <c:v>0.11592338479100001</c:v>
                </c:pt>
                <c:pt idx="429">
                  <c:v>0.12654172921199999</c:v>
                </c:pt>
                <c:pt idx="430">
                  <c:v>0.13848678996300001</c:v>
                </c:pt>
                <c:pt idx="431">
                  <c:v>0.13912423391600001</c:v>
                </c:pt>
                <c:pt idx="432">
                  <c:v>0.14271346675999999</c:v>
                </c:pt>
                <c:pt idx="433">
                  <c:v>0.14949942482799999</c:v>
                </c:pt>
                <c:pt idx="434">
                  <c:v>0.15785420697399999</c:v>
                </c:pt>
                <c:pt idx="435">
                  <c:v>0.16011859627700001</c:v>
                </c:pt>
                <c:pt idx="436">
                  <c:v>0.15637727897600001</c:v>
                </c:pt>
                <c:pt idx="437">
                  <c:v>0.15695014376499999</c:v>
                </c:pt>
                <c:pt idx="438">
                  <c:v>0.160494023524</c:v>
                </c:pt>
                <c:pt idx="439">
                  <c:v>0.162960676922</c:v>
                </c:pt>
                <c:pt idx="440">
                  <c:v>0.161803072578</c:v>
                </c:pt>
                <c:pt idx="441">
                  <c:v>0.16643330798299999</c:v>
                </c:pt>
                <c:pt idx="442">
                  <c:v>0.16789478224599999</c:v>
                </c:pt>
                <c:pt idx="443">
                  <c:v>0.17216598104</c:v>
                </c:pt>
                <c:pt idx="444">
                  <c:v>0.18391420540699999</c:v>
                </c:pt>
                <c:pt idx="445">
                  <c:v>0.18906297734899999</c:v>
                </c:pt>
                <c:pt idx="446">
                  <c:v>0.19076172839</c:v>
                </c:pt>
                <c:pt idx="447">
                  <c:v>0.19452305094299999</c:v>
                </c:pt>
                <c:pt idx="448">
                  <c:v>0.20185415783300001</c:v>
                </c:pt>
                <c:pt idx="449">
                  <c:v>0.197224593014</c:v>
                </c:pt>
                <c:pt idx="450">
                  <c:v>0.207424186531</c:v>
                </c:pt>
                <c:pt idx="451">
                  <c:v>0.208426242155</c:v>
                </c:pt>
                <c:pt idx="452">
                  <c:v>0.20753138342499999</c:v>
                </c:pt>
                <c:pt idx="453">
                  <c:v>0.20759087385</c:v>
                </c:pt>
                <c:pt idx="454">
                  <c:v>0.21141107797700001</c:v>
                </c:pt>
                <c:pt idx="455">
                  <c:v>0.20549458527</c:v>
                </c:pt>
                <c:pt idx="456">
                  <c:v>0.213547503424</c:v>
                </c:pt>
                <c:pt idx="457">
                  <c:v>0.20682639340299999</c:v>
                </c:pt>
                <c:pt idx="458">
                  <c:v>0.20359355881399999</c:v>
                </c:pt>
                <c:pt idx="459">
                  <c:v>0.20257081489600001</c:v>
                </c:pt>
                <c:pt idx="460">
                  <c:v>0.20196818240100001</c:v>
                </c:pt>
                <c:pt idx="461">
                  <c:v>0.199051147382</c:v>
                </c:pt>
                <c:pt idx="462">
                  <c:v>0.19797933377800001</c:v>
                </c:pt>
                <c:pt idx="463">
                  <c:v>0.19403230182600001</c:v>
                </c:pt>
                <c:pt idx="464">
                  <c:v>0.190108537951</c:v>
                </c:pt>
                <c:pt idx="465">
                  <c:v>0.18490600171800001</c:v>
                </c:pt>
                <c:pt idx="466">
                  <c:v>0.183639054272</c:v>
                </c:pt>
                <c:pt idx="467">
                  <c:v>0.18307036048100001</c:v>
                </c:pt>
                <c:pt idx="468">
                  <c:v>0.17845303435400001</c:v>
                </c:pt>
                <c:pt idx="469">
                  <c:v>0.17521134821600001</c:v>
                </c:pt>
                <c:pt idx="470">
                  <c:v>0.17018505320499999</c:v>
                </c:pt>
                <c:pt idx="471">
                  <c:v>0.164114684165</c:v>
                </c:pt>
                <c:pt idx="472">
                  <c:v>0.161117906487</c:v>
                </c:pt>
                <c:pt idx="473">
                  <c:v>0.15861350565099999</c:v>
                </c:pt>
                <c:pt idx="474">
                  <c:v>0.15825872537399999</c:v>
                </c:pt>
                <c:pt idx="475">
                  <c:v>0.15571845354899999</c:v>
                </c:pt>
                <c:pt idx="476">
                  <c:v>0.152087383583</c:v>
                </c:pt>
                <c:pt idx="477">
                  <c:v>0.14684612293999999</c:v>
                </c:pt>
                <c:pt idx="478">
                  <c:v>0.146447715921</c:v>
                </c:pt>
                <c:pt idx="479">
                  <c:v>0.14857849499199999</c:v>
                </c:pt>
                <c:pt idx="480">
                  <c:v>0.14926057470500001</c:v>
                </c:pt>
                <c:pt idx="481">
                  <c:v>0.14893374387</c:v>
                </c:pt>
                <c:pt idx="482">
                  <c:v>0.153443026343</c:v>
                </c:pt>
                <c:pt idx="483">
                  <c:v>0.15043400997799999</c:v>
                </c:pt>
                <c:pt idx="484">
                  <c:v>0.155981034351</c:v>
                </c:pt>
                <c:pt idx="485">
                  <c:v>0.16785245485700001</c:v>
                </c:pt>
                <c:pt idx="486">
                  <c:v>0.17074361958600001</c:v>
                </c:pt>
                <c:pt idx="487">
                  <c:v>0.172603113616</c:v>
                </c:pt>
                <c:pt idx="488">
                  <c:v>0.17193552813499999</c:v>
                </c:pt>
                <c:pt idx="489">
                  <c:v>0.16457783641099999</c:v>
                </c:pt>
                <c:pt idx="490">
                  <c:v>0.161131009987</c:v>
                </c:pt>
                <c:pt idx="491">
                  <c:v>0.16048902971199999</c:v>
                </c:pt>
                <c:pt idx="492">
                  <c:v>0.151735132519</c:v>
                </c:pt>
                <c:pt idx="493">
                  <c:v>0.13983350516699999</c:v>
                </c:pt>
                <c:pt idx="494">
                  <c:v>0.135926361143</c:v>
                </c:pt>
                <c:pt idx="495">
                  <c:v>0.135834361505</c:v>
                </c:pt>
                <c:pt idx="496">
                  <c:v>0.12757039749400001</c:v>
                </c:pt>
                <c:pt idx="497">
                  <c:v>0.12519184232800001</c:v>
                </c:pt>
                <c:pt idx="498">
                  <c:v>0.12716863405199999</c:v>
                </c:pt>
                <c:pt idx="499">
                  <c:v>0.132412786083</c:v>
                </c:pt>
                <c:pt idx="500">
                  <c:v>0.142464495592</c:v>
                </c:pt>
                <c:pt idx="501">
                  <c:v>0.14777714456900001</c:v>
                </c:pt>
                <c:pt idx="502">
                  <c:v>0.156087763395</c:v>
                </c:pt>
                <c:pt idx="503">
                  <c:v>0.170481919123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OCK_POZ_indik_testu_nyni</c:v>
          </c:tx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#\ ##0.0">
                  <c:v>3.8506079907000001E-2</c:v>
                </c:pt>
                <c:pt idx="182" formatCode="#\ ##0.0">
                  <c:v>4.0779220779000001E-2</c:v>
                </c:pt>
                <c:pt idx="183" formatCode="#\ ##0.0">
                  <c:v>4.1986687146999997E-2</c:v>
                </c:pt>
                <c:pt idx="184" formatCode="#\ ##0.0">
                  <c:v>4.2325344212000002E-2</c:v>
                </c:pt>
                <c:pt idx="185" formatCode="#\ ##0.0">
                  <c:v>4.2195185088999998E-2</c:v>
                </c:pt>
                <c:pt idx="186" formatCode="#\ ##0.0">
                  <c:v>4.1602067182999997E-2</c:v>
                </c:pt>
                <c:pt idx="187" formatCode="#\ ##0.0">
                  <c:v>3.9035892060999999E-2</c:v>
                </c:pt>
                <c:pt idx="188" formatCode="#\ ##0.0">
                  <c:v>3.6811373444999997E-2</c:v>
                </c:pt>
                <c:pt idx="189" formatCode="#\ ##0.0">
                  <c:v>3.4893617021000002E-2</c:v>
                </c:pt>
                <c:pt idx="190" formatCode="#\ ##0.0">
                  <c:v>3.4172661870000003E-2</c:v>
                </c:pt>
                <c:pt idx="191" formatCode="#\ ##0.0">
                  <c:v>3.5331230282999997E-2</c:v>
                </c:pt>
                <c:pt idx="192" formatCode="#\ ##0.0">
                  <c:v>3.7520938023000001E-2</c:v>
                </c:pt>
                <c:pt idx="193" formatCode="#\ ##0.0">
                  <c:v>3.9514731369000002E-2</c:v>
                </c:pt>
                <c:pt idx="194" formatCode="#\ ##0.0">
                  <c:v>4.2016806721999998E-2</c:v>
                </c:pt>
                <c:pt idx="195" formatCode="#\ ##0.0">
                  <c:v>5.5531453362000001E-2</c:v>
                </c:pt>
                <c:pt idx="196" formatCode="#\ ##0.0">
                  <c:v>5.923650724E-2</c:v>
                </c:pt>
                <c:pt idx="197" formatCode="#\ ##0.0">
                  <c:v>5.8222222221999999E-2</c:v>
                </c:pt>
                <c:pt idx="198" formatCode="#\ ##0.0">
                  <c:v>5.8562555455999997E-2</c:v>
                </c:pt>
                <c:pt idx="199" formatCode="#\ ##0.0">
                  <c:v>5.4199420769000001E-2</c:v>
                </c:pt>
                <c:pt idx="200" formatCode="#\ ##0.0">
                  <c:v>5.4020100501999999E-2</c:v>
                </c:pt>
                <c:pt idx="201" formatCode="#\ ##0.0">
                  <c:v>5.3138075313000001E-2</c:v>
                </c:pt>
                <c:pt idx="202" formatCode="#\ ##0.0">
                  <c:v>5.3508771928999999E-2</c:v>
                </c:pt>
                <c:pt idx="203" formatCode="#\ ##0.0">
                  <c:v>5.1880674448E-2</c:v>
                </c:pt>
                <c:pt idx="204" formatCode="#\ ##0.0">
                  <c:v>5.6030795550999997E-2</c:v>
                </c:pt>
                <c:pt idx="205" formatCode="#\ ##0.0">
                  <c:v>5.4741379309999998E-2</c:v>
                </c:pt>
                <c:pt idx="206" formatCode="#\ ##0.0">
                  <c:v>5.4520672420999998E-2</c:v>
                </c:pt>
                <c:pt idx="207" formatCode="#\ ##0.0">
                  <c:v>5.4471175668999998E-2</c:v>
                </c:pt>
                <c:pt idx="208" formatCode="#\ ##0.0">
                  <c:v>5.3636363636000002E-2</c:v>
                </c:pt>
                <c:pt idx="209" formatCode="#\ ##0.0">
                  <c:v>5.0854888206000003E-2</c:v>
                </c:pt>
                <c:pt idx="210" formatCode="#\ ##0.0">
                  <c:v>4.6268005236999997E-2</c:v>
                </c:pt>
                <c:pt idx="211" formatCode="#\ ##0.0">
                  <c:v>4.5667947075999998E-2</c:v>
                </c:pt>
                <c:pt idx="212" formatCode="#\ ##0.0">
                  <c:v>4.0640394087999999E-2</c:v>
                </c:pt>
                <c:pt idx="213" formatCode="#\ ##0.0">
                  <c:v>3.9639639639000003E-2</c:v>
                </c:pt>
                <c:pt idx="214" formatCode="#\ ##0.0">
                  <c:v>4.1685342894999998E-2</c:v>
                </c:pt>
                <c:pt idx="215" formatCode="#\ ##0.0">
                  <c:v>4.1077738514999997E-2</c:v>
                </c:pt>
                <c:pt idx="216" formatCode="#\ ##0.0">
                  <c:v>3.9897698209E-2</c:v>
                </c:pt>
                <c:pt idx="217" formatCode="#\ ##0.0">
                  <c:v>3.6952554743999999E-2</c:v>
                </c:pt>
                <c:pt idx="218" formatCode="#\ ##0.0">
                  <c:v>3.5523978684999999E-2</c:v>
                </c:pt>
                <c:pt idx="219" formatCode="#\ ##0.0">
                  <c:v>4.3025362317999999E-2</c:v>
                </c:pt>
                <c:pt idx="220" formatCode="#\ ##0.0">
                  <c:v>3.9904229848000003E-2</c:v>
                </c:pt>
                <c:pt idx="221" formatCode="#\ ##0.0">
                  <c:v>3.7721021611000001E-2</c:v>
                </c:pt>
                <c:pt idx="222" formatCode="#\ ##0.0">
                  <c:v>3.8251366119999998E-2</c:v>
                </c:pt>
                <c:pt idx="223" formatCode="#\ ##0.0">
                  <c:v>3.5835023664000001E-2</c:v>
                </c:pt>
                <c:pt idx="224" formatCode="#\ ##0.0">
                  <c:v>3.5636363636E-2</c:v>
                </c:pt>
                <c:pt idx="225" formatCode="#\ ##0.0">
                  <c:v>3.4957627117999997E-2</c:v>
                </c:pt>
                <c:pt idx="226" formatCode="#\ ##0.0">
                  <c:v>2.9000000000000001E-2</c:v>
                </c:pt>
                <c:pt idx="227" formatCode="#\ ##0.0">
                  <c:v>2.9914529913999999E-2</c:v>
                </c:pt>
                <c:pt idx="228" formatCode="#\ ##0.0">
                  <c:v>3.0094864244999998E-2</c:v>
                </c:pt>
                <c:pt idx="229" formatCode="#\ ##0.0">
                  <c:v>2.9932410685000001E-2</c:v>
                </c:pt>
                <c:pt idx="230" formatCode="#\ ##0.0">
                  <c:v>3.1398667934999999E-2</c:v>
                </c:pt>
                <c:pt idx="231" formatCode="#\ ##0.0">
                  <c:v>3.3777502324000001E-2</c:v>
                </c:pt>
                <c:pt idx="232" formatCode="#\ ##0.0">
                  <c:v>3.2816773016999999E-2</c:v>
                </c:pt>
                <c:pt idx="233" formatCode="#\ ##0.0">
                  <c:v>3.4812076401000001E-2</c:v>
                </c:pt>
                <c:pt idx="234" formatCode="#\ ##0.0">
                  <c:v>3.4451219512000003E-2</c:v>
                </c:pt>
                <c:pt idx="235" formatCode="#\ ##0.0">
                  <c:v>3.1808542864999997E-2</c:v>
                </c:pt>
                <c:pt idx="236" formatCode="#\ ##0.0">
                  <c:v>3.1459987782000001E-2</c:v>
                </c:pt>
                <c:pt idx="237" formatCode="#\ ##0.0">
                  <c:v>3.0723781387999999E-2</c:v>
                </c:pt>
                <c:pt idx="238" formatCode="#\ ##0.0">
                  <c:v>2.8868360276999998E-2</c:v>
                </c:pt>
                <c:pt idx="239" formatCode="#\ ##0.0">
                  <c:v>2.5589419206E-2</c:v>
                </c:pt>
                <c:pt idx="240" formatCode="#\ ##0.0">
                  <c:v>2.5444596443000001E-2</c:v>
                </c:pt>
                <c:pt idx="241" formatCode="#\ ##0.0">
                  <c:v>2.4600889819000001E-2</c:v>
                </c:pt>
                <c:pt idx="242" formatCode="#\ ##0.0">
                  <c:v>2.5621118012E-2</c:v>
                </c:pt>
                <c:pt idx="243" formatCode="#\ ##0.0">
                  <c:v>2.5700334104000001E-2</c:v>
                </c:pt>
                <c:pt idx="244" formatCode="#\ ##0.0">
                  <c:v>2.3904382469999999E-2</c:v>
                </c:pt>
                <c:pt idx="245" formatCode="#\ ##0.0">
                  <c:v>2.4813895781E-2</c:v>
                </c:pt>
                <c:pt idx="246" formatCode="#\ ##0.0">
                  <c:v>2.6486756621000002E-2</c:v>
                </c:pt>
                <c:pt idx="247" formatCode="#\ ##0.0">
                  <c:v>2.6510323730999999E-2</c:v>
                </c:pt>
                <c:pt idx="248" formatCode="#\ ##0.0">
                  <c:v>2.6239067054999999E-2</c:v>
                </c:pt>
                <c:pt idx="249" formatCode="#\ ##0.0">
                  <c:v>2.4872960683999999E-2</c:v>
                </c:pt>
                <c:pt idx="250" formatCode="#\ ##0.0">
                  <c:v>2.3809523809000002E-2</c:v>
                </c:pt>
                <c:pt idx="251" formatCode="#\ ##0.0">
                  <c:v>2.2040816325999999E-2</c:v>
                </c:pt>
                <c:pt idx="252" formatCode="#\ ##0.0">
                  <c:v>2.0736698498999999E-2</c:v>
                </c:pt>
                <c:pt idx="253" formatCode="#\ ##0.0">
                  <c:v>1.8795968400000002E-2</c:v>
                </c:pt>
                <c:pt idx="254" formatCode="#\ ##0.0">
                  <c:v>1.6071915009000001E-2</c:v>
                </c:pt>
                <c:pt idx="255" formatCode="#\ ##0.0">
                  <c:v>1.4965259219E-2</c:v>
                </c:pt>
                <c:pt idx="256" formatCode="#\ ##0.0">
                  <c:v>1.6137566137000001E-2</c:v>
                </c:pt>
                <c:pt idx="257" formatCode="#\ ##0.0">
                  <c:v>1.51233749E-2</c:v>
                </c:pt>
                <c:pt idx="258" formatCode="#\ ##0.0">
                  <c:v>1.5919342E-2</c:v>
                </c:pt>
                <c:pt idx="259" formatCode="#\ ##0.0">
                  <c:v>1.3008130081E-2</c:v>
                </c:pt>
                <c:pt idx="260" formatCode="#\ ##0.0">
                  <c:v>1.3068336509E-2</c:v>
                </c:pt>
                <c:pt idx="261" formatCode="#\ ##0.0">
                  <c:v>1.396112784E-2</c:v>
                </c:pt>
                <c:pt idx="262" formatCode="#\ ##0.0">
                  <c:v>1.4896008993E-2</c:v>
                </c:pt>
                <c:pt idx="263" formatCode="#\ ##0.0">
                  <c:v>1.3513513513E-2</c:v>
                </c:pt>
                <c:pt idx="264" formatCode="#\ ##0.0">
                  <c:v>1.3683010262E-2</c:v>
                </c:pt>
                <c:pt idx="265" formatCode="#\ ##0.0">
                  <c:v>1.2778603268E-2</c:v>
                </c:pt>
                <c:pt idx="266" formatCode="#\ ##0.0">
                  <c:v>1.3730645632000001E-2</c:v>
                </c:pt>
                <c:pt idx="267" formatCode="#\ ##0.0">
                  <c:v>1.3253012048E-2</c:v>
                </c:pt>
                <c:pt idx="268" formatCode="#\ ##0.0">
                  <c:v>1.2262415695000001E-2</c:v>
                </c:pt>
                <c:pt idx="269" formatCode="#\ ##0.0">
                  <c:v>1.1981566819999999E-2</c:v>
                </c:pt>
                <c:pt idx="270" formatCode="#\ ##0.0">
                  <c:v>1.1635220125E-2</c:v>
                </c:pt>
                <c:pt idx="271" formatCode="#\ ##0.0">
                  <c:v>1.1573350015000001E-2</c:v>
                </c:pt>
                <c:pt idx="272" formatCode="#\ ##0.0">
                  <c:v>1.0872941907E-2</c:v>
                </c:pt>
                <c:pt idx="273" formatCode="#\ ##0.0">
                  <c:v>9.8350253799999992E-3</c:v>
                </c:pt>
                <c:pt idx="274" formatCode="#\ ##0.0">
                  <c:v>8.6733054929999994E-3</c:v>
                </c:pt>
                <c:pt idx="275" formatCode="#\ ##0.0">
                  <c:v>7.4869791659999997E-3</c:v>
                </c:pt>
                <c:pt idx="276" formatCode="#\ ##0.0">
                  <c:v>6.6006600660000001E-3</c:v>
                </c:pt>
                <c:pt idx="277" formatCode="#\ ##0.0">
                  <c:v>6.2872270009999998E-3</c:v>
                </c:pt>
                <c:pt idx="278" formatCode="#\ ##0.0">
                  <c:v>6.268558231E-3</c:v>
                </c:pt>
                <c:pt idx="279" formatCode="#\ ##0.0">
                  <c:v>6.3758389259999998E-3</c:v>
                </c:pt>
                <c:pt idx="280" formatCode="#\ ##0.0">
                  <c:v>6.8823124559999997E-3</c:v>
                </c:pt>
                <c:pt idx="281" formatCode="#\ ##0.0">
                  <c:v>6.187693365E-3</c:v>
                </c:pt>
                <c:pt idx="282" formatCode="#\ ##0.0">
                  <c:v>6.4691862439999999E-3</c:v>
                </c:pt>
                <c:pt idx="283" formatCode="#\ ##0.0">
                  <c:v>4.7797883230000001E-3</c:v>
                </c:pt>
                <c:pt idx="284" formatCode="#\ ##0.0">
                  <c:v>4.7058823520000001E-3</c:v>
                </c:pt>
                <c:pt idx="285" formatCode="#\ ##0.0">
                  <c:v>5.6951423779999996E-3</c:v>
                </c:pt>
                <c:pt idx="286" formatCode="#\ ##0.0">
                  <c:v>4.8371493060000003E-3</c:v>
                </c:pt>
                <c:pt idx="287" formatCode="#\ ##0.0">
                  <c:v>3.2875074710000001E-3</c:v>
                </c:pt>
                <c:pt idx="288" formatCode="#\ ##0.0">
                  <c:v>3.2286469029999998E-3</c:v>
                </c:pt>
                <c:pt idx="289" formatCode="#\ ##0.0">
                  <c:v>3.1810294959999999E-3</c:v>
                </c:pt>
                <c:pt idx="290" formatCode="#\ ##0.0">
                  <c:v>3.0674846620000001E-3</c:v>
                </c:pt>
                <c:pt idx="291" formatCode="#\ ##0.0">
                  <c:v>3.8791909110000001E-3</c:v>
                </c:pt>
                <c:pt idx="292" formatCode="#\ ##0.0">
                  <c:v>3.5891772500000001E-3</c:v>
                </c:pt>
                <c:pt idx="293" formatCode="#\ ##0.0">
                  <c:v>3.2599837E-3</c:v>
                </c:pt>
                <c:pt idx="294" formatCode="#\ ##0.0">
                  <c:v>3.30487469E-3</c:v>
                </c:pt>
                <c:pt idx="295" formatCode="#\ ##0.0">
                  <c:v>3.7796976239999999E-3</c:v>
                </c:pt>
                <c:pt idx="296" formatCode="#\ ##0.0">
                  <c:v>2.6378264309999998E-3</c:v>
                </c:pt>
                <c:pt idx="297" formatCode="#\ ##0.0">
                  <c:v>2.5634452699999999E-3</c:v>
                </c:pt>
                <c:pt idx="298" formatCode="#\ ##0.0">
                  <c:v>2.029941639E-3</c:v>
                </c:pt>
                <c:pt idx="299" formatCode="#\ ##0.0">
                  <c:v>1.7730496450000001E-3</c:v>
                </c:pt>
                <c:pt idx="300" formatCode="#\ ##0.0">
                  <c:v>2.4533856720000001E-3</c:v>
                </c:pt>
                <c:pt idx="301" formatCode="#\ ##0.0">
                  <c:v>2.517738612E-3</c:v>
                </c:pt>
                <c:pt idx="302" formatCode="#\ ##0.0">
                  <c:v>2.4293286209999998E-3</c:v>
                </c:pt>
                <c:pt idx="303" formatCode="#\ ##0.0">
                  <c:v>3.44530577E-3</c:v>
                </c:pt>
                <c:pt idx="304" formatCode="#\ ##0.0">
                  <c:v>4.8288893550000002E-3</c:v>
                </c:pt>
                <c:pt idx="305" formatCode="#\ ##0.0">
                  <c:v>5.1250512500000001E-3</c:v>
                </c:pt>
                <c:pt idx="306" formatCode="#\ ##0.0">
                  <c:v>5.0813008130000002E-3</c:v>
                </c:pt>
                <c:pt idx="307" formatCode="#\ ##0.0">
                  <c:v>5.0609615820000004E-3</c:v>
                </c:pt>
                <c:pt idx="308" formatCode="#\ ##0.0">
                  <c:v>6.0373216240000001E-3</c:v>
                </c:pt>
                <c:pt idx="309" formatCode="#\ ##0.0">
                  <c:v>6.184458187E-3</c:v>
                </c:pt>
                <c:pt idx="310" formatCode="#\ ##0.0">
                  <c:v>5.2260256070000002E-3</c:v>
                </c:pt>
                <c:pt idx="311" formatCode="#\ ##0.0">
                  <c:v>4.323499491E-3</c:v>
                </c:pt>
                <c:pt idx="312" formatCode="#\ ##0.0">
                  <c:v>4.531722054E-3</c:v>
                </c:pt>
                <c:pt idx="313" formatCode="#\ ##0.0">
                  <c:v>5.6275997060000003E-3</c:v>
                </c:pt>
                <c:pt idx="314" formatCode="#\ ##0.0">
                  <c:v>6.984387838E-3</c:v>
                </c:pt>
                <c:pt idx="315" formatCode="#\ ##0.0">
                  <c:v>7.3476702499999996E-3</c:v>
                </c:pt>
                <c:pt idx="316" formatCode="#\ ##0.0">
                  <c:v>7.6241134750000003E-3</c:v>
                </c:pt>
                <c:pt idx="317" formatCode="#\ ##0.0">
                  <c:v>7.7922077920000001E-3</c:v>
                </c:pt>
                <c:pt idx="318" formatCode="#\ ##0.0">
                  <c:v>8.6608927379999995E-3</c:v>
                </c:pt>
                <c:pt idx="319" formatCode="#\ ##0.0">
                  <c:v>8.7591240869999993E-3</c:v>
                </c:pt>
                <c:pt idx="320" formatCode="#\ ##0.0">
                  <c:v>8.1928470140000004E-3</c:v>
                </c:pt>
                <c:pt idx="321" formatCode="#\ ##0.0">
                  <c:v>7.9291044769999996E-3</c:v>
                </c:pt>
                <c:pt idx="322" formatCode="#\ ##0.0">
                  <c:v>8.6366440459999996E-3</c:v>
                </c:pt>
                <c:pt idx="323" formatCode="#\ ##0.0">
                  <c:v>8.8482074749999997E-3</c:v>
                </c:pt>
                <c:pt idx="324" formatCode="#\ ##0.0">
                  <c:v>9.0895763080000008E-3</c:v>
                </c:pt>
                <c:pt idx="325" formatCode="#\ ##0.0">
                  <c:v>8.4795321630000003E-3</c:v>
                </c:pt>
                <c:pt idx="326" formatCode="#\ ##0.0">
                  <c:v>7.9144071519999994E-3</c:v>
                </c:pt>
                <c:pt idx="327" formatCode="#\ ##0.0">
                  <c:v>7.6201641259999999E-3</c:v>
                </c:pt>
                <c:pt idx="328" formatCode="#\ ##0.0">
                  <c:v>7.7259475209999996E-3</c:v>
                </c:pt>
                <c:pt idx="329" formatCode="#\ ##0.0">
                  <c:v>7.757506105E-3</c:v>
                </c:pt>
                <c:pt idx="330" formatCode="#\ ##0.0">
                  <c:v>7.7231121280000002E-3</c:v>
                </c:pt>
                <c:pt idx="331" formatCode="#\ ##0.0">
                  <c:v>7.8390770589999992E-3</c:v>
                </c:pt>
                <c:pt idx="332" formatCode="#\ ##0.0">
                  <c:v>8.3872866389999995E-3</c:v>
                </c:pt>
                <c:pt idx="333" formatCode="#\ ##0.0">
                  <c:v>8.3737329210000003E-3</c:v>
                </c:pt>
                <c:pt idx="334" formatCode="#\ ##0.0">
                  <c:v>8.7110586149999995E-3</c:v>
                </c:pt>
                <c:pt idx="335" formatCode="#\ ##0.0">
                  <c:v>8.3834008660000001E-3</c:v>
                </c:pt>
                <c:pt idx="336" formatCode="#\ ##0.0">
                  <c:v>7.8223215530000001E-3</c:v>
                </c:pt>
                <c:pt idx="337" formatCode="#\ ##0.0">
                  <c:v>8.3061002169999999E-3</c:v>
                </c:pt>
                <c:pt idx="338" formatCode="#\ ##0.0">
                  <c:v>8.472332539E-3</c:v>
                </c:pt>
                <c:pt idx="339" formatCode="#\ ##0.0">
                  <c:v>7.9824900210000004E-3</c:v>
                </c:pt>
                <c:pt idx="340" formatCode="#\ ##0.0">
                  <c:v>7.7440649990000001E-3</c:v>
                </c:pt>
                <c:pt idx="341" formatCode="#\ ##0.0">
                  <c:v>7.468259895E-3</c:v>
                </c:pt>
                <c:pt idx="342" formatCode="#\ ##0.0">
                  <c:v>6.7041781389999998E-3</c:v>
                </c:pt>
                <c:pt idx="343" formatCode="#\ ##0.0">
                  <c:v>6.4464141820000003E-3</c:v>
                </c:pt>
                <c:pt idx="344" formatCode="#\ ##0.0">
                  <c:v>5.8963601309999997E-3</c:v>
                </c:pt>
                <c:pt idx="345" formatCode="#\ ##0.0">
                  <c:v>5.685618729E-3</c:v>
                </c:pt>
                <c:pt idx="346" formatCode="#\ ##0.0">
                  <c:v>5.7860261999999997E-3</c:v>
                </c:pt>
                <c:pt idx="347" formatCode="#\ ##0.0">
                  <c:v>6.6550294559999997E-3</c:v>
                </c:pt>
                <c:pt idx="348" formatCode="#\ ##0.0">
                  <c:v>6.7818858010000004E-3</c:v>
                </c:pt>
                <c:pt idx="349" formatCode="#\ ##0.0">
                  <c:v>7.0507877050000004E-3</c:v>
                </c:pt>
                <c:pt idx="350" formatCode="#\ ##0.0">
                  <c:v>7.493938726E-3</c:v>
                </c:pt>
                <c:pt idx="351" formatCode="#\ ##0.0">
                  <c:v>7.9055663849999999E-3</c:v>
                </c:pt>
                <c:pt idx="352" formatCode="#\ ##0.0">
                  <c:v>7.8859241650000005E-3</c:v>
                </c:pt>
                <c:pt idx="353" formatCode="#\ ##0.0">
                  <c:v>7.6527823330000003E-3</c:v>
                </c:pt>
                <c:pt idx="354" formatCode="#\ ##0.0">
                  <c:v>7.1287563059999996E-3</c:v>
                </c:pt>
                <c:pt idx="355" formatCode="#\ ##0.0">
                  <c:v>7.6578054910000004E-3</c:v>
                </c:pt>
                <c:pt idx="356" formatCode="#\ ##0.0">
                  <c:v>8.3905415710000004E-3</c:v>
                </c:pt>
                <c:pt idx="357" formatCode="#\ ##0.0">
                  <c:v>9.7214636810000008E-3</c:v>
                </c:pt>
                <c:pt idx="358" formatCode="#\ ##0.0">
                  <c:v>9.9685773100000007E-3</c:v>
                </c:pt>
                <c:pt idx="359" formatCode="#\ ##0.0">
                  <c:v>1.0481081647E-2</c:v>
                </c:pt>
                <c:pt idx="360" formatCode="#\ ##0.0">
                  <c:v>1.135085387E-2</c:v>
                </c:pt>
                <c:pt idx="361" formatCode="#\ ##0.0">
                  <c:v>1.2056810054E-2</c:v>
                </c:pt>
                <c:pt idx="362" formatCode="#\ ##0.0">
                  <c:v>1.1811424498E-2</c:v>
                </c:pt>
                <c:pt idx="363" formatCode="#\ ##0.0">
                  <c:v>1.1803541062E-2</c:v>
                </c:pt>
                <c:pt idx="364" formatCode="#\ ##0.0">
                  <c:v>1.0413708226000001E-2</c:v>
                </c:pt>
                <c:pt idx="365" formatCode="#\ ##0.0">
                  <c:v>1.1381807920000001E-2</c:v>
                </c:pt>
                <c:pt idx="366" formatCode="#\ ##0.0">
                  <c:v>1.2377850161999999E-2</c:v>
                </c:pt>
                <c:pt idx="367" formatCode="#\ ##0.0">
                  <c:v>1.4540466392E-2</c:v>
                </c:pt>
                <c:pt idx="368" formatCode="#\ ##0.0">
                  <c:v>1.5255461273999999E-2</c:v>
                </c:pt>
                <c:pt idx="369" formatCode="#\ ##0.0">
                  <c:v>1.5467200436E-2</c:v>
                </c:pt>
                <c:pt idx="370" formatCode="#\ ##0.0">
                  <c:v>1.7677454446E-2</c:v>
                </c:pt>
                <c:pt idx="371" formatCode="#\ ##0.0">
                  <c:v>1.9714540587999999E-2</c:v>
                </c:pt>
                <c:pt idx="372" formatCode="#\ ##0.0">
                  <c:v>1.9232391396000002E-2</c:v>
                </c:pt>
                <c:pt idx="373" formatCode="#\ ##0.0">
                  <c:v>1.9056769957000001E-2</c:v>
                </c:pt>
                <c:pt idx="374" formatCode="#\ ##0.0">
                  <c:v>1.7861249520000001E-2</c:v>
                </c:pt>
                <c:pt idx="375" formatCode="#\ ##0.0">
                  <c:v>1.7531876137999999E-2</c:v>
                </c:pt>
                <c:pt idx="376" formatCode="#\ ##0.0">
                  <c:v>1.7695133838000001E-2</c:v>
                </c:pt>
                <c:pt idx="377" formatCode="#\ ##0.0">
                  <c:v>1.6966904062999999E-2</c:v>
                </c:pt>
                <c:pt idx="378" formatCode="#\ ##0.0">
                  <c:v>1.6790021929000001E-2</c:v>
                </c:pt>
                <c:pt idx="379" formatCode="#\ ##0.0">
                  <c:v>1.6811748288E-2</c:v>
                </c:pt>
                <c:pt idx="380" formatCode="#\ ##0.0">
                  <c:v>1.7494028790000001E-2</c:v>
                </c:pt>
                <c:pt idx="381" formatCode="#\ ##0.0">
                  <c:v>1.8846799776000001E-2</c:v>
                </c:pt>
                <c:pt idx="382" formatCode="#\ ##0.0">
                  <c:v>1.8786836934999999E-2</c:v>
                </c:pt>
                <c:pt idx="383" formatCode="#\ ##0.0">
                  <c:v>1.9128521664E-2</c:v>
                </c:pt>
                <c:pt idx="384" formatCode="#\ ##0.0">
                  <c:v>1.9901452614E-2</c:v>
                </c:pt>
                <c:pt idx="385" formatCode="#\ ##0.0">
                  <c:v>2.0594131583000001E-2</c:v>
                </c:pt>
                <c:pt idx="386" formatCode="#\ ##0.0">
                  <c:v>2.1306987263E-2</c:v>
                </c:pt>
                <c:pt idx="387" formatCode="#\ ##0.0">
                  <c:v>2.0417853751000001E-2</c:v>
                </c:pt>
                <c:pt idx="388" formatCode="#\ ##0.0">
                  <c:v>1.8862381008000001E-2</c:v>
                </c:pt>
                <c:pt idx="389" formatCode="#\ ##0.0">
                  <c:v>1.982717803E-2</c:v>
                </c:pt>
                <c:pt idx="390" formatCode="#\ ##0.0">
                  <c:v>2.0224185991E-2</c:v>
                </c:pt>
                <c:pt idx="391" formatCode="#\ ##0.0">
                  <c:v>2.1364339308999999E-2</c:v>
                </c:pt>
                <c:pt idx="392" formatCode="#\ ##0.0">
                  <c:v>2.2408782692000001E-2</c:v>
                </c:pt>
                <c:pt idx="393" formatCode="#\ ##0.0">
                  <c:v>2.3281872509E-2</c:v>
                </c:pt>
                <c:pt idx="394" formatCode="#\ ##0.0">
                  <c:v>2.6806737909000001E-2</c:v>
                </c:pt>
                <c:pt idx="395" formatCode="#\ ##0.0">
                  <c:v>2.8642004352000001E-2</c:v>
                </c:pt>
                <c:pt idx="396" formatCode="#\ ##0.0">
                  <c:v>2.9534134191999999E-2</c:v>
                </c:pt>
                <c:pt idx="397" formatCode="#\ ##0.0">
                  <c:v>3.0364725727999999E-2</c:v>
                </c:pt>
                <c:pt idx="398" formatCode="#\ ##0.0">
                  <c:v>3.0581541659000001E-2</c:v>
                </c:pt>
                <c:pt idx="399" formatCode="#\ ##0.0">
                  <c:v>3.1925248199E-2</c:v>
                </c:pt>
                <c:pt idx="400" formatCode="#\ ##0.0">
                  <c:v>3.5147502677000002E-2</c:v>
                </c:pt>
                <c:pt idx="401" formatCode="#\ ##0.0">
                  <c:v>3.6148632408000002E-2</c:v>
                </c:pt>
                <c:pt idx="402" formatCode="#\ ##0.0">
                  <c:v>3.9619651346999997E-2</c:v>
                </c:pt>
                <c:pt idx="403" formatCode="#\ ##0.0">
                  <c:v>3.9834773524999999E-2</c:v>
                </c:pt>
                <c:pt idx="404" formatCode="#\ ##0.0">
                  <c:v>3.9504186970000001E-2</c:v>
                </c:pt>
                <c:pt idx="405" formatCode="#\ ##0.0">
                  <c:v>4.2672552534999998E-2</c:v>
                </c:pt>
                <c:pt idx="406" formatCode="#\ ##0.0">
                  <c:v>4.4598612486999999E-2</c:v>
                </c:pt>
                <c:pt idx="407" formatCode="#\ ##0.0">
                  <c:v>4.5716497505000002E-2</c:v>
                </c:pt>
                <c:pt idx="408" formatCode="#\ ##0.0">
                  <c:v>4.7595169445000002E-2</c:v>
                </c:pt>
                <c:pt idx="409" formatCode="#\ ##0.0">
                  <c:v>4.8466160656999997E-2</c:v>
                </c:pt>
                <c:pt idx="410" formatCode="#\ ##0.0">
                  <c:v>5.1061854472999997E-2</c:v>
                </c:pt>
                <c:pt idx="411" formatCode="#\ ##0.0">
                  <c:v>5.2363581090999999E-2</c:v>
                </c:pt>
                <c:pt idx="412" formatCode="#\ ##0.0">
                  <c:v>5.7012097774999999E-2</c:v>
                </c:pt>
                <c:pt idx="413" formatCode="#\ ##0.0">
                  <c:v>6.2535099600000005E-2</c:v>
                </c:pt>
                <c:pt idx="414" formatCode="#\ ##0.0">
                  <c:v>6.5742438841999998E-2</c:v>
                </c:pt>
                <c:pt idx="415" formatCode="#\ ##0.0">
                  <c:v>6.9311458541000001E-2</c:v>
                </c:pt>
                <c:pt idx="416" formatCode="#\ ##0.0">
                  <c:v>7.5053134962000001E-2</c:v>
                </c:pt>
                <c:pt idx="417" formatCode="#\ ##0.0">
                  <c:v>7.6619415036000005E-2</c:v>
                </c:pt>
                <c:pt idx="418" formatCode="#\ ##0.0">
                  <c:v>7.7812037803E-2</c:v>
                </c:pt>
                <c:pt idx="419" formatCode="#\ ##0.0">
                  <c:v>8.1010971227000003E-2</c:v>
                </c:pt>
                <c:pt idx="420" formatCode="#\ ##0.0">
                  <c:v>8.6799518522999997E-2</c:v>
                </c:pt>
                <c:pt idx="421" formatCode="#\ ##0.0">
                  <c:v>9.2062279920000004E-2</c:v>
                </c:pt>
                <c:pt idx="422" formatCode="#\ ##0.0">
                  <c:v>9.9029258644000001E-2</c:v>
                </c:pt>
                <c:pt idx="423" formatCode="#\ ##0.0">
                  <c:v>0.105391327876</c:v>
                </c:pt>
                <c:pt idx="424" formatCode="#\ ##0.0">
                  <c:v>0.10930355258500001</c:v>
                </c:pt>
                <c:pt idx="425" formatCode="#\ ##0.0">
                  <c:v>0.109990146939</c:v>
                </c:pt>
                <c:pt idx="426" formatCode="#\ ##0.0">
                  <c:v>0.11882475299</c:v>
                </c:pt>
                <c:pt idx="427" formatCode="#\ ##0.0">
                  <c:v>0.13046994001100001</c:v>
                </c:pt>
                <c:pt idx="428" formatCode="#\ ##0.0">
                  <c:v>0.144068862652</c:v>
                </c:pt>
                <c:pt idx="429" formatCode="#\ ##0.0">
                  <c:v>0.149225418906</c:v>
                </c:pt>
                <c:pt idx="430" formatCode="#\ ##0.0">
                  <c:v>0.15550982946399999</c:v>
                </c:pt>
                <c:pt idx="431" formatCode="#\ ##0.0">
                  <c:v>0.15851830498700001</c:v>
                </c:pt>
                <c:pt idx="432" formatCode="#\ ##0.0">
                  <c:v>0.16034822082700001</c:v>
                </c:pt>
                <c:pt idx="433" formatCode="#\ ##0.0">
                  <c:v>0.163461403187</c:v>
                </c:pt>
                <c:pt idx="434" formatCode="#\ ##0.0">
                  <c:v>0.16569311482499999</c:v>
                </c:pt>
                <c:pt idx="435" formatCode="#\ ##0.0">
                  <c:v>0.165575291964</c:v>
                </c:pt>
                <c:pt idx="436" formatCode="#\ ##0.0">
                  <c:v>0.16204849084600001</c:v>
                </c:pt>
                <c:pt idx="437" formatCode="#\ ##0.0">
                  <c:v>0.163745588877</c:v>
                </c:pt>
                <c:pt idx="438" formatCode="#\ ##0.0">
                  <c:v>0.165254139168</c:v>
                </c:pt>
                <c:pt idx="439" formatCode="#\ ##0.0">
                  <c:v>0.16611095989800001</c:v>
                </c:pt>
                <c:pt idx="440" formatCode="#\ ##0.0">
                  <c:v>0.164717827781</c:v>
                </c:pt>
                <c:pt idx="441" formatCode="#\ ##0.0">
                  <c:v>0.16983664550999999</c:v>
                </c:pt>
                <c:pt idx="442" formatCode="#\ ##0.0">
                  <c:v>0.17418946771499999</c:v>
                </c:pt>
                <c:pt idx="443" formatCode="#\ ##0.0">
                  <c:v>0.175858212165</c:v>
                </c:pt>
                <c:pt idx="444" formatCode="#\ ##0.0">
                  <c:v>0.18387500387700001</c:v>
                </c:pt>
                <c:pt idx="445" formatCode="#\ ##0.0">
                  <c:v>0.18752546280099999</c:v>
                </c:pt>
                <c:pt idx="446" formatCode="#\ ##0.0">
                  <c:v>0.18919924418199999</c:v>
                </c:pt>
                <c:pt idx="447" formatCode="#\ ##0.0">
                  <c:v>0.192189663017</c:v>
                </c:pt>
                <c:pt idx="448" formatCode="#\ ##0.0">
                  <c:v>0.19631625805299999</c:v>
                </c:pt>
                <c:pt idx="449" formatCode="#\ ##0.0">
                  <c:v>0.18720032081999999</c:v>
                </c:pt>
                <c:pt idx="450" formatCode="#\ ##0.0">
                  <c:v>0.19642812245899999</c:v>
                </c:pt>
                <c:pt idx="451" formatCode="#\ ##0.0">
                  <c:v>0.19546706526400001</c:v>
                </c:pt>
                <c:pt idx="452" formatCode="#\ ##0.0">
                  <c:v>0.192801540135</c:v>
                </c:pt>
                <c:pt idx="453" formatCode="#\ ##0.0">
                  <c:v>0.19290454609400001</c:v>
                </c:pt>
                <c:pt idx="454" formatCode="#\ ##0.0">
                  <c:v>0.195657670442</c:v>
                </c:pt>
                <c:pt idx="455" formatCode="#\ ##0.0">
                  <c:v>0.19187986651799999</c:v>
                </c:pt>
                <c:pt idx="456" formatCode="#\ ##0.0">
                  <c:v>0.19900732498000001</c:v>
                </c:pt>
                <c:pt idx="457" formatCode="#\ ##0.0">
                  <c:v>0.193556616785</c:v>
                </c:pt>
                <c:pt idx="458" formatCode="#\ ##0.0">
                  <c:v>0.19138429168099999</c:v>
                </c:pt>
                <c:pt idx="459" formatCode="#\ ##0.0">
                  <c:v>0.18920193966000001</c:v>
                </c:pt>
                <c:pt idx="460" formatCode="#\ ##0.0">
                  <c:v>0.18650128592199999</c:v>
                </c:pt>
                <c:pt idx="461" formatCode="#\ ##0.0">
                  <c:v>0.18343036822200001</c:v>
                </c:pt>
                <c:pt idx="462" formatCode="#\ ##0.0">
                  <c:v>0.180361300926</c:v>
                </c:pt>
                <c:pt idx="463" formatCode="#\ ##0.0">
                  <c:v>0.17611940298500001</c:v>
                </c:pt>
                <c:pt idx="464" formatCode="#\ ##0.0">
                  <c:v>0.173228407867</c:v>
                </c:pt>
                <c:pt idx="465" formatCode="#\ ##0.0">
                  <c:v>0.16775658130500001</c:v>
                </c:pt>
                <c:pt idx="466" formatCode="#\ ##0.0">
                  <c:v>0.16662628611999999</c:v>
                </c:pt>
                <c:pt idx="467" formatCode="#\ ##0.0">
                  <c:v>0.166850175017</c:v>
                </c:pt>
                <c:pt idx="468" formatCode="#\ ##0.0">
                  <c:v>0.16237950194100001</c:v>
                </c:pt>
                <c:pt idx="469" formatCode="#\ ##0.0">
                  <c:v>0.16052972945399999</c:v>
                </c:pt>
                <c:pt idx="470" formatCode="#\ ##0.0">
                  <c:v>0.156940844972</c:v>
                </c:pt>
                <c:pt idx="471" formatCode="#\ ##0.0">
                  <c:v>0.15090614829099999</c:v>
                </c:pt>
                <c:pt idx="472" formatCode="#\ ##0.0">
                  <c:v>0.146470791189</c:v>
                </c:pt>
                <c:pt idx="473" formatCode="#\ ##0.0">
                  <c:v>0.14406724622600001</c:v>
                </c:pt>
                <c:pt idx="474" formatCode="#\ ##0.0">
                  <c:v>0.142866392866</c:v>
                </c:pt>
                <c:pt idx="475" formatCode="#\ ##0.0">
                  <c:v>0.140695077783</c:v>
                </c:pt>
                <c:pt idx="476" formatCode="#\ ##0.0">
                  <c:v>0.13526187811099999</c:v>
                </c:pt>
                <c:pt idx="477" formatCode="#\ ##0.0">
                  <c:v>0.127653202198</c:v>
                </c:pt>
                <c:pt idx="478" formatCode="#\ ##0.0">
                  <c:v>0.120549251454</c:v>
                </c:pt>
                <c:pt idx="479" formatCode="#\ ##0.0">
                  <c:v>0.11758927414799999</c:v>
                </c:pt>
                <c:pt idx="480" formatCode="#\ ##0.0">
                  <c:v>0.113485346576</c:v>
                </c:pt>
                <c:pt idx="481" formatCode="#\ ##0.0">
                  <c:v>0.11105845556000001</c:v>
                </c:pt>
                <c:pt idx="482" formatCode="#\ ##0.0">
                  <c:v>0.110470051298</c:v>
                </c:pt>
                <c:pt idx="483" formatCode="#\ ##0.0">
                  <c:v>0.11141827388800001</c:v>
                </c:pt>
                <c:pt idx="484" formatCode="#\ ##0.0">
                  <c:v>0.11883573291000001</c:v>
                </c:pt>
                <c:pt idx="485" formatCode="#\ ##0.0">
                  <c:v>0.133059722154</c:v>
                </c:pt>
                <c:pt idx="486" formatCode="#\ ##0.0">
                  <c:v>0.139161283326</c:v>
                </c:pt>
                <c:pt idx="487" formatCode="#\ ##0.0">
                  <c:v>0.142310610851</c:v>
                </c:pt>
                <c:pt idx="488" formatCode="#\ ##0.0">
                  <c:v>0.14304376224599999</c:v>
                </c:pt>
                <c:pt idx="489" formatCode="#\ ##0.0">
                  <c:v>0.14500134412599999</c:v>
                </c:pt>
                <c:pt idx="490" formatCode="#\ ##0.0">
                  <c:v>0.14438968645</c:v>
                </c:pt>
                <c:pt idx="491" formatCode="#\ ##0.0">
                  <c:v>0.14504820332999999</c:v>
                </c:pt>
                <c:pt idx="492" formatCode="#\ ##0.0">
                  <c:v>0.13984830277400001</c:v>
                </c:pt>
                <c:pt idx="493" formatCode="#\ ##0.0">
                  <c:v>0.134592806062</c:v>
                </c:pt>
                <c:pt idx="494" formatCode="#\ ##0.0">
                  <c:v>0.134154976324</c:v>
                </c:pt>
                <c:pt idx="495" formatCode="#\ ##0.0">
                  <c:v>0.135895146444</c:v>
                </c:pt>
                <c:pt idx="496" formatCode="#\ ##0.0">
                  <c:v>0.13469277026699999</c:v>
                </c:pt>
                <c:pt idx="497" formatCode="#\ ##0.0">
                  <c:v>0.14185967687199999</c:v>
                </c:pt>
                <c:pt idx="498" formatCode="#\ ##0.0">
                  <c:v>0.150724253665</c:v>
                </c:pt>
                <c:pt idx="499" formatCode="#\ ##0.0">
                  <c:v>0.16372039782700001</c:v>
                </c:pt>
                <c:pt idx="500" formatCode="#\ ##0.0">
                  <c:v>0.177756115967</c:v>
                </c:pt>
                <c:pt idx="501" formatCode="#\ ##0.0">
                  <c:v>0.18449571841099999</c:v>
                </c:pt>
                <c:pt idx="502" formatCode="#\ ##0.0">
                  <c:v>0.193221698586</c:v>
                </c:pt>
                <c:pt idx="503" formatCode="#\ ##0.0">
                  <c:v>0.206006063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OCK_s_posil_POZ_indik_testu_nyni</c:v>
          </c:tx>
          <c:spPr>
            <a:ln>
              <a:solidFill>
                <a:srgbClr val="70AD47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">
                  <c:v>4.8048048048000003E-2</c:v>
                </c:pt>
                <c:pt idx="427" formatCode="0.00">
                  <c:v>4.5161290322000003E-2</c:v>
                </c:pt>
                <c:pt idx="428" formatCode="0.00">
                  <c:v>3.6832412522999999E-2</c:v>
                </c:pt>
                <c:pt idx="429" formatCode="0.00">
                  <c:v>4.0944881889000001E-2</c:v>
                </c:pt>
                <c:pt idx="430" formatCode="0.00">
                  <c:v>5.2023121387E-2</c:v>
                </c:pt>
                <c:pt idx="431" formatCode="0.00">
                  <c:v>5.1246537395999998E-2</c:v>
                </c:pt>
                <c:pt idx="432" formatCode="0.00">
                  <c:v>4.7493403693000001E-2</c:v>
                </c:pt>
                <c:pt idx="433" formatCode="0.00">
                  <c:v>4.0816326530000002E-2</c:v>
                </c:pt>
                <c:pt idx="434" formatCode="0.00">
                  <c:v>5.2966101693999998E-2</c:v>
                </c:pt>
                <c:pt idx="435" formatCode="0.00">
                  <c:v>5.0862851952E-2</c:v>
                </c:pt>
                <c:pt idx="436" formatCode="0.00">
                  <c:v>4.6528803544999997E-2</c:v>
                </c:pt>
                <c:pt idx="437" formatCode="0.00">
                  <c:v>4.0592783505E-2</c:v>
                </c:pt>
                <c:pt idx="438" formatCode="0.00">
                  <c:v>4.0718562873999997E-2</c:v>
                </c:pt>
                <c:pt idx="439" formatCode="0.00">
                  <c:v>4.1594454071999999E-2</c:v>
                </c:pt>
                <c:pt idx="440" formatCode="0.00">
                  <c:v>4.3010752687999997E-2</c:v>
                </c:pt>
                <c:pt idx="441" formatCode="0.00">
                  <c:v>4.0152155536000003E-2</c:v>
                </c:pt>
                <c:pt idx="442" formatCode="0.00">
                  <c:v>4.1525423727999999E-2</c:v>
                </c:pt>
                <c:pt idx="443" formatCode="0.00">
                  <c:v>3.8729666923999997E-2</c:v>
                </c:pt>
                <c:pt idx="444" formatCode="0.00">
                  <c:v>4.5622274403999998E-2</c:v>
                </c:pt>
                <c:pt idx="445" formatCode="0.00">
                  <c:v>4.6835443036999998E-2</c:v>
                </c:pt>
                <c:pt idx="446" formatCode="0.00">
                  <c:v>4.72322503E-2</c:v>
                </c:pt>
                <c:pt idx="447" formatCode="0.00">
                  <c:v>4.7853431773999998E-2</c:v>
                </c:pt>
                <c:pt idx="448" formatCode="0.00">
                  <c:v>5.1689860833999998E-2</c:v>
                </c:pt>
                <c:pt idx="449" formatCode="0.00">
                  <c:v>4.7370617695999997E-2</c:v>
                </c:pt>
                <c:pt idx="450" formatCode="0.00">
                  <c:v>4.7739672641999999E-2</c:v>
                </c:pt>
                <c:pt idx="451" formatCode="0.00">
                  <c:v>4.6405823475000003E-2</c:v>
                </c:pt>
                <c:pt idx="452" formatCode="0.00">
                  <c:v>4.7486033519E-2</c:v>
                </c:pt>
                <c:pt idx="453" formatCode="0.00">
                  <c:v>5.0093394463999998E-2</c:v>
                </c:pt>
                <c:pt idx="454" formatCode="0.00">
                  <c:v>4.7944118112999999E-2</c:v>
                </c:pt>
                <c:pt idx="455" formatCode="0.00">
                  <c:v>4.4950465768999998E-2</c:v>
                </c:pt>
                <c:pt idx="456" formatCode="0.00">
                  <c:v>4.6659148576000002E-2</c:v>
                </c:pt>
                <c:pt idx="457" formatCode="0.00">
                  <c:v>4.9664429529999998E-2</c:v>
                </c:pt>
                <c:pt idx="458" formatCode="0.00">
                  <c:v>4.8845470692000001E-2</c:v>
                </c:pt>
                <c:pt idx="459" formatCode="0.00">
                  <c:v>5.0178329847999997E-2</c:v>
                </c:pt>
                <c:pt idx="460" formatCode="0.00">
                  <c:v>4.8971242930999997E-2</c:v>
                </c:pt>
                <c:pt idx="461" formatCode="0.00">
                  <c:v>5.1545202951999998E-2</c:v>
                </c:pt>
                <c:pt idx="462" formatCode="0.00">
                  <c:v>5.4187192118000001E-2</c:v>
                </c:pt>
                <c:pt idx="463" formatCode="0.00">
                  <c:v>5.4257641921000001E-2</c:v>
                </c:pt>
                <c:pt idx="464" formatCode="0.00">
                  <c:v>5.2957505872000002E-2</c:v>
                </c:pt>
                <c:pt idx="465" formatCode="0.00">
                  <c:v>5.2989274715E-2</c:v>
                </c:pt>
                <c:pt idx="466" formatCode="0.00">
                  <c:v>5.1192073485000003E-2</c:v>
                </c:pt>
                <c:pt idx="467" formatCode="0.00">
                  <c:v>5.0777202071999997E-2</c:v>
                </c:pt>
                <c:pt idx="468" formatCode="0.00">
                  <c:v>4.8419569156E-2</c:v>
                </c:pt>
                <c:pt idx="469" formatCode="0.00">
                  <c:v>4.6180998137000003E-2</c:v>
                </c:pt>
                <c:pt idx="470" formatCode="0.00">
                  <c:v>4.7344110853999997E-2</c:v>
                </c:pt>
                <c:pt idx="471" formatCode="0.00">
                  <c:v>4.6202768424E-2</c:v>
                </c:pt>
                <c:pt idx="472" formatCode="0.00">
                  <c:v>4.4460380064E-2</c:v>
                </c:pt>
                <c:pt idx="473" formatCode="0.00">
                  <c:v>4.5491107337E-2</c:v>
                </c:pt>
                <c:pt idx="474" formatCode="0.00">
                  <c:v>4.6116293261000002E-2</c:v>
                </c:pt>
                <c:pt idx="475" formatCode="0.00">
                  <c:v>4.5791975977E-2</c:v>
                </c:pt>
                <c:pt idx="476" formatCode="0.00">
                  <c:v>4.6290424857000002E-2</c:v>
                </c:pt>
                <c:pt idx="477" formatCode="0.00">
                  <c:v>4.3847973972E-2</c:v>
                </c:pt>
                <c:pt idx="478" formatCode="0.00">
                  <c:v>4.1984995525999998E-2</c:v>
                </c:pt>
                <c:pt idx="479" formatCode="0.00">
                  <c:v>4.2075842272000001E-2</c:v>
                </c:pt>
                <c:pt idx="480" formatCode="0.00">
                  <c:v>3.9724202772999997E-2</c:v>
                </c:pt>
                <c:pt idx="481" formatCode="0.00">
                  <c:v>3.8690010942000003E-2</c:v>
                </c:pt>
                <c:pt idx="482" formatCode="0.00">
                  <c:v>4.0467694175999998E-2</c:v>
                </c:pt>
                <c:pt idx="483" formatCode="0.00">
                  <c:v>4.0532455877000002E-2</c:v>
                </c:pt>
                <c:pt idx="484" formatCode="0.00">
                  <c:v>4.3793929095000003E-2</c:v>
                </c:pt>
                <c:pt idx="485" formatCode="0.00">
                  <c:v>4.7497201342999999E-2</c:v>
                </c:pt>
                <c:pt idx="486" formatCode="0.00">
                  <c:v>5.0529215600000003E-2</c:v>
                </c:pt>
                <c:pt idx="487" formatCode="0.00">
                  <c:v>5.1150895139999999E-2</c:v>
                </c:pt>
                <c:pt idx="488" formatCode="0.00">
                  <c:v>5.2076699922000001E-2</c:v>
                </c:pt>
                <c:pt idx="489" formatCode="0.00">
                  <c:v>5.4931178178999999E-2</c:v>
                </c:pt>
                <c:pt idx="490" formatCode="0.00">
                  <c:v>5.9102749638000003E-2</c:v>
                </c:pt>
                <c:pt idx="491" formatCode="0.00">
                  <c:v>6.0086294144999997E-2</c:v>
                </c:pt>
                <c:pt idx="492" formatCode="0.00">
                  <c:v>6.1639736684000003E-2</c:v>
                </c:pt>
                <c:pt idx="493" formatCode="0.00">
                  <c:v>6.2534184138000007E-2</c:v>
                </c:pt>
                <c:pt idx="494" formatCode="0.00">
                  <c:v>6.4587973273000004E-2</c:v>
                </c:pt>
                <c:pt idx="495" formatCode="0.00">
                  <c:v>6.5534601927999994E-2</c:v>
                </c:pt>
                <c:pt idx="496" formatCode="0.00">
                  <c:v>6.5812039101000003E-2</c:v>
                </c:pt>
                <c:pt idx="497" formatCode="0.00">
                  <c:v>7.2617500313999994E-2</c:v>
                </c:pt>
                <c:pt idx="498" formatCode="0.00">
                  <c:v>8.0551226313999996E-2</c:v>
                </c:pt>
                <c:pt idx="499" formatCode="0.00">
                  <c:v>8.7422016502000002E-2</c:v>
                </c:pt>
                <c:pt idx="500" formatCode="0.00">
                  <c:v>9.4402868724E-2</c:v>
                </c:pt>
                <c:pt idx="501" formatCode="0.00">
                  <c:v>9.9233801977999997E-2</c:v>
                </c:pt>
                <c:pt idx="502" formatCode="0.00">
                  <c:v>0.104923088219</c:v>
                </c:pt>
                <c:pt idx="503" formatCode="0.00">
                  <c:v>0.113466170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CR_testu_65_100_000_7dni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364.54245474030199</c:v>
                </c:pt>
                <c:pt idx="1">
                  <c:v>372.511608555164</c:v>
                </c:pt>
                <c:pt idx="2">
                  <c:v>379.32245512949402</c:v>
                </c:pt>
                <c:pt idx="3">
                  <c:v>388.54258076412998</c:v>
                </c:pt>
                <c:pt idx="4">
                  <c:v>389.654555715041</c:v>
                </c:pt>
                <c:pt idx="5">
                  <c:v>393.03681285739498</c:v>
                </c:pt>
                <c:pt idx="6">
                  <c:v>387.47693810284102</c:v>
                </c:pt>
                <c:pt idx="7">
                  <c:v>403.09091970521501</c:v>
                </c:pt>
                <c:pt idx="8">
                  <c:v>407.770480956965</c:v>
                </c:pt>
                <c:pt idx="9">
                  <c:v>424.86709582722102</c:v>
                </c:pt>
                <c:pt idx="10">
                  <c:v>441.77838153899103</c:v>
                </c:pt>
                <c:pt idx="11">
                  <c:v>464.62020032228702</c:v>
                </c:pt>
                <c:pt idx="12">
                  <c:v>478.42722262943101</c:v>
                </c:pt>
                <c:pt idx="13">
                  <c:v>491.35393143377098</c:v>
                </c:pt>
                <c:pt idx="14">
                  <c:v>500.01806959295197</c:v>
                </c:pt>
                <c:pt idx="15">
                  <c:v>525.63982575352497</c:v>
                </c:pt>
                <c:pt idx="16">
                  <c:v>552.69788289235805</c:v>
                </c:pt>
                <c:pt idx="17">
                  <c:v>551.86390167917398</c:v>
                </c:pt>
                <c:pt idx="18">
                  <c:v>550.05694238394403</c:v>
                </c:pt>
                <c:pt idx="19">
                  <c:v>560.15738152138499</c:v>
                </c:pt>
                <c:pt idx="20">
                  <c:v>576.18835373035097</c:v>
                </c:pt>
                <c:pt idx="21">
                  <c:v>593.51663004871295</c:v>
                </c:pt>
                <c:pt idx="22">
                  <c:v>601.62478073243904</c:v>
                </c:pt>
                <c:pt idx="23">
                  <c:v>607.69431067282801</c:v>
                </c:pt>
                <c:pt idx="24">
                  <c:v>624.65192867422002</c:v>
                </c:pt>
                <c:pt idx="25">
                  <c:v>633.64039286075001</c:v>
                </c:pt>
                <c:pt idx="26">
                  <c:v>631.18478151082104</c:v>
                </c:pt>
                <c:pt idx="27">
                  <c:v>597.36221008728</c:v>
                </c:pt>
                <c:pt idx="28">
                  <c:v>588.04941987340101</c:v>
                </c:pt>
                <c:pt idx="29">
                  <c:v>609.686599126543</c:v>
                </c:pt>
                <c:pt idx="30">
                  <c:v>625.20791614967504</c:v>
                </c:pt>
                <c:pt idx="31">
                  <c:v>649.81036193857994</c:v>
                </c:pt>
                <c:pt idx="32">
                  <c:v>668.38961007671696</c:v>
                </c:pt>
                <c:pt idx="33">
                  <c:v>677.74873258021705</c:v>
                </c:pt>
                <c:pt idx="34">
                  <c:v>738.53669656334796</c:v>
                </c:pt>
                <c:pt idx="35">
                  <c:v>784.49832786766694</c:v>
                </c:pt>
                <c:pt idx="36">
                  <c:v>805.06986445951895</c:v>
                </c:pt>
                <c:pt idx="37">
                  <c:v>812.01970790271298</c:v>
                </c:pt>
                <c:pt idx="38">
                  <c:v>834.21287463131</c:v>
                </c:pt>
                <c:pt idx="39">
                  <c:v>841.30171494336798</c:v>
                </c:pt>
                <c:pt idx="40">
                  <c:v>860.57594742582398</c:v>
                </c:pt>
                <c:pt idx="41">
                  <c:v>886.29036816563905</c:v>
                </c:pt>
                <c:pt idx="42">
                  <c:v>946.47601238369396</c:v>
                </c:pt>
                <c:pt idx="43">
                  <c:v>1012.91651570062</c:v>
                </c:pt>
                <c:pt idx="44">
                  <c:v>1066.8936331094201</c:v>
                </c:pt>
                <c:pt idx="45">
                  <c:v>1134.2144499291501</c:v>
                </c:pt>
                <c:pt idx="46">
                  <c:v>1198.6626647923699</c:v>
                </c:pt>
                <c:pt idx="47">
                  <c:v>1225.5353927727101</c:v>
                </c:pt>
                <c:pt idx="48">
                  <c:v>1269.6900647817999</c:v>
                </c:pt>
                <c:pt idx="49">
                  <c:v>1312.91809099847</c:v>
                </c:pt>
                <c:pt idx="50">
                  <c:v>1372.08442484485</c:v>
                </c:pt>
                <c:pt idx="51">
                  <c:v>1450.4323265944499</c:v>
                </c:pt>
                <c:pt idx="52">
                  <c:v>1491.99239038475</c:v>
                </c:pt>
                <c:pt idx="53">
                  <c:v>1538.41734458528</c:v>
                </c:pt>
                <c:pt idx="54">
                  <c:v>1568.7649942872199</c:v>
                </c:pt>
                <c:pt idx="55">
                  <c:v>1629.5992905599801</c:v>
                </c:pt>
                <c:pt idx="56">
                  <c:v>1690.24825767424</c:v>
                </c:pt>
                <c:pt idx="57">
                  <c:v>1664.11684632784</c:v>
                </c:pt>
                <c:pt idx="58">
                  <c:v>1665.36781814761</c:v>
                </c:pt>
                <c:pt idx="59">
                  <c:v>1709.7078193151899</c:v>
                </c:pt>
                <c:pt idx="60">
                  <c:v>1733.56894847015</c:v>
                </c:pt>
                <c:pt idx="61">
                  <c:v>1738.1095128530401</c:v>
                </c:pt>
                <c:pt idx="62">
                  <c:v>1712.67308585095</c:v>
                </c:pt>
                <c:pt idx="63">
                  <c:v>1711.32944945193</c:v>
                </c:pt>
                <c:pt idx="64">
                  <c:v>1770.2177895605901</c:v>
                </c:pt>
                <c:pt idx="65">
                  <c:v>1820.25666235158</c:v>
                </c:pt>
                <c:pt idx="66">
                  <c:v>1815.80876254794</c:v>
                </c:pt>
                <c:pt idx="67">
                  <c:v>1775.9629934736299</c:v>
                </c:pt>
                <c:pt idx="68">
                  <c:v>1736.3025535578099</c:v>
                </c:pt>
                <c:pt idx="69">
                  <c:v>1736.4415504266699</c:v>
                </c:pt>
                <c:pt idx="70">
                  <c:v>1729.58437156272</c:v>
                </c:pt>
                <c:pt idx="71">
                  <c:v>1700.99734886638</c:v>
                </c:pt>
                <c:pt idx="72">
                  <c:v>1620.8424878215501</c:v>
                </c:pt>
                <c:pt idx="73">
                  <c:v>1560.51784673463</c:v>
                </c:pt>
                <c:pt idx="74">
                  <c:v>1491.6217320677799</c:v>
                </c:pt>
                <c:pt idx="75">
                  <c:v>1465.3049915628901</c:v>
                </c:pt>
                <c:pt idx="76">
                  <c:v>1438.2469344240501</c:v>
                </c:pt>
                <c:pt idx="77">
                  <c:v>1272.00667926287</c:v>
                </c:pt>
                <c:pt idx="78">
                  <c:v>1202.9715677271499</c:v>
                </c:pt>
                <c:pt idx="79">
                  <c:v>1155.71263231343</c:v>
                </c:pt>
                <c:pt idx="80">
                  <c:v>1094.18335169636</c:v>
                </c:pt>
                <c:pt idx="81">
                  <c:v>1082.6002792910399</c:v>
                </c:pt>
                <c:pt idx="82">
                  <c:v>1075.32610982049</c:v>
                </c:pt>
                <c:pt idx="83">
                  <c:v>1084.17557713816</c:v>
                </c:pt>
                <c:pt idx="84">
                  <c:v>1152.5620366191799</c:v>
                </c:pt>
                <c:pt idx="85">
                  <c:v>1123.69702018512</c:v>
                </c:pt>
                <c:pt idx="86">
                  <c:v>1093.3957027728</c:v>
                </c:pt>
                <c:pt idx="87">
                  <c:v>1075.00178379315</c:v>
                </c:pt>
                <c:pt idx="88">
                  <c:v>1062.81639162275</c:v>
                </c:pt>
                <c:pt idx="89">
                  <c:v>1056.2835387861401</c:v>
                </c:pt>
                <c:pt idx="90">
                  <c:v>1025.19457245026</c:v>
                </c:pt>
                <c:pt idx="91">
                  <c:v>998.97049652461396</c:v>
                </c:pt>
                <c:pt idx="92">
                  <c:v>999.34115484158497</c:v>
                </c:pt>
                <c:pt idx="93">
                  <c:v>979.18660885632403</c:v>
                </c:pt>
                <c:pt idx="94">
                  <c:v>976.08234545169796</c:v>
                </c:pt>
                <c:pt idx="95">
                  <c:v>973.99739241873999</c:v>
                </c:pt>
                <c:pt idx="96">
                  <c:v>974.50704760457404</c:v>
                </c:pt>
                <c:pt idx="97">
                  <c:v>973.81206326025404</c:v>
                </c:pt>
                <c:pt idx="98">
                  <c:v>989.24071570414401</c:v>
                </c:pt>
                <c:pt idx="99">
                  <c:v>994.19827069362202</c:v>
                </c:pt>
                <c:pt idx="100">
                  <c:v>1012.12886677706</c:v>
                </c:pt>
                <c:pt idx="101">
                  <c:v>1046.69275483454</c:v>
                </c:pt>
                <c:pt idx="102">
                  <c:v>1060.1754511143299</c:v>
                </c:pt>
                <c:pt idx="103">
                  <c:v>1071.3415329130601</c:v>
                </c:pt>
                <c:pt idx="104">
                  <c:v>1086.1678655918799</c:v>
                </c:pt>
                <c:pt idx="105">
                  <c:v>1097.6119411226853</c:v>
                </c:pt>
                <c:pt idx="106">
                  <c:v>1122.3533837861</c:v>
                </c:pt>
                <c:pt idx="107">
                  <c:v>1137.0407195960499</c:v>
                </c:pt>
                <c:pt idx="108">
                  <c:v>1135.8360800659</c:v>
                </c:pt>
                <c:pt idx="109">
                  <c:v>1154.5543250728999</c:v>
                </c:pt>
                <c:pt idx="110">
                  <c:v>1161.3188393576099</c:v>
                </c:pt>
                <c:pt idx="111">
                  <c:v>1166.41539121595</c:v>
                </c:pt>
                <c:pt idx="112">
                  <c:v>1184.11432585128</c:v>
                </c:pt>
                <c:pt idx="113">
                  <c:v>1211.03338612125</c:v>
                </c:pt>
                <c:pt idx="114">
                  <c:v>1097.7509379972</c:v>
                </c:pt>
                <c:pt idx="115">
                  <c:v>970.93946130373502</c:v>
                </c:pt>
                <c:pt idx="116">
                  <c:v>918.027986556222</c:v>
                </c:pt>
                <c:pt idx="117">
                  <c:v>923.58786131077704</c:v>
                </c:pt>
                <c:pt idx="118">
                  <c:v>934.93927226799303</c:v>
                </c:pt>
                <c:pt idx="119">
                  <c:v>971.68077793767497</c:v>
                </c:pt>
                <c:pt idx="120">
                  <c:v>1005.96667225742</c:v>
                </c:pt>
                <c:pt idx="121">
                  <c:v>1149.1797794791667</c:v>
                </c:pt>
                <c:pt idx="122">
                  <c:v>1148.9017857391</c:v>
                </c:pt>
                <c:pt idx="123">
                  <c:v>1192.9174608793301</c:v>
                </c:pt>
                <c:pt idx="124">
                  <c:v>1227.8520072537799</c:v>
                </c:pt>
                <c:pt idx="125">
                  <c:v>1280.5781528428099</c:v>
                </c:pt>
                <c:pt idx="126">
                  <c:v>1341.4587814004631</c:v>
                </c:pt>
                <c:pt idx="127">
                  <c:v>1361.5206628112001</c:v>
                </c:pt>
                <c:pt idx="128">
                  <c:v>1455.4825461631699</c:v>
                </c:pt>
                <c:pt idx="129">
                  <c:v>1676.90455826331</c:v>
                </c:pt>
                <c:pt idx="130">
                  <c:v>1707.9935245992001</c:v>
                </c:pt>
                <c:pt idx="131">
                  <c:v>1686.4490099253001</c:v>
                </c:pt>
                <c:pt idx="132">
                  <c:v>1670.5570345852</c:v>
                </c:pt>
                <c:pt idx="133">
                  <c:v>1610.5567195256299</c:v>
                </c:pt>
                <c:pt idx="134">
                  <c:v>1555.0969688489399</c:v>
                </c:pt>
                <c:pt idx="135">
                  <c:v>1468.5482518363799</c:v>
                </c:pt>
                <c:pt idx="136">
                  <c:v>1386.26210546897</c:v>
                </c:pt>
                <c:pt idx="137">
                  <c:v>1358.74072543392</c:v>
                </c:pt>
                <c:pt idx="138">
                  <c:v>1336.3622295486111</c:v>
                </c:pt>
                <c:pt idx="139">
                  <c:v>1296.3774636036601</c:v>
                </c:pt>
                <c:pt idx="140">
                  <c:v>1264.7325097923199</c:v>
                </c:pt>
                <c:pt idx="141">
                  <c:v>1233.8288726157407</c:v>
                </c:pt>
                <c:pt idx="142">
                  <c:v>1190.3228526605301</c:v>
                </c:pt>
                <c:pt idx="143">
                  <c:v>1179.66642604764</c:v>
                </c:pt>
                <c:pt idx="144">
                  <c:v>1161.7358299642001</c:v>
                </c:pt>
                <c:pt idx="145">
                  <c:v>1158.58523426995</c:v>
                </c:pt>
                <c:pt idx="146">
                  <c:v>1148.5311274221301</c:v>
                </c:pt>
                <c:pt idx="147">
                  <c:v>1126.94028045861</c:v>
                </c:pt>
                <c:pt idx="148">
                  <c:v>1133.2878041367301</c:v>
                </c:pt>
                <c:pt idx="149">
                  <c:v>1136.0677415140001</c:v>
                </c:pt>
                <c:pt idx="150">
                  <c:v>1134.90943427347</c:v>
                </c:pt>
                <c:pt idx="151">
                  <c:v>1127.0329450378499</c:v>
                </c:pt>
                <c:pt idx="152">
                  <c:v>1118.97112664375</c:v>
                </c:pt>
                <c:pt idx="153">
                  <c:v>1119.11012351261</c:v>
                </c:pt>
                <c:pt idx="154">
                  <c:v>1128.2375845680101</c:v>
                </c:pt>
                <c:pt idx="155">
                  <c:v>1116.0985246872301</c:v>
                </c:pt>
                <c:pt idx="156">
                  <c:v>1127.9132585406601</c:v>
                </c:pt>
                <c:pt idx="157">
                  <c:v>1123.1410327096601</c:v>
                </c:pt>
                <c:pt idx="158">
                  <c:v>1128.7009074642201</c:v>
                </c:pt>
                <c:pt idx="159">
                  <c:v>1132.7318166612699</c:v>
                </c:pt>
                <c:pt idx="160">
                  <c:v>1113.5039164684399</c:v>
                </c:pt>
                <c:pt idx="161">
                  <c:v>1113.73557791654</c:v>
                </c:pt>
                <c:pt idx="162">
                  <c:v>1101.2258597187999</c:v>
                </c:pt>
                <c:pt idx="163">
                  <c:v>1076.7160785091301</c:v>
                </c:pt>
                <c:pt idx="164">
                  <c:v>1068.9322538527599</c:v>
                </c:pt>
                <c:pt idx="165">
                  <c:v>1068.19093721882</c:v>
                </c:pt>
                <c:pt idx="166">
                  <c:v>1065.5036644207801</c:v>
                </c:pt>
                <c:pt idx="167">
                  <c:v>1082.6002792910399</c:v>
                </c:pt>
                <c:pt idx="168">
                  <c:v>1078.98636070058</c:v>
                </c:pt>
                <c:pt idx="169">
                  <c:v>1084.5925677447501</c:v>
                </c:pt>
                <c:pt idx="170">
                  <c:v>1108.31470003085</c:v>
                </c:pt>
                <c:pt idx="171">
                  <c:v>1129.4422240981601</c:v>
                </c:pt>
                <c:pt idx="172">
                  <c:v>1138.2453591262099</c:v>
                </c:pt>
                <c:pt idx="173">
                  <c:v>1145.10253799016</c:v>
                </c:pt>
                <c:pt idx="174">
                  <c:v>1166.3690589263299</c:v>
                </c:pt>
                <c:pt idx="175">
                  <c:v>1197.4116929725899</c:v>
                </c:pt>
                <c:pt idx="176">
                  <c:v>1225.62805735196</c:v>
                </c:pt>
                <c:pt idx="177">
                  <c:v>1247.0799074466099</c:v>
                </c:pt>
                <c:pt idx="178">
                  <c:v>1276.17658532878</c:v>
                </c:pt>
                <c:pt idx="179">
                  <c:v>1284.93338806721</c:v>
                </c:pt>
                <c:pt idx="180">
                  <c:v>1285.2113818049299</c:v>
                </c:pt>
                <c:pt idx="181">
                  <c:v>1287.6206608652401</c:v>
                </c:pt>
                <c:pt idx="182">
                  <c:v>1314.4007242663499</c:v>
                </c:pt>
                <c:pt idx="183">
                  <c:v>1331.1266808196301</c:v>
                </c:pt>
                <c:pt idx="184">
                  <c:v>1336.2232326779699</c:v>
                </c:pt>
                <c:pt idx="185">
                  <c:v>1338.9568377656301</c:v>
                </c:pt>
                <c:pt idx="186">
                  <c:v>1339.2348315033601</c:v>
                </c:pt>
                <c:pt idx="187">
                  <c:v>1343.9143927551099</c:v>
                </c:pt>
                <c:pt idx="188">
                  <c:v>1331.82166516395</c:v>
                </c:pt>
                <c:pt idx="189">
                  <c:v>1295.21915636313</c:v>
                </c:pt>
                <c:pt idx="190">
                  <c:v>1293.69019080563</c:v>
                </c:pt>
                <c:pt idx="191">
                  <c:v>1283.12642877198</c:v>
                </c:pt>
                <c:pt idx="192">
                  <c:v>1266.6784659606481</c:v>
                </c:pt>
                <c:pt idx="193">
                  <c:v>1257.6436694802701</c:v>
                </c:pt>
                <c:pt idx="194">
                  <c:v>1246.7555814192599</c:v>
                </c:pt>
                <c:pt idx="195">
                  <c:v>1251.8521332776099</c:v>
                </c:pt>
                <c:pt idx="196">
                  <c:v>1254.49307378602</c:v>
                </c:pt>
                <c:pt idx="197">
                  <c:v>1236.8868037299301</c:v>
                </c:pt>
                <c:pt idx="198">
                  <c:v>1220.4851732039899</c:v>
                </c:pt>
                <c:pt idx="199">
                  <c:v>1193.2881191962999</c:v>
                </c:pt>
                <c:pt idx="200">
                  <c:v>1190.55451410864</c:v>
                </c:pt>
                <c:pt idx="201">
                  <c:v>1196.6703763386499</c:v>
                </c:pt>
                <c:pt idx="202">
                  <c:v>1171.6972722327801</c:v>
                </c:pt>
                <c:pt idx="203">
                  <c:v>1153.7203438597201</c:v>
                </c:pt>
                <c:pt idx="204">
                  <c:v>1110.8629759600201</c:v>
                </c:pt>
                <c:pt idx="205">
                  <c:v>1097.61194112833</c:v>
                </c:pt>
                <c:pt idx="206">
                  <c:v>1072.4535078587962</c:v>
                </c:pt>
                <c:pt idx="207">
                  <c:v>1054.6619086493999</c:v>
                </c:pt>
                <c:pt idx="208">
                  <c:v>1039.6502468121</c:v>
                </c:pt>
                <c:pt idx="209">
                  <c:v>1044.4688049327201</c:v>
                </c:pt>
                <c:pt idx="210">
                  <c:v>1017.64240924199</c:v>
                </c:pt>
                <c:pt idx="211">
                  <c:v>1006.75432118099</c:v>
                </c:pt>
                <c:pt idx="212">
                  <c:v>975.34102881775698</c:v>
                </c:pt>
                <c:pt idx="213">
                  <c:v>894.90817403519895</c:v>
                </c:pt>
                <c:pt idx="214">
                  <c:v>864.51419204363299</c:v>
                </c:pt>
                <c:pt idx="215">
                  <c:v>870.07406679818803</c:v>
                </c:pt>
                <c:pt idx="216">
                  <c:v>746.83017640555897</c:v>
                </c:pt>
                <c:pt idx="217">
                  <c:v>731.447856251291</c:v>
                </c:pt>
                <c:pt idx="218">
                  <c:v>745.39387542729901</c:v>
                </c:pt>
                <c:pt idx="219">
                  <c:v>739.97299754160804</c:v>
                </c:pt>
                <c:pt idx="220">
                  <c:v>789.78020888449396</c:v>
                </c:pt>
                <c:pt idx="221">
                  <c:v>806.50616543777903</c:v>
                </c:pt>
                <c:pt idx="222">
                  <c:v>796.26672943147503</c:v>
                </c:pt>
                <c:pt idx="223">
                  <c:v>889.02397325329503</c:v>
                </c:pt>
                <c:pt idx="224">
                  <c:v>878.18221748191399</c:v>
                </c:pt>
                <c:pt idx="225">
                  <c:v>836.85381513972402</c:v>
                </c:pt>
                <c:pt idx="226">
                  <c:v>816.93093060256899</c:v>
                </c:pt>
                <c:pt idx="227">
                  <c:v>802.24359479262102</c:v>
                </c:pt>
                <c:pt idx="228">
                  <c:v>786.90760692797403</c:v>
                </c:pt>
                <c:pt idx="229">
                  <c:v>787.78792043077897</c:v>
                </c:pt>
                <c:pt idx="230">
                  <c:v>770.41331182279498</c:v>
                </c:pt>
                <c:pt idx="231">
                  <c:v>749.47111691397197</c:v>
                </c:pt>
                <c:pt idx="232">
                  <c:v>733.90346760121895</c:v>
                </c:pt>
                <c:pt idx="233">
                  <c:v>723.33970556756503</c:v>
                </c:pt>
                <c:pt idx="234">
                  <c:v>706.61374901427996</c:v>
                </c:pt>
                <c:pt idx="235">
                  <c:v>704.62146056056497</c:v>
                </c:pt>
                <c:pt idx="236">
                  <c:v>696.46697758721803</c:v>
                </c:pt>
                <c:pt idx="237">
                  <c:v>688.26616232424999</c:v>
                </c:pt>
                <c:pt idx="238">
                  <c:v>672.69851301149595</c:v>
                </c:pt>
                <c:pt idx="239">
                  <c:v>665.74866956830294</c:v>
                </c:pt>
                <c:pt idx="240">
                  <c:v>660.79111457882505</c:v>
                </c:pt>
                <c:pt idx="241">
                  <c:v>663.84904569383002</c:v>
                </c:pt>
                <c:pt idx="242">
                  <c:v>662.55174158443401</c:v>
                </c:pt>
                <c:pt idx="243">
                  <c:v>662.96873219102599</c:v>
                </c:pt>
                <c:pt idx="244">
                  <c:v>656.48221164404504</c:v>
                </c:pt>
                <c:pt idx="245">
                  <c:v>653.56327739790402</c:v>
                </c:pt>
                <c:pt idx="246">
                  <c:v>644.85280694910205</c:v>
                </c:pt>
                <c:pt idx="247">
                  <c:v>629.09982847786296</c:v>
                </c:pt>
                <c:pt idx="248">
                  <c:v>612.23487505571404</c:v>
                </c:pt>
                <c:pt idx="249">
                  <c:v>605.93368366721904</c:v>
                </c:pt>
                <c:pt idx="250">
                  <c:v>601.57844844281794</c:v>
                </c:pt>
                <c:pt idx="251">
                  <c:v>596.11123826750497</c:v>
                </c:pt>
                <c:pt idx="252">
                  <c:v>578.69029737268522</c:v>
                </c:pt>
                <c:pt idx="253">
                  <c:v>568.31186449473205</c:v>
                </c:pt>
                <c:pt idx="254">
                  <c:v>567.01456038533604</c:v>
                </c:pt>
                <c:pt idx="255">
                  <c:v>562.93731889866206</c:v>
                </c:pt>
                <c:pt idx="256">
                  <c:v>560.06471694214304</c:v>
                </c:pt>
                <c:pt idx="257">
                  <c:v>558.30408993653396</c:v>
                </c:pt>
                <c:pt idx="258">
                  <c:v>547.41600187553104</c:v>
                </c:pt>
                <c:pt idx="259">
                  <c:v>537.68622105505995</c:v>
                </c:pt>
                <c:pt idx="260">
                  <c:v>528.83675373842595</c:v>
                </c:pt>
                <c:pt idx="261">
                  <c:v>521.23825823950199</c:v>
                </c:pt>
                <c:pt idx="262">
                  <c:v>511.27681597222221</c:v>
                </c:pt>
                <c:pt idx="263">
                  <c:v>511.60114199827399</c:v>
                </c:pt>
                <c:pt idx="264">
                  <c:v>509.33085980683097</c:v>
                </c:pt>
                <c:pt idx="265">
                  <c:v>493.90220736294202</c:v>
                </c:pt>
                <c:pt idx="266">
                  <c:v>488.34233260838698</c:v>
                </c:pt>
                <c:pt idx="267">
                  <c:v>469.99474591435182</c:v>
                </c:pt>
                <c:pt idx="268">
                  <c:v>456.37305276969698</c:v>
                </c:pt>
                <c:pt idx="269">
                  <c:v>445.80929073604398</c:v>
                </c:pt>
                <c:pt idx="270">
                  <c:v>435.43085786087499</c:v>
                </c:pt>
                <c:pt idx="271">
                  <c:v>430.380638292154</c:v>
                </c:pt>
                <c:pt idx="272">
                  <c:v>422.13349073956499</c:v>
                </c:pt>
                <c:pt idx="273">
                  <c:v>408.37280072204197</c:v>
                </c:pt>
                <c:pt idx="274">
                  <c:v>408.04847469469303</c:v>
                </c:pt>
                <c:pt idx="275">
                  <c:v>414.53499524167302</c:v>
                </c:pt>
                <c:pt idx="276">
                  <c:v>419.12189191418099</c:v>
                </c:pt>
                <c:pt idx="277">
                  <c:v>416.29562224728198</c:v>
                </c:pt>
                <c:pt idx="278">
                  <c:v>415.600637902963</c:v>
                </c:pt>
                <c:pt idx="279">
                  <c:v>414.76665668978001</c:v>
                </c:pt>
                <c:pt idx="280">
                  <c:v>414.395998372809</c:v>
                </c:pt>
                <c:pt idx="281">
                  <c:v>418.38057528024001</c:v>
                </c:pt>
                <c:pt idx="282">
                  <c:v>408.41913301166301</c:v>
                </c:pt>
                <c:pt idx="283">
                  <c:v>407.35349035037399</c:v>
                </c:pt>
                <c:pt idx="284">
                  <c:v>406.797502874918</c:v>
                </c:pt>
                <c:pt idx="285">
                  <c:v>404.66621755233899</c:v>
                </c:pt>
                <c:pt idx="286">
                  <c:v>398.41135845346503</c:v>
                </c:pt>
                <c:pt idx="287">
                  <c:v>396.14107626202201</c:v>
                </c:pt>
                <c:pt idx="288">
                  <c:v>390.95185982443701</c:v>
                </c:pt>
                <c:pt idx="289">
                  <c:v>394.51944612527598</c:v>
                </c:pt>
                <c:pt idx="290">
                  <c:v>391.41518272065002</c:v>
                </c:pt>
                <c:pt idx="291">
                  <c:v>394.19512009792697</c:v>
                </c:pt>
                <c:pt idx="292">
                  <c:v>391.87850561686298</c:v>
                </c:pt>
                <c:pt idx="293">
                  <c:v>389.09856823958597</c:v>
                </c:pt>
                <c:pt idx="294">
                  <c:v>386.68928917824076</c:v>
                </c:pt>
                <c:pt idx="295">
                  <c:v>380.341765501162</c:v>
                </c:pt>
                <c:pt idx="296">
                  <c:v>378.164147888961</c:v>
                </c:pt>
                <c:pt idx="297">
                  <c:v>372.97493145137702</c:v>
                </c:pt>
                <c:pt idx="298">
                  <c:v>369.222015992053</c:v>
                </c:pt>
                <c:pt idx="299">
                  <c:v>368.94402225432498</c:v>
                </c:pt>
                <c:pt idx="300">
                  <c:v>360.55787783287201</c:v>
                </c:pt>
                <c:pt idx="301">
                  <c:v>358.14859877256401</c:v>
                </c:pt>
                <c:pt idx="302">
                  <c:v>353.79336354816297</c:v>
                </c:pt>
                <c:pt idx="303">
                  <c:v>345.68521286443797</c:v>
                </c:pt>
                <c:pt idx="304">
                  <c:v>341.23731306079401</c:v>
                </c:pt>
                <c:pt idx="305">
                  <c:v>339.15236002783598</c:v>
                </c:pt>
                <c:pt idx="306">
                  <c:v>337.29906844298398</c:v>
                </c:pt>
                <c:pt idx="307">
                  <c:v>298.10195142337398</c:v>
                </c:pt>
                <c:pt idx="308">
                  <c:v>254.87392520671099</c:v>
                </c:pt>
                <c:pt idx="309">
                  <c:v>261.916433229147</c:v>
                </c:pt>
                <c:pt idx="310">
                  <c:v>272.20220152507301</c:v>
                </c:pt>
                <c:pt idx="311">
                  <c:v>272.80452129014998</c:v>
                </c:pt>
                <c:pt idx="312">
                  <c:v>278.50339291356801</c:v>
                </c:pt>
                <c:pt idx="313">
                  <c:v>280.44934907766299</c:v>
                </c:pt>
                <c:pt idx="314">
                  <c:v>314.36458508044598</c:v>
                </c:pt>
                <c:pt idx="315">
                  <c:v>349.252799165277</c:v>
                </c:pt>
                <c:pt idx="316">
                  <c:v>337.66972675995498</c:v>
                </c:pt>
                <c:pt idx="317">
                  <c:v>321.96308057833801</c:v>
                </c:pt>
                <c:pt idx="318">
                  <c:v>319.73913067651603</c:v>
                </c:pt>
                <c:pt idx="319">
                  <c:v>318.25649740863503</c:v>
                </c:pt>
                <c:pt idx="320">
                  <c:v>315.24489858325097</c:v>
                </c:pt>
                <c:pt idx="321">
                  <c:v>308.38771971929998</c:v>
                </c:pt>
                <c:pt idx="322">
                  <c:v>304.86646570808199</c:v>
                </c:pt>
                <c:pt idx="323">
                  <c:v>306.85875416666664</c:v>
                </c:pt>
                <c:pt idx="324">
                  <c:v>310.24101130415198</c:v>
                </c:pt>
                <c:pt idx="325">
                  <c:v>306.95141874104002</c:v>
                </c:pt>
                <c:pt idx="326">
                  <c:v>303.01317412322999</c:v>
                </c:pt>
                <c:pt idx="327">
                  <c:v>304.12514907414101</c:v>
                </c:pt>
                <c:pt idx="328">
                  <c:v>301.85486688269799</c:v>
                </c:pt>
                <c:pt idx="329">
                  <c:v>298.93593263655703</c:v>
                </c:pt>
                <c:pt idx="330">
                  <c:v>296.57298586587098</c:v>
                </c:pt>
                <c:pt idx="331">
                  <c:v>290.503455925482</c:v>
                </c:pt>
                <c:pt idx="332">
                  <c:v>290.04013302926899</c:v>
                </c:pt>
                <c:pt idx="333">
                  <c:v>292.44941208957601</c:v>
                </c:pt>
                <c:pt idx="334">
                  <c:v>290.41079134623999</c:v>
                </c:pt>
                <c:pt idx="335">
                  <c:v>287.35286023123501</c:v>
                </c:pt>
                <c:pt idx="336">
                  <c:v>285.12891032941297</c:v>
                </c:pt>
                <c:pt idx="337">
                  <c:v>285.26790719827699</c:v>
                </c:pt>
                <c:pt idx="338">
                  <c:v>285.684897804868</c:v>
                </c:pt>
                <c:pt idx="339">
                  <c:v>288.74282891987298</c:v>
                </c:pt>
                <c:pt idx="340">
                  <c:v>292.31041522071303</c:v>
                </c:pt>
                <c:pt idx="341">
                  <c:v>293.515054750866</c:v>
                </c:pt>
                <c:pt idx="342">
                  <c:v>297.96295455451002</c:v>
                </c:pt>
                <c:pt idx="343">
                  <c:v>304.58847197035402</c:v>
                </c:pt>
                <c:pt idx="344">
                  <c:v>302.41085435815398</c:v>
                </c:pt>
                <c:pt idx="345">
                  <c:v>305.42245318353702</c:v>
                </c:pt>
                <c:pt idx="346">
                  <c:v>310.61166962112202</c:v>
                </c:pt>
                <c:pt idx="347">
                  <c:v>308.341387429679</c:v>
                </c:pt>
                <c:pt idx="348">
                  <c:v>307.78539995422301</c:v>
                </c:pt>
                <c:pt idx="349">
                  <c:v>308.71204574664898</c:v>
                </c:pt>
                <c:pt idx="350">
                  <c:v>309.175368642862</c:v>
                </c:pt>
                <c:pt idx="351">
                  <c:v>318.48815885674099</c:v>
                </c:pt>
                <c:pt idx="352">
                  <c:v>320.52677960007799</c:v>
                </c:pt>
                <c:pt idx="353">
                  <c:v>318.53449114636197</c:v>
                </c:pt>
                <c:pt idx="354">
                  <c:v>317.42251619545101</c:v>
                </c:pt>
                <c:pt idx="355">
                  <c:v>318.44182656712002</c:v>
                </c:pt>
                <c:pt idx="356">
                  <c:v>322.00941286795899</c:v>
                </c:pt>
                <c:pt idx="357">
                  <c:v>320.01712441424399</c:v>
                </c:pt>
                <c:pt idx="358">
                  <c:v>315.75455376908502</c:v>
                </c:pt>
                <c:pt idx="359">
                  <c:v>320.01712441424399</c:v>
                </c:pt>
                <c:pt idx="360">
                  <c:v>327.52295533289202</c:v>
                </c:pt>
                <c:pt idx="361">
                  <c:v>330.21022813092702</c:v>
                </c:pt>
                <c:pt idx="362">
                  <c:v>334.287469617601</c:v>
                </c:pt>
                <c:pt idx="363">
                  <c:v>345.77787744367998</c:v>
                </c:pt>
                <c:pt idx="364">
                  <c:v>367.92471188265603</c:v>
                </c:pt>
                <c:pt idx="365">
                  <c:v>382.61204769260502</c:v>
                </c:pt>
                <c:pt idx="366">
                  <c:v>382.61204769260502</c:v>
                </c:pt>
                <c:pt idx="367">
                  <c:v>381.40740816245199</c:v>
                </c:pt>
                <c:pt idx="368">
                  <c:v>381.26841129358797</c:v>
                </c:pt>
                <c:pt idx="369">
                  <c:v>378.58113849555298</c:v>
                </c:pt>
                <c:pt idx="370">
                  <c:v>366.72007234953702</c:v>
                </c:pt>
                <c:pt idx="371">
                  <c:v>347.399507580425</c:v>
                </c:pt>
                <c:pt idx="372">
                  <c:v>340.21800268912602</c:v>
                </c:pt>
                <c:pt idx="373">
                  <c:v>345.45355141633098</c:v>
                </c:pt>
                <c:pt idx="374">
                  <c:v>350.225777247324</c:v>
                </c:pt>
                <c:pt idx="375">
                  <c:v>354.48834789248298</c:v>
                </c:pt>
                <c:pt idx="376">
                  <c:v>353.83969583778497</c:v>
                </c:pt>
                <c:pt idx="377">
                  <c:v>371.07530757690398</c:v>
                </c:pt>
                <c:pt idx="378">
                  <c:v>375.33787822206301</c:v>
                </c:pt>
                <c:pt idx="379">
                  <c:v>369.63900659864402</c:v>
                </c:pt>
                <c:pt idx="380">
                  <c:v>366.67374006288202</c:v>
                </c:pt>
                <c:pt idx="381">
                  <c:v>370.380323232585</c:v>
                </c:pt>
                <c:pt idx="382">
                  <c:v>366.30308174591102</c:v>
                </c:pt>
                <c:pt idx="383">
                  <c:v>365.51543282407408</c:v>
                </c:pt>
                <c:pt idx="384">
                  <c:v>362.27217254885898</c:v>
                </c:pt>
                <c:pt idx="385">
                  <c:v>363.66214123749802</c:v>
                </c:pt>
                <c:pt idx="386">
                  <c:v>375.52320738425925</c:v>
                </c:pt>
                <c:pt idx="387">
                  <c:v>382.61204769675925</c:v>
                </c:pt>
                <c:pt idx="388">
                  <c:v>388.58891305375101</c:v>
                </c:pt>
                <c:pt idx="389">
                  <c:v>391.36885043102899</c:v>
                </c:pt>
                <c:pt idx="390">
                  <c:v>393.82446178095699</c:v>
                </c:pt>
                <c:pt idx="391">
                  <c:v>399.38433653551198</c:v>
                </c:pt>
                <c:pt idx="392">
                  <c:v>374.318567850394</c:v>
                </c:pt>
                <c:pt idx="393">
                  <c:v>371.63129505235997</c:v>
                </c:pt>
                <c:pt idx="394">
                  <c:v>379.97110718419202</c:v>
                </c:pt>
                <c:pt idx="395">
                  <c:v>376.12552714562503</c:v>
                </c:pt>
                <c:pt idx="396">
                  <c:v>376.44985317297397</c:v>
                </c:pt>
                <c:pt idx="397">
                  <c:v>375.8012011226852</c:v>
                </c:pt>
                <c:pt idx="398">
                  <c:v>366.34941403553302</c:v>
                </c:pt>
                <c:pt idx="399">
                  <c:v>397.94803555725201</c:v>
                </c:pt>
                <c:pt idx="400">
                  <c:v>399.43066882513301</c:v>
                </c:pt>
                <c:pt idx="401">
                  <c:v>392.48082538194001</c:v>
                </c:pt>
                <c:pt idx="402">
                  <c:v>390.07154632163298</c:v>
                </c:pt>
                <c:pt idx="403">
                  <c:v>387.24527665473403</c:v>
                </c:pt>
                <c:pt idx="404">
                  <c:v>387.80126413194444</c:v>
                </c:pt>
                <c:pt idx="405">
                  <c:v>392.110167064969</c:v>
                </c:pt>
                <c:pt idx="406">
                  <c:v>389.79355258390501</c:v>
                </c:pt>
                <c:pt idx="407">
                  <c:v>414.21066921432401</c:v>
                </c:pt>
                <c:pt idx="408">
                  <c:v>420.23386686509201</c:v>
                </c:pt>
                <c:pt idx="409">
                  <c:v>433.76289543450798</c:v>
                </c:pt>
                <c:pt idx="410">
                  <c:v>444.78998036437503</c:v>
                </c:pt>
                <c:pt idx="411">
                  <c:v>451.46183006984103</c:v>
                </c:pt>
                <c:pt idx="412">
                  <c:v>464.75919719115097</c:v>
                </c:pt>
                <c:pt idx="413">
                  <c:v>499.415749827875</c:v>
                </c:pt>
                <c:pt idx="414">
                  <c:v>499.23042066939001</c:v>
                </c:pt>
                <c:pt idx="415">
                  <c:v>536.66691068287037</c:v>
                </c:pt>
                <c:pt idx="416">
                  <c:v>566.64390206836595</c:v>
                </c:pt>
                <c:pt idx="417">
                  <c:v>587.12277408097498</c:v>
                </c:pt>
                <c:pt idx="418">
                  <c:v>601.43945157395399</c:v>
                </c:pt>
                <c:pt idx="419">
                  <c:v>628.17318268543795</c:v>
                </c:pt>
                <c:pt idx="420">
                  <c:v>671.77186721907105</c:v>
                </c:pt>
                <c:pt idx="421">
                  <c:v>713.74892161595903</c:v>
                </c:pt>
                <c:pt idx="422">
                  <c:v>687.33951653182396</c:v>
                </c:pt>
                <c:pt idx="423">
                  <c:v>714.44390596027802</c:v>
                </c:pt>
                <c:pt idx="424">
                  <c:v>750.16610125829197</c:v>
                </c:pt>
                <c:pt idx="425">
                  <c:v>781.99638422811699</c:v>
                </c:pt>
                <c:pt idx="426">
                  <c:v>835.83450476805501</c:v>
                </c:pt>
                <c:pt idx="427">
                  <c:v>848.66854899315297</c:v>
                </c:pt>
                <c:pt idx="428">
                  <c:v>862.93889419650998</c:v>
                </c:pt>
                <c:pt idx="429">
                  <c:v>931.37168596715401</c:v>
                </c:pt>
                <c:pt idx="430">
                  <c:v>949.48761120907795</c:v>
                </c:pt>
                <c:pt idx="431">
                  <c:v>939.29450749239402</c:v>
                </c:pt>
                <c:pt idx="432">
                  <c:v>924.69983626168801</c:v>
                </c:pt>
                <c:pt idx="433">
                  <c:v>910.61482021681604</c:v>
                </c:pt>
                <c:pt idx="434">
                  <c:v>948.09764252043897</c:v>
                </c:pt>
                <c:pt idx="435">
                  <c:v>992.02065307870373</c:v>
                </c:pt>
                <c:pt idx="436">
                  <c:v>1015.88178223638</c:v>
                </c:pt>
                <c:pt idx="437">
                  <c:v>1050.9089931900801</c:v>
                </c:pt>
                <c:pt idx="438">
                  <c:v>1074.6311254761799</c:v>
                </c:pt>
                <c:pt idx="439">
                  <c:v>1086.7238530673301</c:v>
                </c:pt>
                <c:pt idx="440">
                  <c:v>1133.6584624536999</c:v>
                </c:pt>
                <c:pt idx="441">
                  <c:v>1174.4772096100501</c:v>
                </c:pt>
                <c:pt idx="442">
                  <c:v>1141.99827458553</c:v>
                </c:pt>
                <c:pt idx="443">
                  <c:v>1162.8014726254901</c:v>
                </c:pt>
                <c:pt idx="444">
                  <c:v>1226.7400323028701</c:v>
                </c:pt>
                <c:pt idx="445">
                  <c:v>1280.8561465805301</c:v>
                </c:pt>
                <c:pt idx="446">
                  <c:v>1306.5705673203499</c:v>
                </c:pt>
                <c:pt idx="447">
                  <c:v>1334.0919473553899</c:v>
                </c:pt>
                <c:pt idx="448">
                  <c:v>1377.78329646827</c:v>
                </c:pt>
                <c:pt idx="449">
                  <c:v>1522.71069840366</c:v>
                </c:pt>
                <c:pt idx="450">
                  <c:v>1599.0663116995499</c:v>
                </c:pt>
                <c:pt idx="451">
                  <c:v>1611.7613590557801</c:v>
                </c:pt>
                <c:pt idx="452">
                  <c:v>1636.13214339658</c:v>
                </c:pt>
                <c:pt idx="453">
                  <c:v>1667.9160940767799</c:v>
                </c:pt>
                <c:pt idx="454">
                  <c:v>1707.2522079652599</c:v>
                </c:pt>
                <c:pt idx="455">
                  <c:v>1745.56901148206</c:v>
                </c:pt>
                <c:pt idx="456">
                  <c:v>1745.8470052197899</c:v>
                </c:pt>
                <c:pt idx="457">
                  <c:v>1759.23703692034</c:v>
                </c:pt>
                <c:pt idx="458">
                  <c:v>1778.3259402430556</c:v>
                </c:pt>
                <c:pt idx="459">
                  <c:v>1780.64255472538</c:v>
                </c:pt>
                <c:pt idx="460">
                  <c:v>1756.82775786004</c:v>
                </c:pt>
                <c:pt idx="461">
                  <c:v>1752.8431809526101</c:v>
                </c:pt>
                <c:pt idx="462">
                  <c:v>1743.76205218683</c:v>
                </c:pt>
                <c:pt idx="463">
                  <c:v>1706.3255621728299</c:v>
                </c:pt>
                <c:pt idx="464">
                  <c:v>1678.5261884000599</c:v>
                </c:pt>
                <c:pt idx="465">
                  <c:v>1636.31747255506</c:v>
                </c:pt>
                <c:pt idx="466">
                  <c:v>1605.5991645361501</c:v>
                </c:pt>
                <c:pt idx="467">
                  <c:v>1589.9851829337699</c:v>
                </c:pt>
                <c:pt idx="468">
                  <c:v>1572.5642420361701</c:v>
                </c:pt>
                <c:pt idx="469">
                  <c:v>1537.62969566172</c:v>
                </c:pt>
                <c:pt idx="470">
                  <c:v>1507.1430490909099</c:v>
                </c:pt>
                <c:pt idx="471">
                  <c:v>1462.5250541856101</c:v>
                </c:pt>
                <c:pt idx="472">
                  <c:v>1434.16969293738</c:v>
                </c:pt>
                <c:pt idx="473">
                  <c:v>1401.0884381477799</c:v>
                </c:pt>
                <c:pt idx="474">
                  <c:v>1396.6405383441299</c:v>
                </c:pt>
                <c:pt idx="475">
                  <c:v>1381.16555361062</c:v>
                </c:pt>
                <c:pt idx="476">
                  <c:v>1365.31991056014</c:v>
                </c:pt>
                <c:pt idx="477">
                  <c:v>1379.4049266050199</c:v>
                </c:pt>
                <c:pt idx="478">
                  <c:v>1404.6096921589999</c:v>
                </c:pt>
                <c:pt idx="479">
                  <c:v>1242.53934306373</c:v>
                </c:pt>
                <c:pt idx="480">
                  <c:v>1158.77056342844</c:v>
                </c:pt>
                <c:pt idx="481">
                  <c:v>1136.5310644102201</c:v>
                </c:pt>
                <c:pt idx="482">
                  <c:v>1100.3918785056101</c:v>
                </c:pt>
                <c:pt idx="483">
                  <c:v>1052.3452941683399</c:v>
                </c:pt>
                <c:pt idx="484">
                  <c:v>981.03990044117597</c:v>
                </c:pt>
                <c:pt idx="485">
                  <c:v>913.53375446295695</c:v>
                </c:pt>
                <c:pt idx="486">
                  <c:v>1017.50341237313</c:v>
                </c:pt>
                <c:pt idx="487">
                  <c:v>1014.58447812698</c:v>
                </c:pt>
                <c:pt idx="488">
                  <c:v>1030.1984597293599</c:v>
                </c:pt>
                <c:pt idx="489">
                  <c:v>1077.92071803929</c:v>
                </c:pt>
                <c:pt idx="490">
                  <c:v>1124.0676785020901</c:v>
                </c:pt>
                <c:pt idx="491">
                  <c:v>1167.4347015876201</c:v>
                </c:pt>
                <c:pt idx="492">
                  <c:v>1188.09890275871</c:v>
                </c:pt>
                <c:pt idx="493">
                  <c:v>1221.73614502377</c:v>
                </c:pt>
                <c:pt idx="494">
                  <c:v>1284.47006517099</c:v>
                </c:pt>
                <c:pt idx="495">
                  <c:v>1284.9797203568301</c:v>
                </c:pt>
                <c:pt idx="496">
                  <c:v>1237.9987786808399</c:v>
                </c:pt>
                <c:pt idx="497">
                  <c:v>1208.71677164019</c:v>
                </c:pt>
                <c:pt idx="498">
                  <c:v>1173.50423152801</c:v>
                </c:pt>
                <c:pt idx="499">
                  <c:v>1143.4809078534099</c:v>
                </c:pt>
                <c:pt idx="500">
                  <c:v>1131.1565188141501</c:v>
                </c:pt>
                <c:pt idx="501">
                  <c:v>1153.3033532531199</c:v>
                </c:pt>
                <c:pt idx="502">
                  <c:v>1149.36510863531</c:v>
                </c:pt>
                <c:pt idx="503">
                  <c:v>957.64209418242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EOCK_pocet_pripadu_7dni_65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16" formatCode="#\ ##0.0">
                  <c:v>345.54621599557402</c:v>
                </c:pt>
                <c:pt idx="117" formatCode="#\ ##0.0">
                  <c:v>352.12540112179698</c:v>
                </c:pt>
                <c:pt idx="118" formatCode="#\ ##0.0">
                  <c:v>374.08690640228798</c:v>
                </c:pt>
                <c:pt idx="119" formatCode="#\ ##0.0">
                  <c:v>413.19135884265597</c:v>
                </c:pt>
                <c:pt idx="120" formatCode="#\ ##0.0">
                  <c:v>447.66258232089501</c:v>
                </c:pt>
                <c:pt idx="121" formatCode="#\ ##0.0">
                  <c:v>523.41587585170305</c:v>
                </c:pt>
                <c:pt idx="122" formatCode="#\ ##0.0">
                  <c:v>533.84064101649301</c:v>
                </c:pt>
                <c:pt idx="123" formatCode="#\ ##0.0">
                  <c:v>555.84847858660498</c:v>
                </c:pt>
                <c:pt idx="124" formatCode="#\ ##0.0">
                  <c:v>578.36597134255203</c:v>
                </c:pt>
                <c:pt idx="125" formatCode="#\ ##0.0">
                  <c:v>605.51669306062695</c:v>
                </c:pt>
                <c:pt idx="126" formatCode="#\ ##0.0">
                  <c:v>633.36239912302199</c:v>
                </c:pt>
                <c:pt idx="127" formatCode="#\ ##0.0">
                  <c:v>648.74471927728996</c:v>
                </c:pt>
                <c:pt idx="128" formatCode="#\ ##0.0">
                  <c:v>679.46302729620504</c:v>
                </c:pt>
                <c:pt idx="129" formatCode="#\ ##0.0">
                  <c:v>767.95770047286703</c:v>
                </c:pt>
                <c:pt idx="130" formatCode="#\ ##0.0">
                  <c:v>794.78409616359295</c:v>
                </c:pt>
                <c:pt idx="131" formatCode="#\ ##0.0">
                  <c:v>778.56779479614204</c:v>
                </c:pt>
                <c:pt idx="132" formatCode="#\ ##0.0">
                  <c:v>752.94603863556904</c:v>
                </c:pt>
                <c:pt idx="133" formatCode="#\ ##0.0">
                  <c:v>701.51719715593799</c:v>
                </c:pt>
                <c:pt idx="134" formatCode="#\ ##0.0">
                  <c:v>647.86440577448502</c:v>
                </c:pt>
                <c:pt idx="135" formatCode="#\ ##0.0">
                  <c:v>581.19224100944996</c:v>
                </c:pt>
                <c:pt idx="136" formatCode="#\ ##0.0">
                  <c:v>539.81750637763901</c:v>
                </c:pt>
                <c:pt idx="137" formatCode="#\ ##0.0">
                  <c:v>505.438947478643</c:v>
                </c:pt>
                <c:pt idx="138" formatCode="#\ ##0.0">
                  <c:v>491.261266854528</c:v>
                </c:pt>
                <c:pt idx="139" formatCode="#\ ##0.0">
                  <c:v>467.168476251458</c:v>
                </c:pt>
                <c:pt idx="140" formatCode="#\ ##0.0">
                  <c:v>447.15292713506102</c:v>
                </c:pt>
                <c:pt idx="141" formatCode="#\ ##0.0">
                  <c:v>423.06013653199102</c:v>
                </c:pt>
                <c:pt idx="142" formatCode="#\ ##0.0">
                  <c:v>414.76665668978001</c:v>
                </c:pt>
                <c:pt idx="143" formatCode="#\ ##0.0">
                  <c:v>401.144963541121</c:v>
                </c:pt>
                <c:pt idx="144" formatCode="#\ ##0.0">
                  <c:v>391.92501949431897</c:v>
                </c:pt>
                <c:pt idx="145" formatCode="#\ ##0.0">
                  <c:v>387.47711762986103</c:v>
                </c:pt>
                <c:pt idx="146" formatCode="#\ ##0.0">
                  <c:v>382.704889587786</c:v>
                </c:pt>
                <c:pt idx="147" formatCode="#\ ##0.0">
                  <c:v>374.22625004633198</c:v>
                </c:pt>
                <c:pt idx="148" formatCode="#\ ##0.0">
                  <c:v>372.28029207902398</c:v>
                </c:pt>
                <c:pt idx="149" formatCode="#\ ##0.0">
                  <c:v>372.28063705162998</c:v>
                </c:pt>
                <c:pt idx="150" formatCode="#\ ##0.0">
                  <c:v>365.56244260576898</c:v>
                </c:pt>
                <c:pt idx="151" formatCode="#\ ##0.0">
                  <c:v>362.87516482742501</c:v>
                </c:pt>
                <c:pt idx="152" formatCode="#\ ##0.0">
                  <c:v>364.64508727620301</c:v>
                </c:pt>
                <c:pt idx="153" formatCode="#\ ##0.0">
                  <c:v>363.118537627671</c:v>
                </c:pt>
                <c:pt idx="154" formatCode="#\ ##0.0">
                  <c:v>364.51909113116301</c:v>
                </c:pt>
                <c:pt idx="155" formatCode="#\ ##0.0">
                  <c:v>363.99225931121902</c:v>
                </c:pt>
                <c:pt idx="156" formatCode="#\ ##0.0">
                  <c:v>364.07744481806299</c:v>
                </c:pt>
                <c:pt idx="157" formatCode="#\ ##0.0">
                  <c:v>367.773216872587</c:v>
                </c:pt>
                <c:pt idx="158" formatCode="#\ ##0.0">
                  <c:v>372.70347049674302</c:v>
                </c:pt>
                <c:pt idx="159" formatCode="#\ ##0.0">
                  <c:v>372.67057701796699</c:v>
                </c:pt>
                <c:pt idx="160" formatCode="#\ ##0.0">
                  <c:v>368.91589098011298</c:v>
                </c:pt>
                <c:pt idx="161" formatCode="#\ ##0.0">
                  <c:v>370.13310225721301</c:v>
                </c:pt>
                <c:pt idx="162" formatCode="#\ ##0.0">
                  <c:v>367.923731683847</c:v>
                </c:pt>
                <c:pt idx="163" formatCode="#\ ##0.0">
                  <c:v>370.81114299320501</c:v>
                </c:pt>
                <c:pt idx="164" formatCode="#\ ##0.0">
                  <c:v>367.126120013319</c:v>
                </c:pt>
                <c:pt idx="165" formatCode="#\ ##0.0">
                  <c:v>365.12946280310302</c:v>
                </c:pt>
                <c:pt idx="166" formatCode="#\ ##0.0">
                  <c:v>365.55419390863699</c:v>
                </c:pt>
                <c:pt idx="167" formatCode="#\ ##0.0">
                  <c:v>374.19756701855101</c:v>
                </c:pt>
                <c:pt idx="168" formatCode="#\ ##0.0">
                  <c:v>388.24254177888002</c:v>
                </c:pt>
                <c:pt idx="169" formatCode="#\ ##0.0">
                  <c:v>392.113017248407</c:v>
                </c:pt>
                <c:pt idx="170" formatCode="#\ ##0.0">
                  <c:v>402.54339111660801</c:v>
                </c:pt>
                <c:pt idx="171" formatCode="#\ ##0.0">
                  <c:v>420.97689065814399</c:v>
                </c:pt>
                <c:pt idx="172" formatCode="#\ ##0.0">
                  <c:v>431.284967392986</c:v>
                </c:pt>
                <c:pt idx="173" formatCode="#\ ##0.0">
                  <c:v>437.50438627272001</c:v>
                </c:pt>
                <c:pt idx="174" formatCode="#\ ##0.0">
                  <c:v>453.59012858832301</c:v>
                </c:pt>
                <c:pt idx="175" formatCode="#\ ##0.0">
                  <c:v>471.13670488333503</c:v>
                </c:pt>
                <c:pt idx="176" formatCode="#\ ##0.0">
                  <c:v>494.39820455637198</c:v>
                </c:pt>
                <c:pt idx="177" formatCode="#\ ##0.0">
                  <c:v>515.87154841113795</c:v>
                </c:pt>
                <c:pt idx="178" formatCode="#\ ##0.0">
                  <c:v>535.56785811904103</c:v>
                </c:pt>
                <c:pt idx="179" formatCode="#\ ##0.0">
                  <c:v>541.25534629091806</c:v>
                </c:pt>
                <c:pt idx="180" formatCode="#\ ##0.0">
                  <c:v>545.00695687595396</c:v>
                </c:pt>
                <c:pt idx="181" formatCode="#\ ##0.0">
                  <c:v>556.804325852989</c:v>
                </c:pt>
                <c:pt idx="182" formatCode="#\ ##0.0">
                  <c:v>571.11496704995204</c:v>
                </c:pt>
                <c:pt idx="183" formatCode="#\ ##0.0">
                  <c:v>584.02550993415696</c:v>
                </c:pt>
                <c:pt idx="184" formatCode="#\ ##0.0">
                  <c:v>587.56627416834499</c:v>
                </c:pt>
                <c:pt idx="185" formatCode="#\ ##0.0">
                  <c:v>578.82860786814399</c:v>
                </c:pt>
                <c:pt idx="186" formatCode="#\ ##0.0">
                  <c:v>591.65017015502997</c:v>
                </c:pt>
                <c:pt idx="187" formatCode="#\ ##0.0">
                  <c:v>591.28203664565103</c:v>
                </c:pt>
                <c:pt idx="188" formatCode="#\ ##0.0">
                  <c:v>577.65922226137798</c:v>
                </c:pt>
                <c:pt idx="189" formatCode="#\ ##0.0">
                  <c:v>559.99175925358998</c:v>
                </c:pt>
                <c:pt idx="190" formatCode="#\ ##0.0">
                  <c:v>554.24226858084603</c:v>
                </c:pt>
                <c:pt idx="191" formatCode="#\ ##0.0">
                  <c:v>533.99426932979202</c:v>
                </c:pt>
                <c:pt idx="192" formatCode="#\ ##0.0">
                  <c:v>552.94945467339005</c:v>
                </c:pt>
                <c:pt idx="193" formatCode="#\ ##0.0">
                  <c:v>537.49093347565997</c:v>
                </c:pt>
                <c:pt idx="194" formatCode="#\ ##0.0">
                  <c:v>532.58293925748296</c:v>
                </c:pt>
                <c:pt idx="195" formatCode="#\ ##0.0">
                  <c:v>537.09415079849396</c:v>
                </c:pt>
                <c:pt idx="196" formatCode="#\ ##0.0">
                  <c:v>540.53020966005397</c:v>
                </c:pt>
                <c:pt idx="197" formatCode="#\ ##0.0">
                  <c:v>529.91975627028296</c:v>
                </c:pt>
                <c:pt idx="198" formatCode="#\ ##0.0">
                  <c:v>529.30131047296902</c:v>
                </c:pt>
                <c:pt idx="199" formatCode="#\ ##0.0">
                  <c:v>489.69879387541602</c:v>
                </c:pt>
                <c:pt idx="200" formatCode="#\ ##0.0">
                  <c:v>482.59485875873202</c:v>
                </c:pt>
                <c:pt idx="201" formatCode="#\ ##0.0">
                  <c:v>477.65324995921799</c:v>
                </c:pt>
                <c:pt idx="202" formatCode="#\ ##0.0">
                  <c:v>457.79864659850102</c:v>
                </c:pt>
                <c:pt idx="203" formatCode="#\ ##0.0">
                  <c:v>437.65852442030598</c:v>
                </c:pt>
                <c:pt idx="204" formatCode="#\ ##0.0">
                  <c:v>415.33861627522299</c:v>
                </c:pt>
                <c:pt idx="205" formatCode="#\ ##0.0">
                  <c:v>401.627194293184</c:v>
                </c:pt>
                <c:pt idx="206" formatCode="#\ ##0.0">
                  <c:v>390.43628050984501</c:v>
                </c:pt>
                <c:pt idx="207" formatCode="#\ ##0.0">
                  <c:v>380.26967570075198</c:v>
                </c:pt>
                <c:pt idx="208" formatCode="#\ ##0.0">
                  <c:v>374.92302425596699</c:v>
                </c:pt>
                <c:pt idx="209" formatCode="#\ ##0.0">
                  <c:v>371.50903144361899</c:v>
                </c:pt>
                <c:pt idx="210" formatCode="#\ ##0.0">
                  <c:v>356.66137218654302</c:v>
                </c:pt>
                <c:pt idx="211" formatCode="#\ ##0.0">
                  <c:v>351.61155295102498</c:v>
                </c:pt>
                <c:pt idx="212" formatCode="#\ ##0.0">
                  <c:v>337.57582665298901</c:v>
                </c:pt>
                <c:pt idx="213" formatCode="#\ ##0.0">
                  <c:v>307.52317112274898</c:v>
                </c:pt>
                <c:pt idx="214" formatCode="#\ ##0.0">
                  <c:v>294.46881513613499</c:v>
                </c:pt>
                <c:pt idx="215" formatCode="#\ ##0.0">
                  <c:v>294.60275519836199</c:v>
                </c:pt>
                <c:pt idx="216" formatCode="#\ ##0.0">
                  <c:v>254.00854029519999</c:v>
                </c:pt>
                <c:pt idx="217" formatCode="#\ ##0.0">
                  <c:v>230.33304246206501</c:v>
                </c:pt>
                <c:pt idx="218" formatCode="#\ ##0.0">
                  <c:v>220.20139930938399</c:v>
                </c:pt>
                <c:pt idx="219" formatCode="#\ ##0.0">
                  <c:v>210.84996390552101</c:v>
                </c:pt>
                <c:pt idx="220" formatCode="#\ ##0.0">
                  <c:v>220.369777978494</c:v>
                </c:pt>
                <c:pt idx="221" formatCode="#\ ##0.0">
                  <c:v>220.073672057241</c:v>
                </c:pt>
                <c:pt idx="222" formatCode="#\ ##0.0">
                  <c:v>213.684625614048</c:v>
                </c:pt>
                <c:pt idx="223" formatCode="#\ ##0.0">
                  <c:v>229.96262513293399</c:v>
                </c:pt>
                <c:pt idx="224" formatCode="#\ ##0.0">
                  <c:v>225.36646651230799</c:v>
                </c:pt>
                <c:pt idx="225" formatCode="#\ ##0.0">
                  <c:v>205.85170943384</c:v>
                </c:pt>
                <c:pt idx="226" formatCode="#\ ##0.0">
                  <c:v>191.63583215156899</c:v>
                </c:pt>
                <c:pt idx="227" formatCode="#\ ##0.0">
                  <c:v>181.49702282636201</c:v>
                </c:pt>
                <c:pt idx="228" formatCode="#\ ##0.0">
                  <c:v>175.70925135249499</c:v>
                </c:pt>
                <c:pt idx="229" formatCode="#\ ##0.0">
                  <c:v>172.938054732914</c:v>
                </c:pt>
                <c:pt idx="230" formatCode="#\ ##0.0">
                  <c:v>167.44792485360699</c:v>
                </c:pt>
                <c:pt idx="231" formatCode="#\ ##0.0">
                  <c:v>157.57991134736901</c:v>
                </c:pt>
                <c:pt idx="232" formatCode="#\ ##0.0">
                  <c:v>149.722381557798</c:v>
                </c:pt>
                <c:pt idx="233" formatCode="#\ ##0.0">
                  <c:v>147.59500930861299</c:v>
                </c:pt>
                <c:pt idx="234" formatCode="#\ ##0.0">
                  <c:v>138.87306207907801</c:v>
                </c:pt>
                <c:pt idx="235" formatCode="#\ ##0.0">
                  <c:v>134.75137039710501</c:v>
                </c:pt>
                <c:pt idx="236" formatCode="#\ ##0.0">
                  <c:v>134.176016124396</c:v>
                </c:pt>
                <c:pt idx="237" formatCode="#\ ##0.0">
                  <c:v>129.66240731049001</c:v>
                </c:pt>
                <c:pt idx="238" formatCode="#\ ##0.0">
                  <c:v>124.477284529523</c:v>
                </c:pt>
                <c:pt idx="239" formatCode="#\ ##0.0">
                  <c:v>121.250594380392</c:v>
                </c:pt>
                <c:pt idx="240" formatCode="#\ ##0.0">
                  <c:v>116.707392683905</c:v>
                </c:pt>
                <c:pt idx="241" formatCode="#\ ##0.0">
                  <c:v>116.208938025785</c:v>
                </c:pt>
                <c:pt idx="242" formatCode="#\ ##0.0">
                  <c:v>117.47524276985401</c:v>
                </c:pt>
                <c:pt idx="243" formatCode="#\ ##0.0">
                  <c:v>115.635256535644</c:v>
                </c:pt>
                <c:pt idx="244" formatCode="#\ ##0.0">
                  <c:v>111.993420774748</c:v>
                </c:pt>
                <c:pt idx="245" formatCode="#\ ##0.0">
                  <c:v>108.572879545394</c:v>
                </c:pt>
                <c:pt idx="246" formatCode="#\ ##0.0">
                  <c:v>104.31222195728201</c:v>
                </c:pt>
                <c:pt idx="247" formatCode="#\ ##0.0">
                  <c:v>99.451811479905999</c:v>
                </c:pt>
                <c:pt idx="248" formatCode="#\ ##0.0">
                  <c:v>91.869194554014001</c:v>
                </c:pt>
                <c:pt idx="249" formatCode="#\ ##0.0">
                  <c:v>87.110624754084</c:v>
                </c:pt>
                <c:pt idx="250" formatCode="#\ ##0.0">
                  <c:v>85.323632666432999</c:v>
                </c:pt>
                <c:pt idx="251" formatCode="#\ ##0.0">
                  <c:v>80.397232797713997</c:v>
                </c:pt>
                <c:pt idx="252" formatCode="#\ ##0.0">
                  <c:v>72.872831115926004</c:v>
                </c:pt>
                <c:pt idx="253" formatCode="#\ ##0.0">
                  <c:v>65.965409267135996</c:v>
                </c:pt>
                <c:pt idx="254" formatCode="#\ ##0.0">
                  <c:v>62.794184893698997</c:v>
                </c:pt>
                <c:pt idx="255" formatCode="#\ ##0.0">
                  <c:v>60.265888918592999</c:v>
                </c:pt>
                <c:pt idx="256" formatCode="#\ ##0.0">
                  <c:v>58.780751071373999</c:v>
                </c:pt>
                <c:pt idx="257" formatCode="#\ ##0.0">
                  <c:v>57.390538684890998</c:v>
                </c:pt>
                <c:pt idx="258" formatCode="#\ ##0.0">
                  <c:v>51.469202837895999</c:v>
                </c:pt>
                <c:pt idx="259" formatCode="#\ ##0.0">
                  <c:v>48.692709469249003</c:v>
                </c:pt>
                <c:pt idx="260" formatCode="#\ ##0.0">
                  <c:v>45.848585872150998</c:v>
                </c:pt>
                <c:pt idx="261" formatCode="#\ ##0.0">
                  <c:v>41.672620689425003</c:v>
                </c:pt>
                <c:pt idx="262" formatCode="#\ ##0.0">
                  <c:v>38.094246901422999</c:v>
                </c:pt>
                <c:pt idx="263" formatCode="#\ ##0.0">
                  <c:v>35.717337663031003</c:v>
                </c:pt>
                <c:pt idx="264" formatCode="#\ ##0.0">
                  <c:v>35.196992961268997</c:v>
                </c:pt>
                <c:pt idx="265" formatCode="#\ ##0.0">
                  <c:v>32.086858254460999</c:v>
                </c:pt>
                <c:pt idx="266" formatCode="#\ ##0.0">
                  <c:v>28.585303253073999</c:v>
                </c:pt>
                <c:pt idx="267" formatCode="#\ ##0.0">
                  <c:v>26.676103478969001</c:v>
                </c:pt>
                <c:pt idx="268" formatCode="#\ ##0.0">
                  <c:v>24.071452206979</c:v>
                </c:pt>
                <c:pt idx="269" formatCode="#\ ##0.0">
                  <c:v>23.121135710186</c:v>
                </c:pt>
                <c:pt idx="270" formatCode="#\ ##0.0">
                  <c:v>22.391127396666999</c:v>
                </c:pt>
                <c:pt idx="271" formatCode="#\ ##0.0">
                  <c:v>21.723452953060999</c:v>
                </c:pt>
                <c:pt idx="272" formatCode="#\ ##0.0">
                  <c:v>20.622625751923</c:v>
                </c:pt>
                <c:pt idx="273" formatCode="#\ ##0.0">
                  <c:v>18.202112131879002</c:v>
                </c:pt>
                <c:pt idx="274" formatCode="#\ ##0.0">
                  <c:v>17.008249000765002</c:v>
                </c:pt>
                <c:pt idx="275" formatCode="#\ ##0.0">
                  <c:v>16.808099823304001</c:v>
                </c:pt>
                <c:pt idx="276" formatCode="#\ ##0.0">
                  <c:v>15.165076105296</c:v>
                </c:pt>
                <c:pt idx="277" formatCode="#\ ##0.0">
                  <c:v>14.526313990548999</c:v>
                </c:pt>
                <c:pt idx="278" formatCode="#\ ##0.0">
                  <c:v>14.159899593439</c:v>
                </c:pt>
                <c:pt idx="279" formatCode="#\ ##0.0">
                  <c:v>12.934805672711001</c:v>
                </c:pt>
                <c:pt idx="280" formatCode="#\ ##0.0">
                  <c:v>11.740477844832</c:v>
                </c:pt>
                <c:pt idx="281" formatCode="#\ ##0.0">
                  <c:v>10.900452556718999</c:v>
                </c:pt>
                <c:pt idx="282" formatCode="#\ ##0.0">
                  <c:v>9.6858926510979995</c:v>
                </c:pt>
                <c:pt idx="283" formatCode="#\ ##0.0">
                  <c:v>8.2338604572380003</c:v>
                </c:pt>
                <c:pt idx="284" formatCode="#\ ##0.0">
                  <c:v>7.7429223369080002</c:v>
                </c:pt>
                <c:pt idx="285" formatCode="#\ ##0.0">
                  <c:v>7.952450706734</c:v>
                </c:pt>
                <c:pt idx="286" formatCode="#\ ##0.0">
                  <c:v>7.083819497765</c:v>
                </c:pt>
                <c:pt idx="287" formatCode="#\ ##0.0">
                  <c:v>7.0168052485699999</c:v>
                </c:pt>
                <c:pt idx="288" formatCode="#\ ##0.0">
                  <c:v>7.2379537615379999</c:v>
                </c:pt>
                <c:pt idx="289" formatCode="#\ ##0.0">
                  <c:v>6.3434656050139999</c:v>
                </c:pt>
                <c:pt idx="290" formatCode="#\ ##0.0">
                  <c:v>7.461648508453</c:v>
                </c:pt>
                <c:pt idx="291" formatCode="#\ ##0.0">
                  <c:v>7.5477886842800004</c:v>
                </c:pt>
                <c:pt idx="292" formatCode="#\ ##0.0">
                  <c:v>7.3290705704920001</c:v>
                </c:pt>
                <c:pt idx="293" formatCode="#\ ##0.0">
                  <c:v>7.0982879512880004</c:v>
                </c:pt>
                <c:pt idx="294" formatCode="#\ ##0.0">
                  <c:v>7.1407235463849998</c:v>
                </c:pt>
                <c:pt idx="295" formatCode="#\ ##0.0">
                  <c:v>5.9604851207460001</c:v>
                </c:pt>
                <c:pt idx="296" formatCode="#\ ##0.0">
                  <c:v>5.7647795896340002</c:v>
                </c:pt>
                <c:pt idx="297" formatCode="#\ ##0.0">
                  <c:v>4.1570698275369997</c:v>
                </c:pt>
                <c:pt idx="298" formatCode="#\ ##0.0">
                  <c:v>4.5307912573850002</c:v>
                </c:pt>
                <c:pt idx="299" formatCode="#\ ##0.0">
                  <c:v>4.2230018923610002</c:v>
                </c:pt>
                <c:pt idx="300" formatCode="#\ ##0.0">
                  <c:v>3.7652152938330001</c:v>
                </c:pt>
                <c:pt idx="301" formatCode="#\ ##0.0">
                  <c:v>2.4285696938779999</c:v>
                </c:pt>
                <c:pt idx="302" formatCode="#\ ##0.0">
                  <c:v>2.005874705543</c:v>
                </c:pt>
                <c:pt idx="303" formatCode="#\ ##0.0">
                  <c:v>2.2004677935650001</c:v>
                </c:pt>
                <c:pt idx="304" formatCode="#\ ##0.0">
                  <c:v>2.3898923486260002</c:v>
                </c:pt>
                <c:pt idx="305" formatCode="#\ ##0.0">
                  <c:v>2.2751484199759999</c:v>
                </c:pt>
                <c:pt idx="306" formatCode="#\ ##0.0">
                  <c:v>2.9618420503479999</c:v>
                </c:pt>
                <c:pt idx="307" formatCode="#\ ##0.0">
                  <c:v>2.4846092261820001</c:v>
                </c:pt>
                <c:pt idx="308" formatCode="#\ ##0.0">
                  <c:v>2.1322689046960002</c:v>
                </c:pt>
                <c:pt idx="309" formatCode="#\ ##0.0">
                  <c:v>3.218308076929</c:v>
                </c:pt>
                <c:pt idx="310" formatCode="#\ ##0.0">
                  <c:v>3.6122980687749999</c:v>
                </c:pt>
                <c:pt idx="311" formatCode="#\ ##0.0">
                  <c:v>4.3053012096350001</c:v>
                </c:pt>
                <c:pt idx="312" formatCode="#\ ##0.0">
                  <c:v>4.4909020518769998</c:v>
                </c:pt>
                <c:pt idx="313" formatCode="#\ ##0.0">
                  <c:v>3.8907175261260001</c:v>
                </c:pt>
                <c:pt idx="314" formatCode="#\ ##0.0">
                  <c:v>5.7352786548849997</c:v>
                </c:pt>
                <c:pt idx="315" formatCode="#\ ##0.0">
                  <c:v>7.2059914543490002</c:v>
                </c:pt>
                <c:pt idx="316" formatCode="#\ ##0.0">
                  <c:v>7.4025097872950001</c:v>
                </c:pt>
                <c:pt idx="317" formatCode="#\ ##0.0">
                  <c:v>7.4402187078240001</c:v>
                </c:pt>
                <c:pt idx="318" formatCode="#\ ##0.0">
                  <c:v>7.4273840576500003</c:v>
                </c:pt>
                <c:pt idx="319" formatCode="#\ ##0.0">
                  <c:v>7.4690434822810001</c:v>
                </c:pt>
                <c:pt idx="320" formatCode="#\ ##0.0">
                  <c:v>7.6723376542270003</c:v>
                </c:pt>
                <c:pt idx="321" formatCode="#\ ##0.0">
                  <c:v>6.4450754252850002</c:v>
                </c:pt>
                <c:pt idx="322" formatCode="#\ ##0.0">
                  <c:v>5.5720720558780004</c:v>
                </c:pt>
                <c:pt idx="323" formatCode="#\ ##0.0">
                  <c:v>5.5143409627300004</c:v>
                </c:pt>
                <c:pt idx="324" formatCode="#\ ##0.0">
                  <c:v>5.4504106602510003</c:v>
                </c:pt>
                <c:pt idx="325" formatCode="#\ ##0.0">
                  <c:v>6.3092206391810004</c:v>
                </c:pt>
                <c:pt idx="326" formatCode="#\ ##0.0">
                  <c:v>6.3317855635280003</c:v>
                </c:pt>
                <c:pt idx="327" formatCode="#\ ##0.0">
                  <c:v>5.965071619343</c:v>
                </c:pt>
                <c:pt idx="328" formatCode="#\ ##0.0">
                  <c:v>6.266437158405</c:v>
                </c:pt>
                <c:pt idx="329" formatCode="#\ ##0.0">
                  <c:v>6.3948329749559996</c:v>
                </c:pt>
                <c:pt idx="330" formatCode="#\ ##0.0">
                  <c:v>5.7125253238280003</c:v>
                </c:pt>
                <c:pt idx="331" formatCode="#\ ##0.0">
                  <c:v>7.0811942225779996</c:v>
                </c:pt>
                <c:pt idx="332" formatCode="#\ ##0.0">
                  <c:v>5.7087642216940004</c:v>
                </c:pt>
                <c:pt idx="333" formatCode="#\ ##0.0">
                  <c:v>5.3034192204390003</c:v>
                </c:pt>
                <c:pt idx="334" formatCode="#\ ##0.0">
                  <c:v>5.9536719271610004</c:v>
                </c:pt>
                <c:pt idx="335" formatCode="#\ ##0.0">
                  <c:v>5.819442109483</c:v>
                </c:pt>
                <c:pt idx="336" formatCode="#\ ##0.0">
                  <c:v>6.3563315637890003</c:v>
                </c:pt>
                <c:pt idx="337" formatCode="#\ ##0.0">
                  <c:v>7.1266630736399996</c:v>
                </c:pt>
                <c:pt idx="338" formatCode="#\ ##0.0">
                  <c:v>5.6496281414749996</c:v>
                </c:pt>
                <c:pt idx="339" formatCode="#\ ##0.0">
                  <c:v>6.3878958499199996</c:v>
                </c:pt>
                <c:pt idx="340" formatCode="#\ ##0.0">
                  <c:v>6.4066775885259997</c:v>
                </c:pt>
                <c:pt idx="341" formatCode="#\ ##0.0">
                  <c:v>5.7280723661749997</c:v>
                </c:pt>
                <c:pt idx="342" formatCode="#\ ##0.0">
                  <c:v>6.2464285466409999</c:v>
                </c:pt>
                <c:pt idx="343" formatCode="#\ ##0.0">
                  <c:v>6.3204022584899997</c:v>
                </c:pt>
                <c:pt idx="344" formatCode="#\ ##0.0">
                  <c:v>6.6312997347479996</c:v>
                </c:pt>
                <c:pt idx="345" formatCode="#\ ##0.0">
                  <c:v>6.7043065592059996</c:v>
                </c:pt>
                <c:pt idx="346" formatCode="#\ ##0.0">
                  <c:v>6.0321343863020003</c:v>
                </c:pt>
                <c:pt idx="347" formatCode="#\ ##0.0">
                  <c:v>6.5285988901380003</c:v>
                </c:pt>
                <c:pt idx="348" formatCode="#\ ##0.0">
                  <c:v>7.2627970483990003</c:v>
                </c:pt>
                <c:pt idx="349" formatCode="#\ ##0.0">
                  <c:v>7.5602011501259998</c:v>
                </c:pt>
                <c:pt idx="350" formatCode="#\ ##0.0">
                  <c:v>8.3663681841780004</c:v>
                </c:pt>
                <c:pt idx="351" formatCode="#\ ##0.0">
                  <c:v>8.1888700848159992</c:v>
                </c:pt>
                <c:pt idx="352" formatCode="#\ ##0.0">
                  <c:v>8.2623108431559995</c:v>
                </c:pt>
                <c:pt idx="353" formatCode="#\ ##0.0">
                  <c:v>8.573409821597</c:v>
                </c:pt>
                <c:pt idx="354" formatCode="#\ ##0.0">
                  <c:v>9.0987901136589997</c:v>
                </c:pt>
                <c:pt idx="355" formatCode="#\ ##0.0">
                  <c:v>9.1136010369249991</c:v>
                </c:pt>
                <c:pt idx="356" formatCode="#\ ##0.0">
                  <c:v>8.6733587581790008</c:v>
                </c:pt>
                <c:pt idx="357" formatCode="#\ ##0.0">
                  <c:v>8.2378684515380005</c:v>
                </c:pt>
                <c:pt idx="358" formatCode="#\ ##0.0">
                  <c:v>8.5721187939799997</c:v>
                </c:pt>
                <c:pt idx="359" formatCode="#\ ##0.0">
                  <c:v>8.6467790747940008</c:v>
                </c:pt>
                <c:pt idx="360" formatCode="#\ ##0.0">
                  <c:v>8.4466147551800006</c:v>
                </c:pt>
                <c:pt idx="361" formatCode="#\ ##0.0">
                  <c:v>7.401454914566</c:v>
                </c:pt>
                <c:pt idx="362" formatCode="#\ ##0.0">
                  <c:v>7.1455981791949998</c:v>
                </c:pt>
                <c:pt idx="363" formatCode="#\ ##0.0">
                  <c:v>7.4564066511140004</c:v>
                </c:pt>
                <c:pt idx="364" formatCode="#\ ##0.0">
                  <c:v>7.7718193829170001</c:v>
                </c:pt>
                <c:pt idx="365" formatCode="#\ ##0.0">
                  <c:v>9.7312025603870005</c:v>
                </c:pt>
                <c:pt idx="366" formatCode="#\ ##0.0">
                  <c:v>11.725567190226</c:v>
                </c:pt>
                <c:pt idx="367" formatCode="#\ ##0.0">
                  <c:v>13.735886376747001</c:v>
                </c:pt>
                <c:pt idx="368" formatCode="#\ ##0.0">
                  <c:v>15.691413218226</c:v>
                </c:pt>
                <c:pt idx="369" formatCode="#\ ##0.0">
                  <c:v>16.540408217273999</c:v>
                </c:pt>
                <c:pt idx="370" formatCode="#\ ##0.0">
                  <c:v>18.047784981465998</c:v>
                </c:pt>
                <c:pt idx="371" formatCode="#\ ##0.0">
                  <c:v>20.137494336328999</c:v>
                </c:pt>
                <c:pt idx="372" formatCode="#\ ##0.0">
                  <c:v>17.743130169798</c:v>
                </c:pt>
                <c:pt idx="373" formatCode="#\ ##0.0">
                  <c:v>17.846873822601999</c:v>
                </c:pt>
                <c:pt idx="374" formatCode="#\ ##0.0">
                  <c:v>19.065559915655999</c:v>
                </c:pt>
                <c:pt idx="375" formatCode="#\ ##0.0">
                  <c:v>17.944832457929</c:v>
                </c:pt>
                <c:pt idx="376" formatCode="#\ ##0.0">
                  <c:v>16.816447055268998</c:v>
                </c:pt>
                <c:pt idx="377" formatCode="#\ ##0.0">
                  <c:v>18.603266733638002</c:v>
                </c:pt>
                <c:pt idx="378" formatCode="#\ ##0.0">
                  <c:v>20.116156434726999</c:v>
                </c:pt>
                <c:pt idx="379" formatCode="#\ ##0.0">
                  <c:v>22.775825335366001</c:v>
                </c:pt>
                <c:pt idx="380" formatCode="#\ ##0.0">
                  <c:v>24.009048229259999</c:v>
                </c:pt>
                <c:pt idx="381" formatCode="#\ ##0.0">
                  <c:v>25.524114487255002</c:v>
                </c:pt>
                <c:pt idx="382" formatCode="#\ ##0.0">
                  <c:v>25.537224858165999</c:v>
                </c:pt>
                <c:pt idx="383" formatCode="#\ ##0.0">
                  <c:v>27.289010947537999</c:v>
                </c:pt>
                <c:pt idx="384" formatCode="#\ ##0.0">
                  <c:v>25.611026711135999</c:v>
                </c:pt>
                <c:pt idx="385" formatCode="#\ ##0.0">
                  <c:v>25.387228181573999</c:v>
                </c:pt>
                <c:pt idx="386" formatCode="#\ ##0.0">
                  <c:v>25.740703364719</c:v>
                </c:pt>
                <c:pt idx="387" formatCode="#\ ##0.0">
                  <c:v>24.045510527240999</c:v>
                </c:pt>
                <c:pt idx="388" formatCode="#\ ##0.0">
                  <c:v>23.219859740290001</c:v>
                </c:pt>
                <c:pt idx="389" formatCode="#\ ##0.0">
                  <c:v>26.758881890411999</c:v>
                </c:pt>
                <c:pt idx="390" formatCode="#\ ##0.0">
                  <c:v>27.353423883950001</c:v>
                </c:pt>
                <c:pt idx="391" formatCode="#\ ##0.0">
                  <c:v>31.254607106000002</c:v>
                </c:pt>
                <c:pt idx="392" formatCode="#\ ##0.0">
                  <c:v>28.964347252968</c:v>
                </c:pt>
                <c:pt idx="393" formatCode="#\ ##0.0">
                  <c:v>28.730099962975999</c:v>
                </c:pt>
                <c:pt idx="394" formatCode="#\ ##0.0">
                  <c:v>35.62205004898</c:v>
                </c:pt>
                <c:pt idx="395" formatCode="#\ ##0.0">
                  <c:v>40.168887857390999</c:v>
                </c:pt>
                <c:pt idx="396" formatCode="#\ ##0.0">
                  <c:v>41.078886345436999</c:v>
                </c:pt>
                <c:pt idx="397" formatCode="#\ ##0.0">
                  <c:v>41.682918042451</c:v>
                </c:pt>
                <c:pt idx="398" formatCode="#\ ##0.0">
                  <c:v>40.866732689806</c:v>
                </c:pt>
                <c:pt idx="399" formatCode="#\ ##0.0">
                  <c:v>48.714155496779</c:v>
                </c:pt>
                <c:pt idx="400" formatCode="#\ ##0.0">
                  <c:v>56.279168624961997</c:v>
                </c:pt>
                <c:pt idx="401" formatCode="#\ ##0.0">
                  <c:v>59.084637994121003</c:v>
                </c:pt>
                <c:pt idx="402" formatCode="#\ ##0.0">
                  <c:v>59.203072549307997</c:v>
                </c:pt>
                <c:pt idx="403" formatCode="#\ ##0.0">
                  <c:v>57.118463693700001</c:v>
                </c:pt>
                <c:pt idx="404" formatCode="#\ ##0.0">
                  <c:v>57.427891915295</c:v>
                </c:pt>
                <c:pt idx="405" formatCode="#\ ##0.0">
                  <c:v>62.938916125612003</c:v>
                </c:pt>
                <c:pt idx="406" formatCode="#\ ##0.0">
                  <c:v>66.861025443330007</c:v>
                </c:pt>
                <c:pt idx="407" formatCode="#\ ##0.0">
                  <c:v>69.419502050893001</c:v>
                </c:pt>
                <c:pt idx="408" formatCode="#\ ##0.0">
                  <c:v>70.186265878886005</c:v>
                </c:pt>
                <c:pt idx="409" formatCode="#\ ##0.0">
                  <c:v>79.408377280717005</c:v>
                </c:pt>
                <c:pt idx="410" formatCode="#\ ##0.0">
                  <c:v>84.887841938837994</c:v>
                </c:pt>
                <c:pt idx="411" formatCode="#\ ##0.0">
                  <c:v>84.597238309510004</c:v>
                </c:pt>
                <c:pt idx="412" formatCode="#\ ##0.0">
                  <c:v>97.492528609955997</c:v>
                </c:pt>
                <c:pt idx="413" formatCode="#\ ##0.0">
                  <c:v>114.691807597647</c:v>
                </c:pt>
                <c:pt idx="414" formatCode="#\ ##0.0">
                  <c:v>129.19975378914799</c:v>
                </c:pt>
                <c:pt idx="415" formatCode="#\ ##0.0">
                  <c:v>146.220698623571</c:v>
                </c:pt>
                <c:pt idx="416" formatCode="#\ ##0.0">
                  <c:v>161.75984930953899</c:v>
                </c:pt>
                <c:pt idx="417" formatCode="#\ ##0.0">
                  <c:v>175.55449529611801</c:v>
                </c:pt>
                <c:pt idx="418" formatCode="#\ ##0.0">
                  <c:v>185.66722438205201</c:v>
                </c:pt>
                <c:pt idx="419" formatCode="#\ ##0.0">
                  <c:v>202.17553124684099</c:v>
                </c:pt>
                <c:pt idx="420" formatCode="#\ ##0.0">
                  <c:v>225.79319061731101</c:v>
                </c:pt>
                <c:pt idx="421" formatCode="#\ ##0.0">
                  <c:v>244.86309787150299</c:v>
                </c:pt>
                <c:pt idx="422" formatCode="#\ ##0.0">
                  <c:v>244.385895794346</c:v>
                </c:pt>
                <c:pt idx="423" formatCode="#\ ##0.0">
                  <c:v>264.81532291130299</c:v>
                </c:pt>
                <c:pt idx="424" formatCode="#\ ##0.0">
                  <c:v>279.67844687497097</c:v>
                </c:pt>
                <c:pt idx="425" formatCode="#\ ##0.0">
                  <c:v>295.75032381422301</c:v>
                </c:pt>
                <c:pt idx="426" formatCode="#\ ##0.0">
                  <c:v>331.350787151124</c:v>
                </c:pt>
                <c:pt idx="427" formatCode="#\ ##0.0">
                  <c:v>354.44446161215001</c:v>
                </c:pt>
                <c:pt idx="428" formatCode="#\ ##0.0">
                  <c:v>395.78530426575401</c:v>
                </c:pt>
                <c:pt idx="429" formatCode="#\ ##0.0">
                  <c:v>451.45327024563198</c:v>
                </c:pt>
                <c:pt idx="430" formatCode="#\ ##0.0">
                  <c:v>488.83961153711101</c:v>
                </c:pt>
                <c:pt idx="431" formatCode="#\ ##0.0">
                  <c:v>495.501652707706</c:v>
                </c:pt>
                <c:pt idx="432" formatCode="#\ ##0.0">
                  <c:v>497.20168675672198</c:v>
                </c:pt>
                <c:pt idx="433" formatCode="#\ ##0.0">
                  <c:v>521.40402430520896</c:v>
                </c:pt>
                <c:pt idx="434" formatCode="#\ ##0.0">
                  <c:v>568.16941552143999</c:v>
                </c:pt>
                <c:pt idx="435" formatCode="#\ ##0.0">
                  <c:v>599.146755012423</c:v>
                </c:pt>
                <c:pt idx="436" formatCode="#\ ##0.0">
                  <c:v>609.71034068737799</c:v>
                </c:pt>
                <c:pt idx="437" formatCode="#\ ##0.0">
                  <c:v>641.54974359938205</c:v>
                </c:pt>
                <c:pt idx="438" formatCode="#\ ##0.0">
                  <c:v>668.42992610605802</c:v>
                </c:pt>
                <c:pt idx="439" formatCode="#\ ##0.0">
                  <c:v>681.83741861055603</c:v>
                </c:pt>
                <c:pt idx="440" formatCode="#\ ##0.0">
                  <c:v>711.94055641956095</c:v>
                </c:pt>
                <c:pt idx="441" formatCode="#\ ##0.0">
                  <c:v>747.43639391849899</c:v>
                </c:pt>
                <c:pt idx="442" formatCode="#\ ##0.0">
                  <c:v>744.80843274632298</c:v>
                </c:pt>
                <c:pt idx="443" formatCode="#\ ##0.0">
                  <c:v>784.57673983055599</c:v>
                </c:pt>
                <c:pt idx="444" formatCode="#\ ##0.0">
                  <c:v>861.59038927008999</c:v>
                </c:pt>
                <c:pt idx="445" formatCode="#\ ##0.0">
                  <c:v>902.54483369246805</c:v>
                </c:pt>
                <c:pt idx="446" formatCode="#\ ##0.0">
                  <c:v>924.39749092109605</c:v>
                </c:pt>
                <c:pt idx="447" formatCode="#\ ##0.0">
                  <c:v>934.34158663099299</c:v>
                </c:pt>
                <c:pt idx="448" formatCode="#\ ##0.0">
                  <c:v>963.92301366195102</c:v>
                </c:pt>
                <c:pt idx="449" formatCode="#\ ##0.0">
                  <c:v>1005.60943509538</c:v>
                </c:pt>
                <c:pt idx="450" formatCode="#\ ##0.0">
                  <c:v>1103.0047591901</c:v>
                </c:pt>
                <c:pt idx="451" formatCode="#\ ##0.0">
                  <c:v>1095.2304480488101</c:v>
                </c:pt>
                <c:pt idx="452" formatCode="#\ ##0.0">
                  <c:v>1096.3693209386599</c:v>
                </c:pt>
                <c:pt idx="453" formatCode="#\ ##0.0">
                  <c:v>1108.9753068165001</c:v>
                </c:pt>
                <c:pt idx="454" formatCode="#\ ##0.0">
                  <c:v>1126.7142497920599</c:v>
                </c:pt>
                <c:pt idx="455" formatCode="#\ ##0.0">
                  <c:v>1109.1601103339401</c:v>
                </c:pt>
                <c:pt idx="456" formatCode="#\ ##0.0">
                  <c:v>1133.8484836718001</c:v>
                </c:pt>
                <c:pt idx="457" formatCode="#\ ##0.0">
                  <c:v>1094.2211748514101</c:v>
                </c:pt>
                <c:pt idx="458" formatCode="#\ ##0.0">
                  <c:v>1081.68496617495</c:v>
                </c:pt>
                <c:pt idx="459" formatCode="#\ ##0.0">
                  <c:v>1062.7654061875601</c:v>
                </c:pt>
                <c:pt idx="460" formatCode="#\ ##0.0">
                  <c:v>1032.5984180083501</c:v>
                </c:pt>
                <c:pt idx="461" formatCode="#\ ##0.0">
                  <c:v>1027.45329014102</c:v>
                </c:pt>
                <c:pt idx="462" formatCode="#\ ##0.0">
                  <c:v>1036.11458671999</c:v>
                </c:pt>
                <c:pt idx="463" formatCode="#\ ##0.0">
                  <c:v>1007.4985072263401</c:v>
                </c:pt>
                <c:pt idx="464" formatCode="#\ ##0.0">
                  <c:v>977.08861388598905</c:v>
                </c:pt>
                <c:pt idx="465" formatCode="#\ ##0.0">
                  <c:v>946.07096031360402</c:v>
                </c:pt>
                <c:pt idx="466" formatCode="#\ ##0.0">
                  <c:v>931.14955007759499</c:v>
                </c:pt>
                <c:pt idx="467" formatCode="#\ ##0.0">
                  <c:v>920.84528533210698</c:v>
                </c:pt>
                <c:pt idx="468" formatCode="#\ ##0.0">
                  <c:v>906.57585296744605</c:v>
                </c:pt>
                <c:pt idx="469" formatCode="#\ ##0.0">
                  <c:v>885.08649403674599</c:v>
                </c:pt>
                <c:pt idx="470" formatCode="#\ ##0.0">
                  <c:v>863.72846157217396</c:v>
                </c:pt>
                <c:pt idx="471" formatCode="#\ ##0.0">
                  <c:v>835.22927331329004</c:v>
                </c:pt>
                <c:pt idx="472" formatCode="#\ ##0.0">
                  <c:v>793.39719489560696</c:v>
                </c:pt>
                <c:pt idx="473" formatCode="#\ ##0.0">
                  <c:v>760.63476944534204</c:v>
                </c:pt>
                <c:pt idx="474" formatCode="#\ ##0.0">
                  <c:v>751.40122034636602</c:v>
                </c:pt>
                <c:pt idx="475" formatCode="#\ ##0.0">
                  <c:v>719.01899166552801</c:v>
                </c:pt>
                <c:pt idx="476" formatCode="#\ ##0.0">
                  <c:v>699.34147345314796</c:v>
                </c:pt>
                <c:pt idx="477" formatCode="#\ ##0.0">
                  <c:v>677.41503098374596</c:v>
                </c:pt>
                <c:pt idx="478" formatCode="#\ ##0.0">
                  <c:v>635.378861912145</c:v>
                </c:pt>
                <c:pt idx="479" formatCode="#\ ##0.0">
                  <c:v>557.40354698734996</c:v>
                </c:pt>
                <c:pt idx="480" formatCode="#\ ##0.0">
                  <c:v>533.27222922373403</c:v>
                </c:pt>
                <c:pt idx="481" formatCode="#\ ##0.0">
                  <c:v>529.117072797893</c:v>
                </c:pt>
                <c:pt idx="482" formatCode="#\ ##0.0">
                  <c:v>527.70908685052098</c:v>
                </c:pt>
                <c:pt idx="483" formatCode="#\ ##0.0">
                  <c:v>498.26378547326198</c:v>
                </c:pt>
                <c:pt idx="484" formatCode="#\ ##0.0">
                  <c:v>493.26296443647902</c:v>
                </c:pt>
                <c:pt idx="485" formatCode="#\ ##0.0">
                  <c:v>492.82361021617601</c:v>
                </c:pt>
                <c:pt idx="486" formatCode="#\ ##0.0">
                  <c:v>535.583376630771</c:v>
                </c:pt>
                <c:pt idx="487" formatCode="#\ ##0.0">
                  <c:v>529.12126675550599</c:v>
                </c:pt>
                <c:pt idx="488" formatCode="#\ ##0.0">
                  <c:v>527.21258180884797</c:v>
                </c:pt>
                <c:pt idx="489" formatCode="#\ ##0.0">
                  <c:v>527.05878980709099</c:v>
                </c:pt>
                <c:pt idx="490" formatCode="#\ ##0.0">
                  <c:v>528.19563761530605</c:v>
                </c:pt>
                <c:pt idx="491" formatCode="#\ ##0.0">
                  <c:v>504.18768956805599</c:v>
                </c:pt>
                <c:pt idx="492" formatCode="#\ ##0.0">
                  <c:v>483.03397556544297</c:v>
                </c:pt>
                <c:pt idx="493" formatCode="#\ ##0.0">
                  <c:v>478.69273366188997</c:v>
                </c:pt>
                <c:pt idx="494" formatCode="#\ ##0.0">
                  <c:v>488.121529930988</c:v>
                </c:pt>
                <c:pt idx="495" formatCode="#\ ##0.0">
                  <c:v>483.053244652687</c:v>
                </c:pt>
                <c:pt idx="496" formatCode="#\ ##0.0">
                  <c:v>431.629017407096</c:v>
                </c:pt>
                <c:pt idx="497" formatCode="#\ ##0.0">
                  <c:v>387.53319234576202</c:v>
                </c:pt>
                <c:pt idx="498" formatCode="#\ ##0.0">
                  <c:v>357.70307712606098</c:v>
                </c:pt>
                <c:pt idx="499" formatCode="#\ ##0.0">
                  <c:v>337.60947510726999</c:v>
                </c:pt>
                <c:pt idx="500" formatCode="#\ ##0.0">
                  <c:v>325.26241510099601</c:v>
                </c:pt>
                <c:pt idx="501" formatCode="#\ ##0.0">
                  <c:v>320.119374021449</c:v>
                </c:pt>
                <c:pt idx="502" formatCode="#\ ##0.0">
                  <c:v>311.00082712985898</c:v>
                </c:pt>
                <c:pt idx="503" formatCode="#\ ##0.0">
                  <c:v>261.518429856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OCK_pocet_pripadu_7dni_65_nyni</c:v>
          </c:tx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#\ ##0.0">
                  <c:v>75.197947538373</c:v>
                </c:pt>
                <c:pt idx="182" formatCode="#\ ##0.0">
                  <c:v>104.331802230261</c:v>
                </c:pt>
                <c:pt idx="183" formatCode="#\ ##0.0">
                  <c:v>103.624323914472</c:v>
                </c:pt>
                <c:pt idx="184" formatCode="#\ ##0.0">
                  <c:v>103.35855915792401</c:v>
                </c:pt>
                <c:pt idx="185" formatCode="#\ ##0.0">
                  <c:v>91.987032072063002</c:v>
                </c:pt>
                <c:pt idx="186" formatCode="#\ ##0.0">
                  <c:v>92.009577864489998</c:v>
                </c:pt>
                <c:pt idx="187" formatCode="#\ ##0.0">
                  <c:v>92.187139893983996</c:v>
                </c:pt>
                <c:pt idx="188" formatCode="#\ ##0.0">
                  <c:v>87.055936061085006</c:v>
                </c:pt>
                <c:pt idx="189" formatCode="#\ ##0.0">
                  <c:v>56.85445260134</c:v>
                </c:pt>
                <c:pt idx="190" formatCode="#\ ##0.0">
                  <c:v>48.791221406909003</c:v>
                </c:pt>
                <c:pt idx="191" formatCode="#\ ##0.0">
                  <c:v>55.401662049861002</c:v>
                </c:pt>
                <c:pt idx="192" formatCode="#\ ##0.0">
                  <c:v>56.329464780671998</c:v>
                </c:pt>
                <c:pt idx="193" formatCode="#\ ##0.0">
                  <c:v>57.863158082147002</c:v>
                </c:pt>
                <c:pt idx="194" formatCode="#\ ##0.0">
                  <c:v>57.614408920483001</c:v>
                </c:pt>
                <c:pt idx="195" formatCode="#\ ##0.0">
                  <c:v>58.113816342992003</c:v>
                </c:pt>
                <c:pt idx="196" formatCode="#\ ##0.0">
                  <c:v>66.251603203859005</c:v>
                </c:pt>
                <c:pt idx="197" formatCode="#\ ##0.0">
                  <c:v>66.304753221995995</c:v>
                </c:pt>
                <c:pt idx="198" formatCode="#\ ##0.0">
                  <c:v>54.864372044988002</c:v>
                </c:pt>
                <c:pt idx="199" formatCode="#\ ##0.0">
                  <c:v>57.954670049965998</c:v>
                </c:pt>
                <c:pt idx="200" formatCode="#\ ##0.0">
                  <c:v>57.604583456585999</c:v>
                </c:pt>
                <c:pt idx="201" formatCode="#\ ##0.0">
                  <c:v>59.581382752350002</c:v>
                </c:pt>
                <c:pt idx="202" formatCode="#\ ##0.0">
                  <c:v>61.012812690665001</c:v>
                </c:pt>
                <c:pt idx="203" formatCode="#\ ##0.0">
                  <c:v>57.521479539828</c:v>
                </c:pt>
                <c:pt idx="204" formatCode="#\ ##0.0">
                  <c:v>57.789210331583</c:v>
                </c:pt>
                <c:pt idx="205" formatCode="#\ ##0.0">
                  <c:v>55.686471582921001</c:v>
                </c:pt>
                <c:pt idx="206" formatCode="#\ ##0.0">
                  <c:v>48.487390002424</c:v>
                </c:pt>
                <c:pt idx="207" formatCode="#\ ##0.0">
                  <c:v>49.449548447543997</c:v>
                </c:pt>
                <c:pt idx="208" formatCode="#\ ##0.0">
                  <c:v>46.618839190903998</c:v>
                </c:pt>
                <c:pt idx="209" formatCode="#\ ##0.0">
                  <c:v>43.607186464328997</c:v>
                </c:pt>
                <c:pt idx="210" formatCode="#\ ##0.0">
                  <c:v>40.428302189668003</c:v>
                </c:pt>
                <c:pt idx="211" formatCode="#\ ##0.0">
                  <c:v>37.617126051569002</c:v>
                </c:pt>
                <c:pt idx="212" formatCode="#\ ##0.0">
                  <c:v>40.16347620314</c:v>
                </c:pt>
                <c:pt idx="213" formatCode="#\ ##0.0">
                  <c:v>35.641968676391002</c:v>
                </c:pt>
                <c:pt idx="214" formatCode="#\ ##0.0">
                  <c:v>33.824298145813003</c:v>
                </c:pt>
                <c:pt idx="215" formatCode="#\ ##0.0">
                  <c:v>34.63062365679</c:v>
                </c:pt>
                <c:pt idx="216" formatCode="#\ ##0.0">
                  <c:v>28.913489858224999</c:v>
                </c:pt>
                <c:pt idx="217" formatCode="#\ ##0.0">
                  <c:v>28.713449191315998</c:v>
                </c:pt>
                <c:pt idx="218" formatCode="#\ ##0.0">
                  <c:v>30.130370063903001</c:v>
                </c:pt>
                <c:pt idx="219" formatCode="#\ ##0.0">
                  <c:v>27.753463845776</c:v>
                </c:pt>
                <c:pt idx="220" formatCode="#\ ##0.0">
                  <c:v>28.959025018965999</c:v>
                </c:pt>
                <c:pt idx="221" formatCode="#\ ##0.0">
                  <c:v>28.973026916746001</c:v>
                </c:pt>
                <c:pt idx="222" formatCode="#\ ##0.0">
                  <c:v>30.242015709931</c:v>
                </c:pt>
                <c:pt idx="223" formatCode="#\ ##0.0">
                  <c:v>30.997671394440999</c:v>
                </c:pt>
                <c:pt idx="224" formatCode="#\ ##0.0">
                  <c:v>27.311309397605001</c:v>
                </c:pt>
                <c:pt idx="225" formatCode="#\ ##0.0">
                  <c:v>27.336973763254999</c:v>
                </c:pt>
                <c:pt idx="226" formatCode="#\ ##0.0">
                  <c:v>23.910499226054</c:v>
                </c:pt>
                <c:pt idx="227" formatCode="#\ ##0.0">
                  <c:v>23.555540599655998</c:v>
                </c:pt>
                <c:pt idx="228" formatCode="#\ ##0.0">
                  <c:v>22.735023303397998</c:v>
                </c:pt>
                <c:pt idx="229" formatCode="#\ ##0.0">
                  <c:v>22.918931625187</c:v>
                </c:pt>
                <c:pt idx="230" formatCode="#\ ##0.0">
                  <c:v>22.304552735782998</c:v>
                </c:pt>
                <c:pt idx="231" formatCode="#\ ##0.0">
                  <c:v>23.097418863442002</c:v>
                </c:pt>
                <c:pt idx="232" formatCode="#\ ##0.0">
                  <c:v>20.615232542466</c:v>
                </c:pt>
                <c:pt idx="233" formatCode="#\ ##0.0">
                  <c:v>19.710087073674998</c:v>
                </c:pt>
                <c:pt idx="234" formatCode="#\ ##0.0">
                  <c:v>19.726022188209999</c:v>
                </c:pt>
                <c:pt idx="235" formatCode="#\ ##0.0">
                  <c:v>18.742190753852</c:v>
                </c:pt>
                <c:pt idx="236" formatCode="#\ ##0.0">
                  <c:v>17.512577214543999</c:v>
                </c:pt>
                <c:pt idx="237" formatCode="#\ ##0.0">
                  <c:v>17.476712280885</c:v>
                </c:pt>
                <c:pt idx="238" formatCode="#\ ##0.0">
                  <c:v>17.884044066284002</c:v>
                </c:pt>
                <c:pt idx="239" formatCode="#\ ##0.0">
                  <c:v>16.571515182134998</c:v>
                </c:pt>
                <c:pt idx="240" formatCode="#\ ##0.0">
                  <c:v>15.783873947254</c:v>
                </c:pt>
                <c:pt idx="241" formatCode="#\ ##0.0">
                  <c:v>14.001918641284</c:v>
                </c:pt>
                <c:pt idx="242" formatCode="#\ ##0.0">
                  <c:v>14.228213048769</c:v>
                </c:pt>
                <c:pt idx="243" formatCode="#\ ##0.0">
                  <c:v>14.134039043423</c:v>
                </c:pt>
                <c:pt idx="244" formatCode="#\ ##0.0">
                  <c:v>13.675999168499001</c:v>
                </c:pt>
                <c:pt idx="245" formatCode="#\ ##0.0">
                  <c:v>11.977203984297001</c:v>
                </c:pt>
                <c:pt idx="246" formatCode="#\ ##0.0">
                  <c:v>11.426301235974</c:v>
                </c:pt>
                <c:pt idx="247" formatCode="#\ ##0.0">
                  <c:v>12.765928082971</c:v>
                </c:pt>
                <c:pt idx="248" formatCode="#\ ##0.0">
                  <c:v>12.957740715608001</c:v>
                </c:pt>
                <c:pt idx="249" formatCode="#\ ##0.0">
                  <c:v>12.368667623402001</c:v>
                </c:pt>
                <c:pt idx="250" formatCode="#\ ##0.0">
                  <c:v>11.982738106288</c:v>
                </c:pt>
                <c:pt idx="251" formatCode="#\ ##0.0">
                  <c:v>11.216711896243</c:v>
                </c:pt>
                <c:pt idx="252" formatCode="#\ ##0.0">
                  <c:v>10.579719009274999</c:v>
                </c:pt>
                <c:pt idx="253" formatCode="#\ ##0.0">
                  <c:v>9.6158077359980005</c:v>
                </c:pt>
                <c:pt idx="254" formatCode="#\ ##0.0">
                  <c:v>7.3818739689440003</c:v>
                </c:pt>
                <c:pt idx="255" formatCode="#\ ##0.0">
                  <c:v>6.524143308377</c:v>
                </c:pt>
                <c:pt idx="256" formatCode="#\ ##0.0">
                  <c:v>6.9773600523930002</c:v>
                </c:pt>
                <c:pt idx="257" formatCode="#\ ##0.0">
                  <c:v>6.4879782510300004</c:v>
                </c:pt>
                <c:pt idx="258" formatCode="#\ ##0.0">
                  <c:v>6.1409489498180001</c:v>
                </c:pt>
                <c:pt idx="259" formatCode="#\ ##0.0">
                  <c:v>6.0876528352069998</c:v>
                </c:pt>
                <c:pt idx="260" formatCode="#\ ##0.0">
                  <c:v>6.8024581610170003</c:v>
                </c:pt>
                <c:pt idx="261" formatCode="#\ ##0.0">
                  <c:v>7.0364687940249997</c:v>
                </c:pt>
                <c:pt idx="262" formatCode="#\ ##0.0">
                  <c:v>6.9759541892119996</c:v>
                </c:pt>
                <c:pt idx="263" formatCode="#\ ##0.0">
                  <c:v>6.6621243091829996</c:v>
                </c:pt>
                <c:pt idx="264" formatCode="#\ ##0.0">
                  <c:v>6.504950569939</c:v>
                </c:pt>
                <c:pt idx="265" formatCode="#\ ##0.0">
                  <c:v>5.7100010668680001</c:v>
                </c:pt>
                <c:pt idx="266" formatCode="#\ ##0.0">
                  <c:v>4.7651382485729998</c:v>
                </c:pt>
                <c:pt idx="267" formatCode="#\ ##0.0">
                  <c:v>4.2798363626700002</c:v>
                </c:pt>
                <c:pt idx="268" formatCode="#\ ##0.0">
                  <c:v>3.8036942649059999</c:v>
                </c:pt>
                <c:pt idx="269" formatCode="#\ ##0.0">
                  <c:v>3.6347458440309999</c:v>
                </c:pt>
                <c:pt idx="270" formatCode="#\ ##0.0">
                  <c:v>3.3382197129129998</c:v>
                </c:pt>
                <c:pt idx="271" formatCode="#\ ##0.0">
                  <c:v>3.6239079353429999</c:v>
                </c:pt>
                <c:pt idx="272" formatCode="#\ ##0.0">
                  <c:v>3.6027675018840002</c:v>
                </c:pt>
                <c:pt idx="273" formatCode="#\ ##0.0">
                  <c:v>3.4166278737039999</c:v>
                </c:pt>
                <c:pt idx="274" formatCode="#\ ##0.0">
                  <c:v>2.3877578251729998</c:v>
                </c:pt>
                <c:pt idx="275" formatCode="#\ ##0.0">
                  <c:v>2.6011754574979999</c:v>
                </c:pt>
                <c:pt idx="276" formatCode="#\ ##0.0">
                  <c:v>2.1413706110259998</c:v>
                </c:pt>
                <c:pt idx="277" formatCode="#\ ##0.0">
                  <c:v>2.1220890906049998</c:v>
                </c:pt>
                <c:pt idx="278" formatCode="#\ ##0.0">
                  <c:v>1.8420882965550001</c:v>
                </c:pt>
                <c:pt idx="279" formatCode="#\ ##0.0">
                  <c:v>1.534154105779</c:v>
                </c:pt>
                <c:pt idx="280" formatCode="#\ ##0.0">
                  <c:v>1.616849059677</c:v>
                </c:pt>
                <c:pt idx="281" formatCode="#\ ##0.0">
                  <c:v>1.8113710629840001</c:v>
                </c:pt>
                <c:pt idx="282" formatCode="#\ ##0.0">
                  <c:v>1.5161039394210001</c:v>
                </c:pt>
                <c:pt idx="283" formatCode="#\ ##0.0">
                  <c:v>1.3588495074169999</c:v>
                </c:pt>
                <c:pt idx="284" formatCode="#\ ##0.0">
                  <c:v>1.2322858903260001</c:v>
                </c:pt>
                <c:pt idx="285" formatCode="#\ ##0.0">
                  <c:v>1.443084737935</c:v>
                </c:pt>
                <c:pt idx="286" formatCode="#\ ##0.0">
                  <c:v>1.505099599966</c:v>
                </c:pt>
                <c:pt idx="287" formatCode="#\ ##0.0">
                  <c:v>1.1444075922079999</c:v>
                </c:pt>
                <c:pt idx="288" formatCode="#\ ##0.0">
                  <c:v>1.1024551676579999</c:v>
                </c:pt>
                <c:pt idx="289" formatCode="#\ ##0.0">
                  <c:v>0.96240833060599995</c:v>
                </c:pt>
                <c:pt idx="290" formatCode="#\ ##0.0">
                  <c:v>0.745732313792</c:v>
                </c:pt>
                <c:pt idx="291" formatCode="#\ ##0.0">
                  <c:v>1.0136754027049999</c:v>
                </c:pt>
                <c:pt idx="292" formatCode="#\ ##0.0">
                  <c:v>0.91402080494100002</c:v>
                </c:pt>
                <c:pt idx="293" formatCode="#\ ##0.0">
                  <c:v>0.97353317314200005</c:v>
                </c:pt>
                <c:pt idx="294" formatCode="#\ ##0.0">
                  <c:v>1.0309056936059999</c:v>
                </c:pt>
                <c:pt idx="295" formatCode="#\ ##0.0">
                  <c:v>0.99831617338699996</c:v>
                </c:pt>
                <c:pt idx="296" formatCode="#\ ##0.0">
                  <c:v>0.80713767993100005</c:v>
                </c:pt>
                <c:pt idx="297" formatCode="#\ ##0.0">
                  <c:v>0.94616927599099998</c:v>
                </c:pt>
                <c:pt idx="298" formatCode="#\ ##0.0">
                  <c:v>0.70562002831799997</c:v>
                </c:pt>
                <c:pt idx="299" formatCode="#\ ##0.0">
                  <c:v>0.62394319621100003</c:v>
                </c:pt>
                <c:pt idx="300" formatCode="#\ ##0.0">
                  <c:v>0.76427065269399996</c:v>
                </c:pt>
                <c:pt idx="301" formatCode="#\ ##0.0">
                  <c:v>0.82409843631000002</c:v>
                </c:pt>
                <c:pt idx="302" formatCode="#\ ##0.0">
                  <c:v>0.80842823178300005</c:v>
                </c:pt>
                <c:pt idx="303" formatCode="#\ ##0.0">
                  <c:v>0.93811405879300003</c:v>
                </c:pt>
                <c:pt idx="304" formatCode="#\ ##0.0">
                  <c:v>0.85400135216799999</c:v>
                </c:pt>
                <c:pt idx="305" formatCode="#\ ##0.0">
                  <c:v>1.0629869365989999</c:v>
                </c:pt>
                <c:pt idx="306" formatCode="#\ ##0.0">
                  <c:v>1.130309895651</c:v>
                </c:pt>
                <c:pt idx="307" formatCode="#\ ##0.0">
                  <c:v>0.83690062223499995</c:v>
                </c:pt>
                <c:pt idx="308" formatCode="#\ ##0.0">
                  <c:v>0.68735797465799997</c:v>
                </c:pt>
                <c:pt idx="309" formatCode="#\ ##0.0">
                  <c:v>0.81370661672300004</c:v>
                </c:pt>
                <c:pt idx="310" formatCode="#\ ##0.0">
                  <c:v>0.73631541074600004</c:v>
                </c:pt>
                <c:pt idx="311" formatCode="#\ ##0.0">
                  <c:v>0.79577654859699998</c:v>
                </c:pt>
                <c:pt idx="312" formatCode="#\ ##0.0">
                  <c:v>0.59501299772799998</c:v>
                </c:pt>
                <c:pt idx="313" formatCode="#\ ##0.0">
                  <c:v>0.65973200366499996</c:v>
                </c:pt>
                <c:pt idx="314" formatCode="#\ ##0.0">
                  <c:v>1.1759878951639999</c:v>
                </c:pt>
                <c:pt idx="315" formatCode="#\ ##0.0">
                  <c:v>1.4860578696769999</c:v>
                </c:pt>
                <c:pt idx="316" formatCode="#\ ##0.0">
                  <c:v>1.4706549977650001</c:v>
                </c:pt>
                <c:pt idx="317" formatCode="#\ ##0.0">
                  <c:v>1.455344340798</c:v>
                </c:pt>
                <c:pt idx="318" formatCode="#\ ##0.0">
                  <c:v>1.6322973895170001</c:v>
                </c:pt>
                <c:pt idx="319" formatCode="#\ ##0.0">
                  <c:v>1.8796980703640001</c:v>
                </c:pt>
                <c:pt idx="320" formatCode="#\ ##0.0">
                  <c:v>1.8775029461149999</c:v>
                </c:pt>
                <c:pt idx="321" formatCode="#\ ##0.0">
                  <c:v>1.5627383175930001</c:v>
                </c:pt>
                <c:pt idx="322" formatCode="#\ ##0.0">
                  <c:v>1.560572692724</c:v>
                </c:pt>
                <c:pt idx="323" formatCode="#\ ##0.0">
                  <c:v>1.486725400579</c:v>
                </c:pt>
                <c:pt idx="324" formatCode="#\ ##0.0">
                  <c:v>1.475786040539</c:v>
                </c:pt>
                <c:pt idx="325" formatCode="#\ ##0.0">
                  <c:v>1.223033637094</c:v>
                </c:pt>
                <c:pt idx="326" formatCode="#\ ##0.0">
                  <c:v>1.0383949590199999</c:v>
                </c:pt>
                <c:pt idx="327" formatCode="#\ ##0.0">
                  <c:v>0.97642542855900005</c:v>
                </c:pt>
                <c:pt idx="328" formatCode="#\ ##0.0">
                  <c:v>1.395914824918</c:v>
                </c:pt>
                <c:pt idx="329" formatCode="#\ ##0.0">
                  <c:v>1.387282121311</c:v>
                </c:pt>
                <c:pt idx="330" formatCode="#\ ##0.0">
                  <c:v>1.438701428091</c:v>
                </c:pt>
                <c:pt idx="331" formatCode="#\ ##0.0">
                  <c:v>1.549300222801</c:v>
                </c:pt>
                <c:pt idx="332" formatCode="#\ ##0.0">
                  <c:v>1.6613611888219999</c:v>
                </c:pt>
                <c:pt idx="333" formatCode="#\ ##0.0">
                  <c:v>1.6598218774</c:v>
                </c:pt>
                <c:pt idx="334" formatCode="#\ ##0.0">
                  <c:v>1.5995033245970001</c:v>
                </c:pt>
                <c:pt idx="335" formatCode="#\ ##0.0">
                  <c:v>1.416464033617</c:v>
                </c:pt>
                <c:pt idx="336" formatCode="#\ ##0.0">
                  <c:v>1.351284660451</c:v>
                </c:pt>
                <c:pt idx="337" formatCode="#\ ##0.0">
                  <c:v>1.228570225074</c:v>
                </c:pt>
                <c:pt idx="338" formatCode="#\ ##0.0">
                  <c:v>1.2239081719180001</c:v>
                </c:pt>
                <c:pt idx="339" formatCode="#\ ##0.0">
                  <c:v>1.395354515977</c:v>
                </c:pt>
                <c:pt idx="340" formatCode="#\ ##0.0">
                  <c:v>1.3943128303500001</c:v>
                </c:pt>
                <c:pt idx="341" formatCode="#\ ##0.0">
                  <c:v>1.568058076225</c:v>
                </c:pt>
                <c:pt idx="342" formatCode="#\ ##0.0">
                  <c:v>1.448372753211</c:v>
                </c:pt>
                <c:pt idx="343" formatCode="#\ ##0.0">
                  <c:v>1.386374480542</c:v>
                </c:pt>
                <c:pt idx="344" formatCode="#\ ##0.0">
                  <c:v>1.6128270438829999</c:v>
                </c:pt>
                <c:pt idx="345" formatCode="#\ ##0.0">
                  <c:v>1.6660155801180001</c:v>
                </c:pt>
                <c:pt idx="346" formatCode="#\ ##0.0">
                  <c:v>1.7776513670130001</c:v>
                </c:pt>
                <c:pt idx="347" formatCode="#\ ##0.0">
                  <c:v>1.7194381334690001</c:v>
                </c:pt>
                <c:pt idx="348" formatCode="#\ ##0.0">
                  <c:v>1.6616463936250001</c:v>
                </c:pt>
                <c:pt idx="349" formatCode="#\ ##0.0">
                  <c:v>1.601575034648</c:v>
                </c:pt>
                <c:pt idx="350" formatCode="#\ ##0.0">
                  <c:v>1.9407145939449999</c:v>
                </c:pt>
                <c:pt idx="351" formatCode="#\ ##0.0">
                  <c:v>1.993921388225</c:v>
                </c:pt>
                <c:pt idx="352" formatCode="#\ ##0.0">
                  <c:v>1.7624481428059999</c:v>
                </c:pt>
                <c:pt idx="353" formatCode="#\ ##0.0">
                  <c:v>1.6460942723859999</c:v>
                </c:pt>
                <c:pt idx="354" formatCode="#\ ##0.0">
                  <c:v>1.758701601666</c:v>
                </c:pt>
                <c:pt idx="355" formatCode="#\ ##0.0">
                  <c:v>1.758060281051</c:v>
                </c:pt>
                <c:pt idx="356" formatCode="#\ ##0.0">
                  <c:v>1.811680356176</c:v>
                </c:pt>
                <c:pt idx="357" formatCode="#\ ##0.0">
                  <c:v>1.977545256123</c:v>
                </c:pt>
                <c:pt idx="358" formatCode="#\ ##0.0">
                  <c:v>2.2556153544240001</c:v>
                </c:pt>
                <c:pt idx="359" formatCode="#\ ##0.0">
                  <c:v>2.64538948013</c:v>
                </c:pt>
                <c:pt idx="360" formatCode="#\ ##0.0">
                  <c:v>2.753627342058</c:v>
                </c:pt>
                <c:pt idx="361" formatCode="#\ ##0.0">
                  <c:v>2.9213204143549998</c:v>
                </c:pt>
                <c:pt idx="362" formatCode="#\ ##0.0">
                  <c:v>2.8644186409620001</c:v>
                </c:pt>
                <c:pt idx="363" formatCode="#\ ##0.0">
                  <c:v>2.86066058823</c:v>
                </c:pt>
                <c:pt idx="364" formatCode="#\ ##0.0">
                  <c:v>2.6327906796959999</c:v>
                </c:pt>
                <c:pt idx="365" formatCode="#\ ##0.0">
                  <c:v>2.6280812155370001</c:v>
                </c:pt>
                <c:pt idx="366" formatCode="#\ ##0.0">
                  <c:v>2.623351962853</c:v>
                </c:pt>
                <c:pt idx="367" formatCode="#\ ##0.0">
                  <c:v>3.3996336198120001</c:v>
                </c:pt>
                <c:pt idx="368" formatCode="#\ ##0.0">
                  <c:v>3.3982056360069999</c:v>
                </c:pt>
                <c:pt idx="369" formatCode="#\ ##0.0">
                  <c:v>3.6200143352560001</c:v>
                </c:pt>
                <c:pt idx="370" formatCode="#\ ##0.0">
                  <c:v>4.1709186865490002</c:v>
                </c:pt>
                <c:pt idx="371" formatCode="#\ ##0.0">
                  <c:v>4.9423082689809998</c:v>
                </c:pt>
                <c:pt idx="372" formatCode="#\ ##0.0">
                  <c:v>5.3791675377769996</c:v>
                </c:pt>
                <c:pt idx="373" formatCode="#\ ##0.0">
                  <c:v>5.7053691955480001</c:v>
                </c:pt>
                <c:pt idx="374" formatCode="#\ ##0.0">
                  <c:v>5.7003676460410002</c:v>
                </c:pt>
                <c:pt idx="375" formatCode="#\ ##0.0">
                  <c:v>5.8099515062710001</c:v>
                </c:pt>
                <c:pt idx="376" formatCode="#\ ##0.0">
                  <c:v>5.8645412683889999</c:v>
                </c:pt>
                <c:pt idx="377" formatCode="#\ ##0.0">
                  <c:v>6.3573880311939996</c:v>
                </c:pt>
                <c:pt idx="378" formatCode="#\ ##0.0">
                  <c:v>6.8495382914040004</c:v>
                </c:pt>
                <c:pt idx="379" formatCode="#\ ##0.0">
                  <c:v>6.6244870852859998</c:v>
                </c:pt>
                <c:pt idx="380" formatCode="#\ ##0.0">
                  <c:v>7.0064442736660002</c:v>
                </c:pt>
                <c:pt idx="381" formatCode="#\ ##0.0">
                  <c:v>7.4991122374480002</c:v>
                </c:pt>
                <c:pt idx="382" formatCode="#\ ##0.0">
                  <c:v>7.6637858550770002</c:v>
                </c:pt>
                <c:pt idx="383" formatCode="#\ ##0.0">
                  <c:v>7.9388750724279999</c:v>
                </c:pt>
                <c:pt idx="384" formatCode="#\ ##0.0">
                  <c:v>8.0453271527580004</c:v>
                </c:pt>
                <c:pt idx="385" formatCode="#\ ##0.0">
                  <c:v>7.7659079943679998</c:v>
                </c:pt>
                <c:pt idx="386" formatCode="#\ ##0.0">
                  <c:v>8.3129272073839999</c:v>
                </c:pt>
                <c:pt idx="387" formatCode="#\ ##0.0">
                  <c:v>8.1439542970079994</c:v>
                </c:pt>
                <c:pt idx="388" formatCode="#\ ##0.0">
                  <c:v>7.8103815371380003</c:v>
                </c:pt>
                <c:pt idx="389" formatCode="#\ ##0.0">
                  <c:v>7.9747228783789996</c:v>
                </c:pt>
                <c:pt idx="390" formatCode="#\ ##0.0">
                  <c:v>7.9193807044279998</c:v>
                </c:pt>
                <c:pt idx="391" formatCode="#\ ##0.0">
                  <c:v>8.2455276258150008</c:v>
                </c:pt>
                <c:pt idx="392" formatCode="#\ ##0.0">
                  <c:v>7.7473761944549997</c:v>
                </c:pt>
                <c:pt idx="393" formatCode="#\ ##0.0">
                  <c:v>8.4034028838499992</c:v>
                </c:pt>
                <c:pt idx="394" formatCode="#\ ##0.0">
                  <c:v>9.7724555106210005</c:v>
                </c:pt>
                <c:pt idx="395" formatCode="#\ ##0.0">
                  <c:v>11.359688909157001</c:v>
                </c:pt>
                <c:pt idx="396" formatCode="#\ ##0.0">
                  <c:v>12.291659121563001</c:v>
                </c:pt>
                <c:pt idx="397" formatCode="#\ ##0.0">
                  <c:v>12.785029334234</c:v>
                </c:pt>
                <c:pt idx="398" formatCode="#\ ##0.0">
                  <c:v>13.658946527692001</c:v>
                </c:pt>
                <c:pt idx="399" formatCode="#\ ##0.0">
                  <c:v>16.835700019632</c:v>
                </c:pt>
                <c:pt idx="400" formatCode="#\ ##0.0">
                  <c:v>18.915085520858</c:v>
                </c:pt>
                <c:pt idx="401" formatCode="#\ ##0.0">
                  <c:v>19.845109468802999</c:v>
                </c:pt>
                <c:pt idx="402" formatCode="#\ ##0.0">
                  <c:v>20.770719752022</c:v>
                </c:pt>
                <c:pt idx="403" formatCode="#\ ##0.0">
                  <c:v>20.386063823724001</c:v>
                </c:pt>
                <c:pt idx="404" formatCode="#\ ##0.0">
                  <c:v>20.056827678422</c:v>
                </c:pt>
                <c:pt idx="405" formatCode="#\ ##0.0">
                  <c:v>21.203864472787998</c:v>
                </c:pt>
                <c:pt idx="406" formatCode="#\ ##0.0">
                  <c:v>20.710501703685001</c:v>
                </c:pt>
                <c:pt idx="407" formatCode="#\ ##0.0">
                  <c:v>21.197383793696002</c:v>
                </c:pt>
                <c:pt idx="408" formatCode="#\ ##0.0">
                  <c:v>22.068309906972999</c:v>
                </c:pt>
                <c:pt idx="409" formatCode="#\ ##0.0">
                  <c:v>25.020722852515</c:v>
                </c:pt>
                <c:pt idx="410" formatCode="#\ ##0.0">
                  <c:v>27.264485215859999</c:v>
                </c:pt>
                <c:pt idx="411" formatCode="#\ ##0.0">
                  <c:v>29.070849657172001</c:v>
                </c:pt>
                <c:pt idx="412" formatCode="#\ ##0.0">
                  <c:v>33.504670671532999</c:v>
                </c:pt>
                <c:pt idx="413" formatCode="#\ ##0.0">
                  <c:v>40.406916262414001</c:v>
                </c:pt>
                <c:pt idx="414" formatCode="#\ ##0.0">
                  <c:v>46.000805014087</c:v>
                </c:pt>
                <c:pt idx="415" formatCode="#\ ##0.0">
                  <c:v>52.522245279433001</c:v>
                </c:pt>
                <c:pt idx="416" formatCode="#\ ##0.0">
                  <c:v>60.586771376968002</c:v>
                </c:pt>
                <c:pt idx="417" formatCode="#\ ##0.0">
                  <c:v>64.535851363744001</c:v>
                </c:pt>
                <c:pt idx="418" formatCode="#\ ##0.0">
                  <c:v>67.990388208132003</c:v>
                </c:pt>
                <c:pt idx="419" formatCode="#\ ##0.0">
                  <c:v>75.961646493350003</c:v>
                </c:pt>
                <c:pt idx="420" formatCode="#\ ##0.0">
                  <c:v>87.087711254880006</c:v>
                </c:pt>
                <c:pt idx="421" formatCode="#\ ##0.0">
                  <c:v>95.906752505130996</c:v>
                </c:pt>
                <c:pt idx="422" formatCode="#\ ##0.0">
                  <c:v>96.715731583071005</c:v>
                </c:pt>
                <c:pt idx="423" formatCode="#\ ##0.0">
                  <c:v>106.378941150003</c:v>
                </c:pt>
                <c:pt idx="424" formatCode="#\ ##0.0">
                  <c:v>114.50077168348</c:v>
                </c:pt>
                <c:pt idx="425" formatCode="#\ ##0.0">
                  <c:v>119.03209243890301</c:v>
                </c:pt>
                <c:pt idx="426" formatCode="#\ ##0.0">
                  <c:v>137.195853562872</c:v>
                </c:pt>
                <c:pt idx="427" formatCode="#\ ##0.0">
                  <c:v>152.27057079030499</c:v>
                </c:pt>
                <c:pt idx="428" formatCode="#\ ##0.0">
                  <c:v>174.00354693109099</c:v>
                </c:pt>
                <c:pt idx="429" formatCode="#\ ##0.0">
                  <c:v>203.45235136955901</c:v>
                </c:pt>
                <c:pt idx="430" formatCode="#\ ##0.0">
                  <c:v>221.36974790390499</c:v>
                </c:pt>
                <c:pt idx="431" formatCode="#\ ##0.0">
                  <c:v>228.96248159365501</c:v>
                </c:pt>
                <c:pt idx="432" formatCode="#\ ##0.0">
                  <c:v>230.88191343880999</c:v>
                </c:pt>
                <c:pt idx="433" formatCode="#\ ##0.0">
                  <c:v>240.05678738169701</c:v>
                </c:pt>
                <c:pt idx="434" formatCode="#\ ##0.0">
                  <c:v>258.16544707205099</c:v>
                </c:pt>
                <c:pt idx="435" formatCode="#\ ##0.0">
                  <c:v>269.77752664751301</c:v>
                </c:pt>
                <c:pt idx="436" formatCode="#\ ##0.0">
                  <c:v>274.15019560088899</c:v>
                </c:pt>
                <c:pt idx="437" formatCode="#\ ##0.0">
                  <c:v>294.03455229039702</c:v>
                </c:pt>
                <c:pt idx="438" formatCode="#\ ##0.0">
                  <c:v>301.45556442612502</c:v>
                </c:pt>
                <c:pt idx="439" formatCode="#\ ##0.0">
                  <c:v>308.817108503165</c:v>
                </c:pt>
                <c:pt idx="440" formatCode="#\ ##0.0">
                  <c:v>322.53285569198198</c:v>
                </c:pt>
                <c:pt idx="441" formatCode="#\ ##0.0">
                  <c:v>348.13875730227898</c:v>
                </c:pt>
                <c:pt idx="442" formatCode="#\ ##0.0">
                  <c:v>341.29963484904101</c:v>
                </c:pt>
                <c:pt idx="443" formatCode="#\ ##0.0">
                  <c:v>353.33110723605199</c:v>
                </c:pt>
                <c:pt idx="444" formatCode="#\ ##0.0">
                  <c:v>389.188336740843</c:v>
                </c:pt>
                <c:pt idx="445" formatCode="#\ ##0.0">
                  <c:v>406.172363708489</c:v>
                </c:pt>
                <c:pt idx="446" formatCode="#\ ##0.0">
                  <c:v>412.25233566674598</c:v>
                </c:pt>
                <c:pt idx="447" formatCode="#\ ##0.0">
                  <c:v>425.08443763200302</c:v>
                </c:pt>
                <c:pt idx="448" formatCode="#\ ##0.0">
                  <c:v>436.36204114731402</c:v>
                </c:pt>
                <c:pt idx="449" formatCode="#\ ##0.0">
                  <c:v>469.69914007316601</c:v>
                </c:pt>
                <c:pt idx="450" formatCode="#\ ##0.0">
                  <c:v>529.72672091605398</c:v>
                </c:pt>
                <c:pt idx="451" formatCode="#\ ##0.0">
                  <c:v>520.39602633474601</c:v>
                </c:pt>
                <c:pt idx="452" formatCode="#\ ##0.0">
                  <c:v>520.87147380492797</c:v>
                </c:pt>
                <c:pt idx="453" formatCode="#\ ##0.0">
                  <c:v>531.97002553509901</c:v>
                </c:pt>
                <c:pt idx="454" formatCode="#\ ##0.0">
                  <c:v>547.10915307285302</c:v>
                </c:pt>
                <c:pt idx="455" formatCode="#\ ##0.0">
                  <c:v>546.66826458826597</c:v>
                </c:pt>
                <c:pt idx="456" formatCode="#\ ##0.0">
                  <c:v>561.39178783338195</c:v>
                </c:pt>
                <c:pt idx="457" formatCode="#\ ##0.0">
                  <c:v>534.95515488265301</c:v>
                </c:pt>
                <c:pt idx="458" formatCode="#\ ##0.0">
                  <c:v>535.27791510699899</c:v>
                </c:pt>
                <c:pt idx="459" formatCode="#\ ##0.0">
                  <c:v>531.79136729359095</c:v>
                </c:pt>
                <c:pt idx="460" formatCode="#\ ##0.0">
                  <c:v>516.54489176378104</c:v>
                </c:pt>
                <c:pt idx="461" formatCode="#\ ##0.0">
                  <c:v>510.87875015319901</c:v>
                </c:pt>
                <c:pt idx="462" formatCode="#\ ##0.0">
                  <c:v>505.48333845794798</c:v>
                </c:pt>
                <c:pt idx="463" formatCode="#\ ##0.0">
                  <c:v>489.68606558888001</c:v>
                </c:pt>
                <c:pt idx="464" formatCode="#\ ##0.0">
                  <c:v>480.04762240352102</c:v>
                </c:pt>
                <c:pt idx="465" formatCode="#\ ##0.0">
                  <c:v>458.17271284672103</c:v>
                </c:pt>
                <c:pt idx="466" formatCode="#\ ##0.0">
                  <c:v>442.11392929995702</c:v>
                </c:pt>
                <c:pt idx="467" formatCode="#\ ##0.0">
                  <c:v>436.40749655356802</c:v>
                </c:pt>
                <c:pt idx="468" formatCode="#\ ##0.0">
                  <c:v>420.82851003727501</c:v>
                </c:pt>
                <c:pt idx="469" formatCode="#\ ##0.0">
                  <c:v>415.468765178659</c:v>
                </c:pt>
                <c:pt idx="470" formatCode="#\ ##0.0">
                  <c:v>403.67927918335801</c:v>
                </c:pt>
                <c:pt idx="471" formatCode="#\ ##0.0">
                  <c:v>383.24944872108398</c:v>
                </c:pt>
                <c:pt idx="472" formatCode="#\ ##0.0">
                  <c:v>367.69518403265801</c:v>
                </c:pt>
                <c:pt idx="473" formatCode="#\ ##0.0">
                  <c:v>356.88146423994499</c:v>
                </c:pt>
                <c:pt idx="474" formatCode="#\ ##0.0">
                  <c:v>352.78380767682</c:v>
                </c:pt>
                <c:pt idx="475" formatCode="#\ ##0.0">
                  <c:v>341.43638422434702</c:v>
                </c:pt>
                <c:pt idx="476" formatCode="#\ ##0.0">
                  <c:v>321.759967266974</c:v>
                </c:pt>
                <c:pt idx="477" formatCode="#\ ##0.0">
                  <c:v>311.71716242144203</c:v>
                </c:pt>
                <c:pt idx="478" formatCode="#\ ##0.0">
                  <c:v>300.95496411821199</c:v>
                </c:pt>
                <c:pt idx="479" formatCode="#\ ##0.0">
                  <c:v>261.43342205579597</c:v>
                </c:pt>
                <c:pt idx="480" formatCode="#\ ##0.0">
                  <c:v>235.62365132508199</c:v>
                </c:pt>
                <c:pt idx="481" formatCode="#\ ##0.0">
                  <c:v>226.69081144151801</c:v>
                </c:pt>
                <c:pt idx="482" formatCode="#\ ##0.0">
                  <c:v>218.20063352642001</c:v>
                </c:pt>
                <c:pt idx="483" formatCode="#\ ##0.0">
                  <c:v>206.19376383128099</c:v>
                </c:pt>
                <c:pt idx="484" formatCode="#\ ##0.0">
                  <c:v>198.62175708573</c:v>
                </c:pt>
                <c:pt idx="485" formatCode="#\ ##0.0">
                  <c:v>201.791853165719</c:v>
                </c:pt>
                <c:pt idx="486" formatCode="#\ ##0.0">
                  <c:v>233.85295581914701</c:v>
                </c:pt>
                <c:pt idx="487" formatCode="#\ ##0.0">
                  <c:v>237.23278640131801</c:v>
                </c:pt>
                <c:pt idx="488" formatCode="#\ ##0.0">
                  <c:v>239.189721640643</c:v>
                </c:pt>
                <c:pt idx="489" formatCode="#\ ##0.0">
                  <c:v>251.90562382093501</c:v>
                </c:pt>
                <c:pt idx="490" formatCode="#\ ##0.0">
                  <c:v>258.276281545838</c:v>
                </c:pt>
                <c:pt idx="491" formatCode="#\ ##0.0">
                  <c:v>256.68690425494299</c:v>
                </c:pt>
                <c:pt idx="492" formatCode="#\ ##0.0">
                  <c:v>249.057984765106</c:v>
                </c:pt>
                <c:pt idx="493" formatCode="#\ ##0.0">
                  <c:v>243.30652895110401</c:v>
                </c:pt>
                <c:pt idx="494" formatCode="#\ ##0.0">
                  <c:v>249.74584886479099</c:v>
                </c:pt>
                <c:pt idx="495" formatCode="#\ ##0.0">
                  <c:v>245.70482547332</c:v>
                </c:pt>
                <c:pt idx="496" formatCode="#\ ##0.0">
                  <c:v>215.146373308124</c:v>
                </c:pt>
                <c:pt idx="497" formatCode="#\ ##0.0">
                  <c:v>187.79326350516001</c:v>
                </c:pt>
                <c:pt idx="498" formatCode="#\ ##0.0">
                  <c:v>179.667959449915</c:v>
                </c:pt>
                <c:pt idx="499" formatCode="#\ ##0.0">
                  <c:v>172.81724308194299</c:v>
                </c:pt>
                <c:pt idx="500" formatCode="#\ ##0.0">
                  <c:v>169.438343269532</c:v>
                </c:pt>
                <c:pt idx="501" formatCode="#\ ##0.0">
                  <c:v>176.79122140141999</c:v>
                </c:pt>
                <c:pt idx="502" formatCode="#\ ##0.0">
                  <c:v>182.213780747453</c:v>
                </c:pt>
                <c:pt idx="503" formatCode="#\ ##0.0">
                  <c:v>157.8536276293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OCK_s_posil_pocet_pripadu_7dni_65_nyni</c:v>
          </c:tx>
          <c:spPr>
            <a:ln>
              <a:solidFill>
                <a:srgbClr val="70AD47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">
                  <c:v>22.978997196561998</c:v>
                </c:pt>
                <c:pt idx="427" formatCode="0.00">
                  <c:v>20.423446116141001</c:v>
                </c:pt>
                <c:pt idx="428" formatCode="0.00">
                  <c:v>19.813750743015</c:v>
                </c:pt>
                <c:pt idx="429" formatCode="0.00">
                  <c:v>16.955219381698999</c:v>
                </c:pt>
                <c:pt idx="430" formatCode="0.00">
                  <c:v>19.834609868480999</c:v>
                </c:pt>
                <c:pt idx="431" formatCode="0.00">
                  <c:v>23.524568471197</c:v>
                </c:pt>
                <c:pt idx="432" formatCode="0.00">
                  <c:v>24.349370497155999</c:v>
                </c:pt>
                <c:pt idx="433" formatCode="0.00">
                  <c:v>22.466064418483001</c:v>
                </c:pt>
                <c:pt idx="434" formatCode="0.00">
                  <c:v>33.482032950258997</c:v>
                </c:pt>
                <c:pt idx="435" formatCode="0.00">
                  <c:v>36.692963290358001</c:v>
                </c:pt>
                <c:pt idx="436" formatCode="0.00">
                  <c:v>43.084176726415002</c:v>
                </c:pt>
                <c:pt idx="437" formatCode="0.00">
                  <c:v>48.325449939226999</c:v>
                </c:pt>
                <c:pt idx="438" formatCode="0.00">
                  <c:v>50.909560241784</c:v>
                </c:pt>
                <c:pt idx="439" formatCode="0.00">
                  <c:v>52.035721819842998</c:v>
                </c:pt>
                <c:pt idx="440" formatCode="0.00">
                  <c:v>54.621479425909001</c:v>
                </c:pt>
                <c:pt idx="441" formatCode="0.00">
                  <c:v>48.119425700249003</c:v>
                </c:pt>
                <c:pt idx="442" formatCode="0.00">
                  <c:v>43.039477589789001</c:v>
                </c:pt>
                <c:pt idx="443" formatCode="0.00">
                  <c:v>39.547118836869998</c:v>
                </c:pt>
                <c:pt idx="444" formatCode="0.00">
                  <c:v>42.015092800326002</c:v>
                </c:pt>
                <c:pt idx="445" formatCode="0.00">
                  <c:v>47.191128067923003</c:v>
                </c:pt>
                <c:pt idx="446" formatCode="0.00">
                  <c:v>47.336717908662997</c:v>
                </c:pt>
                <c:pt idx="447" formatCode="0.00">
                  <c:v>51.648162460942999</c:v>
                </c:pt>
                <c:pt idx="448" formatCode="0.00">
                  <c:v>55.345228596166002</c:v>
                </c:pt>
                <c:pt idx="449" formatCode="0.00">
                  <c:v>56.56912968868</c:v>
                </c:pt>
                <c:pt idx="450" formatCode="0.00">
                  <c:v>59.346476599684003</c:v>
                </c:pt>
                <c:pt idx="451" formatCode="0.00">
                  <c:v>57.803957174315997</c:v>
                </c:pt>
                <c:pt idx="452" formatCode="0.00">
                  <c:v>59.390039203001997</c:v>
                </c:pt>
                <c:pt idx="453" formatCode="0.00">
                  <c:v>63.913498198801001</c:v>
                </c:pt>
                <c:pt idx="454" formatCode="0.00">
                  <c:v>59.460416540037997</c:v>
                </c:pt>
                <c:pt idx="455" formatCode="0.00">
                  <c:v>60.927559146309001</c:v>
                </c:pt>
                <c:pt idx="456" formatCode="0.00">
                  <c:v>67.434756872725004</c:v>
                </c:pt>
                <c:pt idx="457" formatCode="0.00">
                  <c:v>69.195730862011004</c:v>
                </c:pt>
                <c:pt idx="458" formatCode="0.00">
                  <c:v>70.739387369344001</c:v>
                </c:pt>
                <c:pt idx="459" formatCode="0.00">
                  <c:v>71.284603208945001</c:v>
                </c:pt>
                <c:pt idx="460" formatCode="0.00">
                  <c:v>70.053095258607001</c:v>
                </c:pt>
                <c:pt idx="461" formatCode="0.00">
                  <c:v>74.977758055736999</c:v>
                </c:pt>
                <c:pt idx="462" formatCode="0.00">
                  <c:v>72.578047545941004</c:v>
                </c:pt>
                <c:pt idx="463" formatCode="0.00">
                  <c:v>68.534327281470993</c:v>
                </c:pt>
                <c:pt idx="464" formatCode="0.00">
                  <c:v>66.005842952009999</c:v>
                </c:pt>
                <c:pt idx="465" formatCode="0.00">
                  <c:v>63.062947117214001</c:v>
                </c:pt>
                <c:pt idx="466" formatCode="0.00">
                  <c:v>64.521185367178006</c:v>
                </c:pt>
                <c:pt idx="467" formatCode="0.00">
                  <c:v>65.077098284494994</c:v>
                </c:pt>
                <c:pt idx="468" formatCode="0.00">
                  <c:v>61.377828811028003</c:v>
                </c:pt>
                <c:pt idx="469" formatCode="0.00">
                  <c:v>61.634334389844</c:v>
                </c:pt>
                <c:pt idx="470" formatCode="0.00">
                  <c:v>58.831645966922999</c:v>
                </c:pt>
                <c:pt idx="471" formatCode="0.00">
                  <c:v>56.605367653271003</c:v>
                </c:pt>
                <c:pt idx="472" formatCode="0.00">
                  <c:v>57.242346645372997</c:v>
                </c:pt>
                <c:pt idx="473" formatCode="0.00">
                  <c:v>57.462487608033001</c:v>
                </c:pt>
                <c:pt idx="474" formatCode="0.00">
                  <c:v>57.637916567840001</c:v>
                </c:pt>
                <c:pt idx="475" formatCode="0.00">
                  <c:v>57.133401055941</c:v>
                </c:pt>
                <c:pt idx="476" formatCode="0.00">
                  <c:v>54.811344356249997</c:v>
                </c:pt>
                <c:pt idx="477" formatCode="0.00">
                  <c:v>55.099253694543997</c:v>
                </c:pt>
                <c:pt idx="478" formatCode="0.00">
                  <c:v>53.258473331631997</c:v>
                </c:pt>
                <c:pt idx="479" formatCode="0.00">
                  <c:v>44.972801698235003</c:v>
                </c:pt>
                <c:pt idx="480" formatCode="0.00">
                  <c:v>39.963253066577003</c:v>
                </c:pt>
                <c:pt idx="481" formatCode="0.00">
                  <c:v>39.196453581359997</c:v>
                </c:pt>
                <c:pt idx="482" formatCode="0.00">
                  <c:v>38.638981265189997</c:v>
                </c:pt>
                <c:pt idx="483" formatCode="0.00">
                  <c:v>38.808871672294998</c:v>
                </c:pt>
                <c:pt idx="484" formatCode="0.00">
                  <c:v>36.596634147860001</c:v>
                </c:pt>
                <c:pt idx="485" formatCode="0.00">
                  <c:v>37.584050268666999</c:v>
                </c:pt>
                <c:pt idx="486" formatCode="0.00">
                  <c:v>44.244270981410999</c:v>
                </c:pt>
                <c:pt idx="487" formatCode="0.00">
                  <c:v>44.489640269479999</c:v>
                </c:pt>
                <c:pt idx="488" formatCode="0.00">
                  <c:v>44.693463784073003</c:v>
                </c:pt>
                <c:pt idx="489" formatCode="0.00">
                  <c:v>51.293933413763</c:v>
                </c:pt>
                <c:pt idx="490" formatCode="0.00">
                  <c:v>58.518806530540999</c:v>
                </c:pt>
                <c:pt idx="491" formatCode="0.00">
                  <c:v>63.745848949512997</c:v>
                </c:pt>
                <c:pt idx="492" formatCode="0.00">
                  <c:v>66.932798696318997</c:v>
                </c:pt>
                <c:pt idx="493" formatCode="0.00">
                  <c:v>70.645458069637996</c:v>
                </c:pt>
                <c:pt idx="494" formatCode="0.00">
                  <c:v>76.835521688431001</c:v>
                </c:pt>
                <c:pt idx="495" formatCode="0.00">
                  <c:v>78.843301452991</c:v>
                </c:pt>
                <c:pt idx="496" formatCode="0.00">
                  <c:v>73.345685751407999</c:v>
                </c:pt>
                <c:pt idx="497" formatCode="0.00">
                  <c:v>72.156676094324993</c:v>
                </c:pt>
                <c:pt idx="498" formatCode="0.00">
                  <c:v>75.499474078386996</c:v>
                </c:pt>
                <c:pt idx="499" formatCode="0.00">
                  <c:v>76.480135509237002</c:v>
                </c:pt>
                <c:pt idx="500" formatCode="0.00">
                  <c:v>81.821049010582001</c:v>
                </c:pt>
                <c:pt idx="501" formatCode="0.00">
                  <c:v>86.336935347410005</c:v>
                </c:pt>
                <c:pt idx="502" formatCode="0.00">
                  <c:v>90.125400693168004</c:v>
                </c:pt>
                <c:pt idx="503" formatCode="0.00">
                  <c:v>80.868778821646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6950688330131722"/>
        </c:manualLayout>
      </c:layout>
      <c:lineChart>
        <c:grouping val="standard"/>
        <c:varyColors val="0"/>
        <c:ser>
          <c:idx val="3"/>
          <c:order val="0"/>
          <c:tx>
            <c:v>NEOCK_POZ_indik_testu_65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1.3173188686E-2</c:v>
                </c:pt>
                <c:pt idx="1">
                  <c:v>2.2382671480000001E-2</c:v>
                </c:pt>
                <c:pt idx="2">
                  <c:v>3.1992084432000002E-2</c:v>
                </c:pt>
                <c:pt idx="3">
                  <c:v>4.2370279397999998E-2</c:v>
                </c:pt>
                <c:pt idx="4">
                  <c:v>4.9746797735999999E-2</c:v>
                </c:pt>
                <c:pt idx="5">
                  <c:v>5.3348796752000001E-2</c:v>
                </c:pt>
                <c:pt idx="6">
                  <c:v>6.0120240480000003E-2</c:v>
                </c:pt>
                <c:pt idx="7">
                  <c:v>6.6720691518000003E-2</c:v>
                </c:pt>
                <c:pt idx="8">
                  <c:v>7.2200263503999995E-2</c:v>
                </c:pt>
                <c:pt idx="9">
                  <c:v>7.7059120768000006E-2</c:v>
                </c:pt>
                <c:pt idx="10">
                  <c:v>7.9605414085000006E-2</c:v>
                </c:pt>
                <c:pt idx="11">
                  <c:v>9.7085342839E-2</c:v>
                </c:pt>
                <c:pt idx="12">
                  <c:v>0.100224078223</c:v>
                </c:pt>
                <c:pt idx="13">
                  <c:v>9.9980472562999995E-2</c:v>
                </c:pt>
                <c:pt idx="14">
                  <c:v>0.102381398837</c:v>
                </c:pt>
                <c:pt idx="15">
                  <c:v>0.107541427122</c:v>
                </c:pt>
                <c:pt idx="16">
                  <c:v>0.116071428571</c:v>
                </c:pt>
                <c:pt idx="17">
                  <c:v>0.122629969418</c:v>
                </c:pt>
                <c:pt idx="18">
                  <c:v>0.11622125543800001</c:v>
                </c:pt>
                <c:pt idx="19">
                  <c:v>0.11477652782</c:v>
                </c:pt>
                <c:pt idx="20">
                  <c:v>0.116051902609</c:v>
                </c:pt>
                <c:pt idx="21">
                  <c:v>0.122344944774</c:v>
                </c:pt>
                <c:pt idx="22">
                  <c:v>0.12366560376999999</c:v>
                </c:pt>
                <c:pt idx="23">
                  <c:v>0.130281211791</c:v>
                </c:pt>
                <c:pt idx="24">
                  <c:v>0.14078110808300001</c:v>
                </c:pt>
                <c:pt idx="25">
                  <c:v>0.14407209951700001</c:v>
                </c:pt>
                <c:pt idx="26">
                  <c:v>0.146060378303</c:v>
                </c:pt>
                <c:pt idx="27">
                  <c:v>0.156983606557</c:v>
                </c:pt>
                <c:pt idx="28">
                  <c:v>0.16034571723400001</c:v>
                </c:pt>
                <c:pt idx="29">
                  <c:v>0.16682738669200001</c:v>
                </c:pt>
                <c:pt idx="30">
                  <c:v>0.17779069767399999</c:v>
                </c:pt>
                <c:pt idx="31">
                  <c:v>0.18621603711000001</c:v>
                </c:pt>
                <c:pt idx="32">
                  <c:v>0.194694960212</c:v>
                </c:pt>
                <c:pt idx="33">
                  <c:v>0.20254605671699999</c:v>
                </c:pt>
                <c:pt idx="34">
                  <c:v>0.21259988849600001</c:v>
                </c:pt>
                <c:pt idx="35">
                  <c:v>0.222019147084</c:v>
                </c:pt>
                <c:pt idx="36">
                  <c:v>0.239334290783</c:v>
                </c:pt>
                <c:pt idx="37">
                  <c:v>0.25448680836900001</c:v>
                </c:pt>
                <c:pt idx="38">
                  <c:v>0.287648323644</c:v>
                </c:pt>
                <c:pt idx="39">
                  <c:v>0.29792219965599998</c:v>
                </c:pt>
                <c:pt idx="40">
                  <c:v>0.30487246066899998</c:v>
                </c:pt>
                <c:pt idx="41">
                  <c:v>0.30794474547799999</c:v>
                </c:pt>
                <c:pt idx="42">
                  <c:v>0.31860248224400001</c:v>
                </c:pt>
                <c:pt idx="43">
                  <c:v>0.32557826788499999</c:v>
                </c:pt>
                <c:pt idx="44">
                  <c:v>0.33374004623600001</c:v>
                </c:pt>
                <c:pt idx="45">
                  <c:v>0.32429365031899998</c:v>
                </c:pt>
                <c:pt idx="46">
                  <c:v>0.333835930083</c:v>
                </c:pt>
                <c:pt idx="47">
                  <c:v>0.33923639317600002</c:v>
                </c:pt>
                <c:pt idx="48">
                  <c:v>0.34646801952200001</c:v>
                </c:pt>
                <c:pt idx="49">
                  <c:v>0.35447852162400001</c:v>
                </c:pt>
                <c:pt idx="50">
                  <c:v>0.36672349444699998</c:v>
                </c:pt>
                <c:pt idx="51">
                  <c:v>0.369977678571</c:v>
                </c:pt>
                <c:pt idx="52">
                  <c:v>0.38683416670100002</c:v>
                </c:pt>
                <c:pt idx="53">
                  <c:v>0.39261704920599999</c:v>
                </c:pt>
                <c:pt idx="54">
                  <c:v>0.39581299066499998</c:v>
                </c:pt>
                <c:pt idx="55">
                  <c:v>0.39486739527699999</c:v>
                </c:pt>
                <c:pt idx="56">
                  <c:v>0.39848237713599999</c:v>
                </c:pt>
                <c:pt idx="57">
                  <c:v>0.40264825229500001</c:v>
                </c:pt>
                <c:pt idx="58">
                  <c:v>0.40501944149800001</c:v>
                </c:pt>
                <c:pt idx="59">
                  <c:v>0.39465247936699999</c:v>
                </c:pt>
                <c:pt idx="60">
                  <c:v>0.38924284085499999</c:v>
                </c:pt>
                <c:pt idx="61">
                  <c:v>0.388030823631</c:v>
                </c:pt>
                <c:pt idx="62">
                  <c:v>0.39471555675300002</c:v>
                </c:pt>
                <c:pt idx="63">
                  <c:v>0.386629281805</c:v>
                </c:pt>
                <c:pt idx="64">
                  <c:v>0.38894360186400001</c:v>
                </c:pt>
                <c:pt idx="65">
                  <c:v>0.38689338937700002</c:v>
                </c:pt>
                <c:pt idx="66">
                  <c:v>0.382804013035</c:v>
                </c:pt>
                <c:pt idx="67">
                  <c:v>0.38046029469199999</c:v>
                </c:pt>
                <c:pt idx="68">
                  <c:v>0.37622214832</c:v>
                </c:pt>
                <c:pt idx="69">
                  <c:v>0.35846046465199999</c:v>
                </c:pt>
                <c:pt idx="70">
                  <c:v>0.34730677607100002</c:v>
                </c:pt>
                <c:pt idx="71">
                  <c:v>0.32751695529000002</c:v>
                </c:pt>
                <c:pt idx="72">
                  <c:v>0.317669302165</c:v>
                </c:pt>
                <c:pt idx="73">
                  <c:v>0.30982753705799998</c:v>
                </c:pt>
                <c:pt idx="74">
                  <c:v>0.30532725642500003</c:v>
                </c:pt>
                <c:pt idx="75">
                  <c:v>0.29828301671200003</c:v>
                </c:pt>
                <c:pt idx="76">
                  <c:v>0.29032016756399998</c:v>
                </c:pt>
                <c:pt idx="77">
                  <c:v>0.29043698543300001</c:v>
                </c:pt>
                <c:pt idx="78">
                  <c:v>0.27553315936200001</c:v>
                </c:pt>
                <c:pt idx="79">
                  <c:v>0.26439729540599999</c:v>
                </c:pt>
                <c:pt idx="80">
                  <c:v>0.25834235653100002</c:v>
                </c:pt>
                <c:pt idx="81">
                  <c:v>0.247086131963</c:v>
                </c:pt>
                <c:pt idx="82">
                  <c:v>0.24750161587</c:v>
                </c:pt>
                <c:pt idx="83">
                  <c:v>0.23999802185800001</c:v>
                </c:pt>
                <c:pt idx="84">
                  <c:v>0.23992879894999999</c:v>
                </c:pt>
                <c:pt idx="85">
                  <c:v>0.24094754653100001</c:v>
                </c:pt>
                <c:pt idx="86">
                  <c:v>0.237246161466</c:v>
                </c:pt>
                <c:pt idx="87">
                  <c:v>0.22850406340900001</c:v>
                </c:pt>
                <c:pt idx="88">
                  <c:v>0.225278356805</c:v>
                </c:pt>
                <c:pt idx="89">
                  <c:v>0.22455120359</c:v>
                </c:pt>
                <c:pt idx="90">
                  <c:v>0.21959777940700001</c:v>
                </c:pt>
                <c:pt idx="91">
                  <c:v>0.215793963954</c:v>
                </c:pt>
                <c:pt idx="92">
                  <c:v>0.21387868136499999</c:v>
                </c:pt>
                <c:pt idx="93">
                  <c:v>0.211420582858</c:v>
                </c:pt>
                <c:pt idx="94">
                  <c:v>0.21382113821099999</c:v>
                </c:pt>
                <c:pt idx="95">
                  <c:v>0.22452892199800001</c:v>
                </c:pt>
                <c:pt idx="96">
                  <c:v>0.223210364514</c:v>
                </c:pt>
                <c:pt idx="97">
                  <c:v>0.236315999316</c:v>
                </c:pt>
                <c:pt idx="98">
                  <c:v>0.24147262784000001</c:v>
                </c:pt>
                <c:pt idx="99">
                  <c:v>0.25576836917500001</c:v>
                </c:pt>
                <c:pt idx="100">
                  <c:v>0.26356632115700002</c:v>
                </c:pt>
                <c:pt idx="101">
                  <c:v>0.263889628722</c:v>
                </c:pt>
                <c:pt idx="102">
                  <c:v>0.260622931876</c:v>
                </c:pt>
                <c:pt idx="103">
                  <c:v>0.26483470643399998</c:v>
                </c:pt>
                <c:pt idx="104">
                  <c:v>0.26636545669200001</c:v>
                </c:pt>
                <c:pt idx="105">
                  <c:v>0.26948480845400002</c:v>
                </c:pt>
                <c:pt idx="106">
                  <c:v>0.26813349814499998</c:v>
                </c:pt>
                <c:pt idx="107">
                  <c:v>0.26951448821099999</c:v>
                </c:pt>
                <c:pt idx="108">
                  <c:v>0.27930494231500003</c:v>
                </c:pt>
                <c:pt idx="109">
                  <c:v>0.27669117307000002</c:v>
                </c:pt>
                <c:pt idx="110">
                  <c:v>0.27869450268899998</c:v>
                </c:pt>
                <c:pt idx="111">
                  <c:v>0.28292317191400002</c:v>
                </c:pt>
                <c:pt idx="112">
                  <c:v>0.285768357305</c:v>
                </c:pt>
                <c:pt idx="113">
                  <c:v>0.299548018079</c:v>
                </c:pt>
                <c:pt idx="114">
                  <c:v>0.30522912935199997</c:v>
                </c:pt>
                <c:pt idx="115">
                  <c:v>0.30575486894100001</c:v>
                </c:pt>
                <c:pt idx="116">
                  <c:v>0.31006534623300003</c:v>
                </c:pt>
                <c:pt idx="117">
                  <c:v>0.30630719762500003</c:v>
                </c:pt>
                <c:pt idx="118">
                  <c:v>0.31734458940900001</c:v>
                </c:pt>
                <c:pt idx="119">
                  <c:v>0.33884789881299998</c:v>
                </c:pt>
                <c:pt idx="120">
                  <c:v>0.34945740521000002</c:v>
                </c:pt>
                <c:pt idx="121">
                  <c:v>0.36118088025</c:v>
                </c:pt>
                <c:pt idx="122">
                  <c:v>0.36733749710800001</c:v>
                </c:pt>
                <c:pt idx="123">
                  <c:v>0.36924803591400002</c:v>
                </c:pt>
                <c:pt idx="124">
                  <c:v>0.37762545361200001</c:v>
                </c:pt>
                <c:pt idx="125">
                  <c:v>0.37508749824999998</c:v>
                </c:pt>
                <c:pt idx="126">
                  <c:v>0.37512193481099998</c:v>
                </c:pt>
                <c:pt idx="127">
                  <c:v>0.381261873812</c:v>
                </c:pt>
                <c:pt idx="128">
                  <c:v>0.37771533215399999</c:v>
                </c:pt>
                <c:pt idx="129">
                  <c:v>0.37305656859199998</c:v>
                </c:pt>
                <c:pt idx="130">
                  <c:v>0.38269905532999998</c:v>
                </c:pt>
                <c:pt idx="131">
                  <c:v>0.38014607325499999</c:v>
                </c:pt>
                <c:pt idx="132">
                  <c:v>0.375013908979</c:v>
                </c:pt>
                <c:pt idx="133">
                  <c:v>0.36395881996700002</c:v>
                </c:pt>
                <c:pt idx="134">
                  <c:v>0.34947104177799998</c:v>
                </c:pt>
                <c:pt idx="135">
                  <c:v>0.32935897838099998</c:v>
                </c:pt>
                <c:pt idx="136">
                  <c:v>0.32457398205799998</c:v>
                </c:pt>
                <c:pt idx="137">
                  <c:v>0.31073736026999998</c:v>
                </c:pt>
                <c:pt idx="138">
                  <c:v>0.30917453569800002</c:v>
                </c:pt>
                <c:pt idx="139">
                  <c:v>0.30707890826000001</c:v>
                </c:pt>
                <c:pt idx="140">
                  <c:v>0.30413935193800001</c:v>
                </c:pt>
                <c:pt idx="141">
                  <c:v>0.29513125939599999</c:v>
                </c:pt>
                <c:pt idx="142">
                  <c:v>0.30151521241099999</c:v>
                </c:pt>
                <c:pt idx="143">
                  <c:v>0.29297574474999999</c:v>
                </c:pt>
                <c:pt idx="144">
                  <c:v>0.28867465908599999</c:v>
                </c:pt>
                <c:pt idx="145">
                  <c:v>0.28512447875800001</c:v>
                </c:pt>
                <c:pt idx="146">
                  <c:v>0.28091850742500002</c:v>
                </c:pt>
                <c:pt idx="147">
                  <c:v>0.27677741144599999</c:v>
                </c:pt>
                <c:pt idx="148">
                  <c:v>0.271711528694</c:v>
                </c:pt>
                <c:pt idx="149">
                  <c:v>0.27137343736800001</c:v>
                </c:pt>
                <c:pt idx="150">
                  <c:v>0.269618384988</c:v>
                </c:pt>
                <c:pt idx="151">
                  <c:v>0.26914929672900001</c:v>
                </c:pt>
                <c:pt idx="152">
                  <c:v>0.271433441281</c:v>
                </c:pt>
                <c:pt idx="153">
                  <c:v>0.27160180842499998</c:v>
                </c:pt>
                <c:pt idx="154">
                  <c:v>0.27007850875299999</c:v>
                </c:pt>
                <c:pt idx="155">
                  <c:v>0.27367576243899999</c:v>
                </c:pt>
                <c:pt idx="156">
                  <c:v>0.270236299648</c:v>
                </c:pt>
                <c:pt idx="157">
                  <c:v>0.27236354447400002</c:v>
                </c:pt>
                <c:pt idx="158">
                  <c:v>0.27706337199499997</c:v>
                </c:pt>
                <c:pt idx="159">
                  <c:v>0.27625398423000003</c:v>
                </c:pt>
                <c:pt idx="160">
                  <c:v>0.27868220375199998</c:v>
                </c:pt>
                <c:pt idx="161">
                  <c:v>0.27997781001900002</c:v>
                </c:pt>
                <c:pt idx="162">
                  <c:v>0.28260775582499997</c:v>
                </c:pt>
                <c:pt idx="163">
                  <c:v>0.289412076505</c:v>
                </c:pt>
                <c:pt idx="164">
                  <c:v>0.28727963592900002</c:v>
                </c:pt>
                <c:pt idx="165">
                  <c:v>0.284092415072</c:v>
                </c:pt>
                <c:pt idx="166">
                  <c:v>0.28528475415600002</c:v>
                </c:pt>
                <c:pt idx="167">
                  <c:v>0.28736285352099999</c:v>
                </c:pt>
                <c:pt idx="168">
                  <c:v>0.299683154374</c:v>
                </c:pt>
                <c:pt idx="169">
                  <c:v>0.29841931561500001</c:v>
                </c:pt>
                <c:pt idx="170">
                  <c:v>0.29952302562100003</c:v>
                </c:pt>
                <c:pt idx="171">
                  <c:v>0.30653928512599998</c:v>
                </c:pt>
                <c:pt idx="172">
                  <c:v>0.31210685401499999</c:v>
                </c:pt>
                <c:pt idx="173">
                  <c:v>0.31394639443599998</c:v>
                </c:pt>
                <c:pt idx="174">
                  <c:v>0.31771869776299999</c:v>
                </c:pt>
                <c:pt idx="175">
                  <c:v>0.32032004947600001</c:v>
                </c:pt>
                <c:pt idx="176">
                  <c:v>0.32856225688200003</c:v>
                </c:pt>
                <c:pt idx="177">
                  <c:v>0.335291711597</c:v>
                </c:pt>
                <c:pt idx="178">
                  <c:v>0.338907103825</c:v>
                </c:pt>
                <c:pt idx="179">
                  <c:v>0.33855697028999998</c:v>
                </c:pt>
                <c:pt idx="180">
                  <c:v>0.33911535125699999</c:v>
                </c:pt>
                <c:pt idx="181">
                  <c:v>0.34381949924600003</c:v>
                </c:pt>
                <c:pt idx="182">
                  <c:v>0.34407843690399997</c:v>
                </c:pt>
                <c:pt idx="183">
                  <c:v>0.34484675794000003</c:v>
                </c:pt>
                <c:pt idx="184">
                  <c:v>0.34482282717399998</c:v>
                </c:pt>
                <c:pt idx="185">
                  <c:v>0.33608020876200001</c:v>
                </c:pt>
                <c:pt idx="186">
                  <c:v>0.34393004115199999</c:v>
                </c:pt>
                <c:pt idx="187">
                  <c:v>0.34237554167899997</c:v>
                </c:pt>
                <c:pt idx="188">
                  <c:v>0.33848009650100003</c:v>
                </c:pt>
                <c:pt idx="189">
                  <c:v>0.328979648249</c:v>
                </c:pt>
                <c:pt idx="190">
                  <c:v>0.32588576559100002</c:v>
                </c:pt>
                <c:pt idx="191">
                  <c:v>0.313480383669</c:v>
                </c:pt>
                <c:pt idx="192">
                  <c:v>0.32818546278499999</c:v>
                </c:pt>
                <c:pt idx="193">
                  <c:v>0.31921061823199998</c:v>
                </c:pt>
                <c:pt idx="194">
                  <c:v>0.31749982472100002</c:v>
                </c:pt>
                <c:pt idx="195">
                  <c:v>0.31310864009900002</c:v>
                </c:pt>
                <c:pt idx="196">
                  <c:v>0.316818955633</c:v>
                </c:pt>
                <c:pt idx="197">
                  <c:v>0.312451662799</c:v>
                </c:pt>
                <c:pt idx="198">
                  <c:v>0.31600156912999999</c:v>
                </c:pt>
                <c:pt idx="199">
                  <c:v>0.29538013823199999</c:v>
                </c:pt>
                <c:pt idx="200">
                  <c:v>0.29135982500899998</c:v>
                </c:pt>
                <c:pt idx="201">
                  <c:v>0.28987999414600002</c:v>
                </c:pt>
                <c:pt idx="202">
                  <c:v>0.28260384100000002</c:v>
                </c:pt>
                <c:pt idx="203">
                  <c:v>0.27484383872700002</c:v>
                </c:pt>
                <c:pt idx="204">
                  <c:v>0.26877701203100002</c:v>
                </c:pt>
                <c:pt idx="205">
                  <c:v>0.26094302553999998</c:v>
                </c:pt>
                <c:pt idx="206">
                  <c:v>0.26047373509499999</c:v>
                </c:pt>
                <c:pt idx="207">
                  <c:v>0.25891428336900002</c:v>
                </c:pt>
                <c:pt idx="208">
                  <c:v>0.25811944513599999</c:v>
                </c:pt>
                <c:pt idx="209">
                  <c:v>0.25612897864200002</c:v>
                </c:pt>
                <c:pt idx="210">
                  <c:v>0.24974541751500001</c:v>
                </c:pt>
                <c:pt idx="211">
                  <c:v>0.25012957843799999</c:v>
                </c:pt>
                <c:pt idx="212">
                  <c:v>0.24441021126699999</c:v>
                </c:pt>
                <c:pt idx="213">
                  <c:v>0.24260899017699999</c:v>
                </c:pt>
                <c:pt idx="214">
                  <c:v>0.23811410459499999</c:v>
                </c:pt>
                <c:pt idx="215">
                  <c:v>0.236931734044</c:v>
                </c:pt>
                <c:pt idx="216">
                  <c:v>0.24039084113199999</c:v>
                </c:pt>
                <c:pt idx="217">
                  <c:v>0.21698446327599999</c:v>
                </c:pt>
                <c:pt idx="218">
                  <c:v>0.20378898280300001</c:v>
                </c:pt>
                <c:pt idx="219">
                  <c:v>0.19750432861600001</c:v>
                </c:pt>
                <c:pt idx="220">
                  <c:v>0.19173223983099999</c:v>
                </c:pt>
                <c:pt idx="221">
                  <c:v>0.189835740271</c:v>
                </c:pt>
                <c:pt idx="222">
                  <c:v>0.18779001509400001</c:v>
                </c:pt>
                <c:pt idx="223">
                  <c:v>0.17851149935800001</c:v>
                </c:pt>
                <c:pt idx="224">
                  <c:v>0.18068838541400001</c:v>
                </c:pt>
                <c:pt idx="225">
                  <c:v>0.16979016498400001</c:v>
                </c:pt>
                <c:pt idx="226">
                  <c:v>0.160616061606</c:v>
                </c:pt>
                <c:pt idx="227">
                  <c:v>0.15527145753499999</c:v>
                </c:pt>
                <c:pt idx="228">
                  <c:v>0.15328005519400001</c:v>
                </c:pt>
                <c:pt idx="229">
                  <c:v>0.15035045386599999</c:v>
                </c:pt>
                <c:pt idx="230">
                  <c:v>0.148193688155</c:v>
                </c:pt>
                <c:pt idx="231">
                  <c:v>0.14103648224199999</c:v>
                </c:pt>
                <c:pt idx="232">
                  <c:v>0.136527916251</c:v>
                </c:pt>
                <c:pt idx="233">
                  <c:v>0.13499461035999999</c:v>
                </c:pt>
                <c:pt idx="234">
                  <c:v>0.128281778008</c:v>
                </c:pt>
                <c:pt idx="235">
                  <c:v>0.12331344058099999</c:v>
                </c:pt>
                <c:pt idx="236">
                  <c:v>0.124143835616</c:v>
                </c:pt>
                <c:pt idx="237">
                  <c:v>0.121462660482</c:v>
                </c:pt>
                <c:pt idx="238">
                  <c:v>0.118624126237</c:v>
                </c:pt>
                <c:pt idx="239">
                  <c:v>0.114697085622</c:v>
                </c:pt>
                <c:pt idx="240">
                  <c:v>0.110986625586</c:v>
                </c:pt>
                <c:pt idx="241">
                  <c:v>0.108802127064</c:v>
                </c:pt>
                <c:pt idx="242">
                  <c:v>0.11144812019399999</c:v>
                </c:pt>
                <c:pt idx="243">
                  <c:v>0.10847836723199999</c:v>
                </c:pt>
                <c:pt idx="244">
                  <c:v>0.100749544196</c:v>
                </c:pt>
                <c:pt idx="245">
                  <c:v>9.4960351267999996E-2</c:v>
                </c:pt>
                <c:pt idx="246">
                  <c:v>9.0154365027E-2</c:v>
                </c:pt>
                <c:pt idx="247">
                  <c:v>8.5643467483999994E-2</c:v>
                </c:pt>
                <c:pt idx="248">
                  <c:v>8.0998539369999997E-2</c:v>
                </c:pt>
                <c:pt idx="249">
                  <c:v>7.6250833889000003E-2</c:v>
                </c:pt>
                <c:pt idx="250">
                  <c:v>7.4973247726000003E-2</c:v>
                </c:pt>
                <c:pt idx="251">
                  <c:v>7.2638726936E-2</c:v>
                </c:pt>
                <c:pt idx="252">
                  <c:v>6.7895940537000002E-2</c:v>
                </c:pt>
                <c:pt idx="253">
                  <c:v>6.2375580622999999E-2</c:v>
                </c:pt>
                <c:pt idx="254">
                  <c:v>5.9033192247000002E-2</c:v>
                </c:pt>
                <c:pt idx="255">
                  <c:v>5.6805357007999997E-2</c:v>
                </c:pt>
                <c:pt idx="256">
                  <c:v>5.5889743393999998E-2</c:v>
                </c:pt>
                <c:pt idx="257">
                  <c:v>5.5087342934999999E-2</c:v>
                </c:pt>
                <c:pt idx="258">
                  <c:v>4.9105413988000002E-2</c:v>
                </c:pt>
                <c:pt idx="259">
                  <c:v>4.6537135693999997E-2</c:v>
                </c:pt>
                <c:pt idx="260">
                  <c:v>4.3566520923999999E-2</c:v>
                </c:pt>
                <c:pt idx="261">
                  <c:v>4.0050556915999999E-2</c:v>
                </c:pt>
                <c:pt idx="262">
                  <c:v>3.5916378497000002E-2</c:v>
                </c:pt>
                <c:pt idx="263">
                  <c:v>3.3398821218000002E-2</c:v>
                </c:pt>
                <c:pt idx="264">
                  <c:v>3.2763644954999997E-2</c:v>
                </c:pt>
                <c:pt idx="265">
                  <c:v>3.2466986289000001E-2</c:v>
                </c:pt>
                <c:pt idx="266">
                  <c:v>2.9409174957999999E-2</c:v>
                </c:pt>
                <c:pt idx="267">
                  <c:v>2.9713309284000001E-2</c:v>
                </c:pt>
                <c:pt idx="268">
                  <c:v>2.8121827411E-2</c:v>
                </c:pt>
                <c:pt idx="269">
                  <c:v>2.8351342676000001E-2</c:v>
                </c:pt>
                <c:pt idx="270">
                  <c:v>2.8405352049999999E-2</c:v>
                </c:pt>
                <c:pt idx="271">
                  <c:v>2.8500619578E-2</c:v>
                </c:pt>
                <c:pt idx="272">
                  <c:v>2.7284487826999999E-2</c:v>
                </c:pt>
                <c:pt idx="273">
                  <c:v>2.5780862666999999E-2</c:v>
                </c:pt>
                <c:pt idx="274">
                  <c:v>2.4209043166000001E-2</c:v>
                </c:pt>
                <c:pt idx="275">
                  <c:v>2.3956015184999999E-2</c:v>
                </c:pt>
                <c:pt idx="276">
                  <c:v>2.2492065682E-2</c:v>
                </c:pt>
                <c:pt idx="277">
                  <c:v>2.1641371557000001E-2</c:v>
                </c:pt>
                <c:pt idx="278">
                  <c:v>2.0779960148000001E-2</c:v>
                </c:pt>
                <c:pt idx="279">
                  <c:v>2.0292950869000001E-2</c:v>
                </c:pt>
                <c:pt idx="280">
                  <c:v>1.7789672544000001E-2</c:v>
                </c:pt>
                <c:pt idx="281">
                  <c:v>1.5981735159000001E-2</c:v>
                </c:pt>
                <c:pt idx="282">
                  <c:v>1.4987080103000001E-2</c:v>
                </c:pt>
                <c:pt idx="283">
                  <c:v>1.2113764044000001E-2</c:v>
                </c:pt>
                <c:pt idx="284">
                  <c:v>1.1269589716000001E-2</c:v>
                </c:pt>
                <c:pt idx="285">
                  <c:v>1.1845827438999999E-2</c:v>
                </c:pt>
                <c:pt idx="286">
                  <c:v>1.0445812348000001E-2</c:v>
                </c:pt>
                <c:pt idx="287">
                  <c:v>1.0704225352E-2</c:v>
                </c:pt>
                <c:pt idx="288">
                  <c:v>1.2162162161999999E-2</c:v>
                </c:pt>
                <c:pt idx="289">
                  <c:v>9.8512652110000001E-3</c:v>
                </c:pt>
                <c:pt idx="290">
                  <c:v>1.0222489475999999E-2</c:v>
                </c:pt>
                <c:pt idx="291">
                  <c:v>1.0294711344E-2</c:v>
                </c:pt>
                <c:pt idx="292">
                  <c:v>1.02124183E-2</c:v>
                </c:pt>
                <c:pt idx="293">
                  <c:v>9.5733610819999995E-3</c:v>
                </c:pt>
                <c:pt idx="294">
                  <c:v>8.7542087540000008E-3</c:v>
                </c:pt>
                <c:pt idx="295">
                  <c:v>6.3424947140000004E-3</c:v>
                </c:pt>
                <c:pt idx="296">
                  <c:v>6.125949522E-3</c:v>
                </c:pt>
                <c:pt idx="297">
                  <c:v>5.5290273930000003E-3</c:v>
                </c:pt>
                <c:pt idx="298">
                  <c:v>5.9263076519999996E-3</c:v>
                </c:pt>
                <c:pt idx="299">
                  <c:v>5.1773233230000002E-3</c:v>
                </c:pt>
                <c:pt idx="300">
                  <c:v>4.3513734019999997E-3</c:v>
                </c:pt>
                <c:pt idx="301">
                  <c:v>2.7624309389999999E-3</c:v>
                </c:pt>
                <c:pt idx="302">
                  <c:v>1.6987542459999999E-3</c:v>
                </c:pt>
                <c:pt idx="303">
                  <c:v>2.3689665380000001E-3</c:v>
                </c:pt>
                <c:pt idx="304">
                  <c:v>2.1263669499999999E-3</c:v>
                </c:pt>
                <c:pt idx="305">
                  <c:v>2.4509803919999999E-3</c:v>
                </c:pt>
                <c:pt idx="306">
                  <c:v>2.5173064820000002E-3</c:v>
                </c:pt>
                <c:pt idx="307">
                  <c:v>2.6119402980000002E-3</c:v>
                </c:pt>
                <c:pt idx="308">
                  <c:v>3.1832651200000002E-3</c:v>
                </c:pt>
                <c:pt idx="309">
                  <c:v>5.8269834149999996E-3</c:v>
                </c:pt>
                <c:pt idx="310">
                  <c:v>5.6620209049999997E-3</c:v>
                </c:pt>
                <c:pt idx="311">
                  <c:v>7.2649572639999997E-3</c:v>
                </c:pt>
                <c:pt idx="312">
                  <c:v>7.1548821539999998E-3</c:v>
                </c:pt>
                <c:pt idx="313">
                  <c:v>7.4503311250000001E-3</c:v>
                </c:pt>
                <c:pt idx="314">
                  <c:v>9.3761269380000008E-3</c:v>
                </c:pt>
                <c:pt idx="315">
                  <c:v>1.0019392372E-2</c:v>
                </c:pt>
                <c:pt idx="316">
                  <c:v>9.2257001639999992E-3</c:v>
                </c:pt>
                <c:pt idx="317">
                  <c:v>8.8980150579999993E-3</c:v>
                </c:pt>
                <c:pt idx="318">
                  <c:v>8.3682008359999994E-3</c:v>
                </c:pt>
                <c:pt idx="319">
                  <c:v>7.6735263340000004E-3</c:v>
                </c:pt>
                <c:pt idx="320">
                  <c:v>8.1128747790000007E-3</c:v>
                </c:pt>
                <c:pt idx="321">
                  <c:v>6.906579425E-3</c:v>
                </c:pt>
                <c:pt idx="322">
                  <c:v>5.649717514E-3</c:v>
                </c:pt>
                <c:pt idx="323">
                  <c:v>6.056018168E-3</c:v>
                </c:pt>
                <c:pt idx="324">
                  <c:v>6.7365269460000002E-3</c:v>
                </c:pt>
                <c:pt idx="325">
                  <c:v>8.3459787550000004E-3</c:v>
                </c:pt>
                <c:pt idx="326">
                  <c:v>9.0395480220000005E-3</c:v>
                </c:pt>
                <c:pt idx="327">
                  <c:v>8.3018867919999999E-3</c:v>
                </c:pt>
                <c:pt idx="328">
                  <c:v>8.3969465640000001E-3</c:v>
                </c:pt>
                <c:pt idx="329">
                  <c:v>8.3969465640000001E-3</c:v>
                </c:pt>
                <c:pt idx="330">
                  <c:v>7.8308535629999995E-3</c:v>
                </c:pt>
                <c:pt idx="331">
                  <c:v>8.3102493070000005E-3</c:v>
                </c:pt>
                <c:pt idx="332">
                  <c:v>6.412825651E-3</c:v>
                </c:pt>
                <c:pt idx="333">
                  <c:v>6.1000406660000001E-3</c:v>
                </c:pt>
                <c:pt idx="334">
                  <c:v>6.8993506489999998E-3</c:v>
                </c:pt>
                <c:pt idx="335">
                  <c:v>6.5654493219999997E-3</c:v>
                </c:pt>
                <c:pt idx="336">
                  <c:v>7.5917334450000002E-3</c:v>
                </c:pt>
                <c:pt idx="337">
                  <c:v>9.3457943919999995E-3</c:v>
                </c:pt>
                <c:pt idx="338">
                  <c:v>8.8261253300000002E-3</c:v>
                </c:pt>
                <c:pt idx="339">
                  <c:v>1.0337078651E-2</c:v>
                </c:pt>
                <c:pt idx="340">
                  <c:v>1.0435571687E-2</c:v>
                </c:pt>
                <c:pt idx="341">
                  <c:v>9.6241979830000001E-3</c:v>
                </c:pt>
                <c:pt idx="342">
                  <c:v>1.1111111111000001E-2</c:v>
                </c:pt>
                <c:pt idx="343">
                  <c:v>1.0938924339000001E-2</c:v>
                </c:pt>
                <c:pt idx="344">
                  <c:v>1.0487916096E-2</c:v>
                </c:pt>
                <c:pt idx="345">
                  <c:v>9.8302055399999994E-3</c:v>
                </c:pt>
                <c:pt idx="346">
                  <c:v>8.7527352290000006E-3</c:v>
                </c:pt>
                <c:pt idx="347">
                  <c:v>8.3078268470000004E-3</c:v>
                </c:pt>
                <c:pt idx="348">
                  <c:v>9.1663029239999992E-3</c:v>
                </c:pt>
                <c:pt idx="349">
                  <c:v>9.5860566439999999E-3</c:v>
                </c:pt>
                <c:pt idx="350">
                  <c:v>9.991311902E-3</c:v>
                </c:pt>
                <c:pt idx="351">
                  <c:v>9.4339622639999995E-3</c:v>
                </c:pt>
                <c:pt idx="352">
                  <c:v>9.6575943809999992E-3</c:v>
                </c:pt>
                <c:pt idx="353">
                  <c:v>1.0056843025E-2</c:v>
                </c:pt>
                <c:pt idx="354">
                  <c:v>1.1363636363E-2</c:v>
                </c:pt>
                <c:pt idx="355">
                  <c:v>1.0794473229E-2</c:v>
                </c:pt>
                <c:pt idx="356">
                  <c:v>8.0988917300000001E-3</c:v>
                </c:pt>
                <c:pt idx="357">
                  <c:v>8.2073434120000007E-3</c:v>
                </c:pt>
                <c:pt idx="358">
                  <c:v>8.5800085799999995E-3</c:v>
                </c:pt>
                <c:pt idx="359">
                  <c:v>8.9285714279999998E-3</c:v>
                </c:pt>
                <c:pt idx="360">
                  <c:v>7.5885328829999998E-3</c:v>
                </c:pt>
                <c:pt idx="361">
                  <c:v>6.7767894950000003E-3</c:v>
                </c:pt>
                <c:pt idx="362">
                  <c:v>6.7340067340000004E-3</c:v>
                </c:pt>
                <c:pt idx="363">
                  <c:v>7.7686663779999998E-3</c:v>
                </c:pt>
                <c:pt idx="364">
                  <c:v>8.0236486480000004E-3</c:v>
                </c:pt>
                <c:pt idx="365">
                  <c:v>1.0855405992E-2</c:v>
                </c:pt>
                <c:pt idx="366">
                  <c:v>1.3014273719E-2</c:v>
                </c:pt>
                <c:pt idx="367">
                  <c:v>1.6934801015999999E-2</c:v>
                </c:pt>
                <c:pt idx="368">
                  <c:v>1.824352991E-2</c:v>
                </c:pt>
                <c:pt idx="369">
                  <c:v>1.9878997406999999E-2</c:v>
                </c:pt>
                <c:pt idx="370">
                  <c:v>2.0920502091999998E-2</c:v>
                </c:pt>
                <c:pt idx="371">
                  <c:v>2.3037542662000001E-2</c:v>
                </c:pt>
                <c:pt idx="372">
                  <c:v>1.9772822884999999E-2</c:v>
                </c:pt>
                <c:pt idx="373">
                  <c:v>1.8844735764E-2</c:v>
                </c:pt>
                <c:pt idx="374">
                  <c:v>1.8722018722000001E-2</c:v>
                </c:pt>
                <c:pt idx="375">
                  <c:v>1.8072289155999999E-2</c:v>
                </c:pt>
                <c:pt idx="376">
                  <c:v>1.6840417E-2</c:v>
                </c:pt>
                <c:pt idx="377">
                  <c:v>1.5959517321E-2</c:v>
                </c:pt>
                <c:pt idx="378">
                  <c:v>1.5866719554999999E-2</c:v>
                </c:pt>
                <c:pt idx="379">
                  <c:v>1.7357001972000002E-2</c:v>
                </c:pt>
                <c:pt idx="380">
                  <c:v>1.8668831168E-2</c:v>
                </c:pt>
                <c:pt idx="381">
                  <c:v>2.0758483033E-2</c:v>
                </c:pt>
                <c:pt idx="382">
                  <c:v>2.0672882042000001E-2</c:v>
                </c:pt>
                <c:pt idx="383">
                  <c:v>2.1474878443999999E-2</c:v>
                </c:pt>
                <c:pt idx="384">
                  <c:v>2.1953405017000001E-2</c:v>
                </c:pt>
                <c:pt idx="385">
                  <c:v>2.2146507666000001E-2</c:v>
                </c:pt>
                <c:pt idx="386">
                  <c:v>2.2572402044E-2</c:v>
                </c:pt>
                <c:pt idx="387">
                  <c:v>2.0885547200999999E-2</c:v>
                </c:pt>
                <c:pt idx="388">
                  <c:v>1.9958419958E-2</c:v>
                </c:pt>
                <c:pt idx="389">
                  <c:v>2.2176591374999999E-2</c:v>
                </c:pt>
                <c:pt idx="390">
                  <c:v>2.4081632653E-2</c:v>
                </c:pt>
                <c:pt idx="391">
                  <c:v>2.6641651031E-2</c:v>
                </c:pt>
                <c:pt idx="392">
                  <c:v>2.7983539094E-2</c:v>
                </c:pt>
                <c:pt idx="393">
                  <c:v>2.7710843373000001E-2</c:v>
                </c:pt>
                <c:pt idx="394">
                  <c:v>3.2625786162999999E-2</c:v>
                </c:pt>
                <c:pt idx="395">
                  <c:v>3.4724931719999998E-2</c:v>
                </c:pt>
                <c:pt idx="396">
                  <c:v>3.5658307209999997E-2</c:v>
                </c:pt>
                <c:pt idx="397">
                  <c:v>3.5238841032999998E-2</c:v>
                </c:pt>
                <c:pt idx="398">
                  <c:v>3.5197497065999998E-2</c:v>
                </c:pt>
                <c:pt idx="399">
                  <c:v>3.9003250269999998E-2</c:v>
                </c:pt>
                <c:pt idx="400">
                  <c:v>4.5161290322000003E-2</c:v>
                </c:pt>
                <c:pt idx="401">
                  <c:v>4.6914471308999998E-2</c:v>
                </c:pt>
                <c:pt idx="402">
                  <c:v>4.7704447631999998E-2</c:v>
                </c:pt>
                <c:pt idx="403">
                  <c:v>4.7092400998000002E-2</c:v>
                </c:pt>
                <c:pt idx="404">
                  <c:v>4.7029702969999997E-2</c:v>
                </c:pt>
                <c:pt idx="405">
                  <c:v>5.0883392226000003E-2</c:v>
                </c:pt>
                <c:pt idx="406">
                  <c:v>5.2448766931999999E-2</c:v>
                </c:pt>
                <c:pt idx="407">
                  <c:v>5.0531914892999998E-2</c:v>
                </c:pt>
                <c:pt idx="408">
                  <c:v>5.2384150435999997E-2</c:v>
                </c:pt>
                <c:pt idx="409">
                  <c:v>5.4045201441000001E-2</c:v>
                </c:pt>
                <c:pt idx="410">
                  <c:v>5.8634020618E-2</c:v>
                </c:pt>
                <c:pt idx="411">
                  <c:v>5.8690744920000003E-2</c:v>
                </c:pt>
                <c:pt idx="412">
                  <c:v>6.4217351034000003E-2</c:v>
                </c:pt>
                <c:pt idx="413">
                  <c:v>7.3687350834999998E-2</c:v>
                </c:pt>
                <c:pt idx="414">
                  <c:v>8.3980872683000002E-2</c:v>
                </c:pt>
                <c:pt idx="415">
                  <c:v>8.8807442909000001E-2</c:v>
                </c:pt>
                <c:pt idx="416">
                  <c:v>9.7420417124E-2</c:v>
                </c:pt>
                <c:pt idx="417">
                  <c:v>0.10129659643400001</c:v>
                </c:pt>
                <c:pt idx="418">
                  <c:v>0.10439414114499999</c:v>
                </c:pt>
                <c:pt idx="419">
                  <c:v>0.10923076923</c:v>
                </c:pt>
                <c:pt idx="420">
                  <c:v>0.114879920772</c:v>
                </c:pt>
                <c:pt idx="421">
                  <c:v>0.117701791114</c:v>
                </c:pt>
                <c:pt idx="422">
                  <c:v>0.122423328305</c:v>
                </c:pt>
                <c:pt idx="423">
                  <c:v>0.12821758135</c:v>
                </c:pt>
                <c:pt idx="424">
                  <c:v>0.13460166468400001</c:v>
                </c:pt>
                <c:pt idx="425">
                  <c:v>0.13830275229299999</c:v>
                </c:pt>
                <c:pt idx="426">
                  <c:v>0.15338245144000001</c:v>
                </c:pt>
                <c:pt idx="427">
                  <c:v>0.16833405828600001</c:v>
                </c:pt>
                <c:pt idx="428">
                  <c:v>0.18967714528400001</c:v>
                </c:pt>
                <c:pt idx="429">
                  <c:v>0.207361726729</c:v>
                </c:pt>
                <c:pt idx="430">
                  <c:v>0.22979367783400001</c:v>
                </c:pt>
                <c:pt idx="431">
                  <c:v>0.23109790079799999</c:v>
                </c:pt>
                <c:pt idx="432">
                  <c:v>0.2376941793</c:v>
                </c:pt>
                <c:pt idx="433">
                  <c:v>0.247683081955</c:v>
                </c:pt>
                <c:pt idx="434">
                  <c:v>0.259771705292</c:v>
                </c:pt>
                <c:pt idx="435">
                  <c:v>0.26646403242099997</c:v>
                </c:pt>
                <c:pt idx="436">
                  <c:v>0.26475908567599998</c:v>
                </c:pt>
                <c:pt idx="437">
                  <c:v>0.26504666881200001</c:v>
                </c:pt>
                <c:pt idx="438">
                  <c:v>0.27105934907399998</c:v>
                </c:pt>
                <c:pt idx="439">
                  <c:v>0.27330575882899999</c:v>
                </c:pt>
                <c:pt idx="440">
                  <c:v>0.27789046653100002</c:v>
                </c:pt>
                <c:pt idx="441">
                  <c:v>0.28071253071199997</c:v>
                </c:pt>
                <c:pt idx="442">
                  <c:v>0.29684692043700001</c:v>
                </c:pt>
                <c:pt idx="443">
                  <c:v>0.302031674932</c:v>
                </c:pt>
                <c:pt idx="444">
                  <c:v>0.317725752508</c:v>
                </c:pt>
                <c:pt idx="445">
                  <c:v>0.32816422980299997</c:v>
                </c:pt>
                <c:pt idx="446">
                  <c:v>0.33076475719600001</c:v>
                </c:pt>
                <c:pt idx="447">
                  <c:v>0.33377039626999999</c:v>
                </c:pt>
                <c:pt idx="448">
                  <c:v>0.342581943645</c:v>
                </c:pt>
                <c:pt idx="449">
                  <c:v>0.323099033185</c:v>
                </c:pt>
                <c:pt idx="450">
                  <c:v>0.337212309283</c:v>
                </c:pt>
                <c:pt idx="451">
                  <c:v>0.34160756501099998</c:v>
                </c:pt>
                <c:pt idx="452">
                  <c:v>0.34152108235900003</c:v>
                </c:pt>
                <c:pt idx="453">
                  <c:v>0.34483667017899999</c:v>
                </c:pt>
                <c:pt idx="454">
                  <c:v>0.34804112976700002</c:v>
                </c:pt>
                <c:pt idx="455">
                  <c:v>0.34812286689400002</c:v>
                </c:pt>
                <c:pt idx="456">
                  <c:v>0.36453465082100001</c:v>
                </c:pt>
                <c:pt idx="457">
                  <c:v>0.36523359510100001</c:v>
                </c:pt>
                <c:pt idx="458">
                  <c:v>0.36391724878999998</c:v>
                </c:pt>
                <c:pt idx="459">
                  <c:v>0.36031508895800002</c:v>
                </c:pt>
                <c:pt idx="460">
                  <c:v>0.35498489425899998</c:v>
                </c:pt>
                <c:pt idx="461">
                  <c:v>0.35829476931699999</c:v>
                </c:pt>
                <c:pt idx="462">
                  <c:v>0.35983205038400001</c:v>
                </c:pt>
                <c:pt idx="463">
                  <c:v>0.35989089865000001</c:v>
                </c:pt>
                <c:pt idx="464">
                  <c:v>0.355604075691</c:v>
                </c:pt>
                <c:pt idx="465">
                  <c:v>0.35207277065300002</c:v>
                </c:pt>
                <c:pt idx="466">
                  <c:v>0.352967967208</c:v>
                </c:pt>
                <c:pt idx="467">
                  <c:v>0.35365853658500002</c:v>
                </c:pt>
                <c:pt idx="468">
                  <c:v>0.34718191538100002</c:v>
                </c:pt>
                <c:pt idx="469">
                  <c:v>0.34440093970199998</c:v>
                </c:pt>
                <c:pt idx="470">
                  <c:v>0.33910144467300002</c:v>
                </c:pt>
                <c:pt idx="471">
                  <c:v>0.33344235486500001</c:v>
                </c:pt>
                <c:pt idx="472">
                  <c:v>0.324111334674</c:v>
                </c:pt>
                <c:pt idx="473">
                  <c:v>0.31691465708900002</c:v>
                </c:pt>
                <c:pt idx="474">
                  <c:v>0.31442407471400002</c:v>
                </c:pt>
                <c:pt idx="475">
                  <c:v>0.311630396004</c:v>
                </c:pt>
                <c:pt idx="476">
                  <c:v>0.31354223932500003</c:v>
                </c:pt>
                <c:pt idx="477">
                  <c:v>0.31131544379800002</c:v>
                </c:pt>
                <c:pt idx="478">
                  <c:v>0.30794962613100002</c:v>
                </c:pt>
                <c:pt idx="479">
                  <c:v>0.30779661016900001</c:v>
                </c:pt>
                <c:pt idx="480">
                  <c:v>0.305921052631</c:v>
                </c:pt>
                <c:pt idx="481">
                  <c:v>0.30233644859800002</c:v>
                </c:pt>
                <c:pt idx="482">
                  <c:v>0.30377045292799998</c:v>
                </c:pt>
                <c:pt idx="483">
                  <c:v>0.29176874081300003</c:v>
                </c:pt>
                <c:pt idx="484">
                  <c:v>0.29270146984200002</c:v>
                </c:pt>
                <c:pt idx="485">
                  <c:v>0.29059180576600002</c:v>
                </c:pt>
                <c:pt idx="486">
                  <c:v>0.29137365213299998</c:v>
                </c:pt>
                <c:pt idx="487">
                  <c:v>0.29158790170100002</c:v>
                </c:pt>
                <c:pt idx="488">
                  <c:v>0.29299666507799998</c:v>
                </c:pt>
                <c:pt idx="489">
                  <c:v>0.28749119924900002</c:v>
                </c:pt>
                <c:pt idx="490">
                  <c:v>0.283140877598</c:v>
                </c:pt>
                <c:pt idx="491">
                  <c:v>0.26780432309399999</c:v>
                </c:pt>
                <c:pt idx="492">
                  <c:v>0.25533848250699998</c:v>
                </c:pt>
                <c:pt idx="493">
                  <c:v>0.248230088495</c:v>
                </c:pt>
                <c:pt idx="494">
                  <c:v>0.245944192083</c:v>
                </c:pt>
                <c:pt idx="495">
                  <c:v>0.244844801389</c:v>
                </c:pt>
                <c:pt idx="496">
                  <c:v>0.23247824095200001</c:v>
                </c:pt>
                <c:pt idx="497">
                  <c:v>0.215593059187</c:v>
                </c:pt>
                <c:pt idx="498">
                  <c:v>0.21068397403799999</c:v>
                </c:pt>
                <c:pt idx="499">
                  <c:v>0.204533611255</c:v>
                </c:pt>
                <c:pt idx="500">
                  <c:v>0.20375919368000001</c:v>
                </c:pt>
                <c:pt idx="501">
                  <c:v>0.20425062103200001</c:v>
                </c:pt>
                <c:pt idx="502">
                  <c:v>0.202307259425</c:v>
                </c:pt>
                <c:pt idx="503">
                  <c:v>0.211565585331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OCK_POZ_indik_testu_65_nyni</c:v>
          </c:tx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#\ ##0.0">
                  <c:v>6.5068493150000004E-2</c:v>
                </c:pt>
                <c:pt idx="182" formatCode="#\ ##0.0">
                  <c:v>7.4938574938000005E-2</c:v>
                </c:pt>
                <c:pt idx="183" formatCode="#\ ##0.0">
                  <c:v>7.4788902291000006E-2</c:v>
                </c:pt>
                <c:pt idx="184" formatCode="#\ ##0.0">
                  <c:v>7.7738515901000005E-2</c:v>
                </c:pt>
                <c:pt idx="185" formatCode="#\ ##0.0">
                  <c:v>7.6086956521000004E-2</c:v>
                </c:pt>
                <c:pt idx="186" formatCode="#\ ##0.0">
                  <c:v>7.4698795179999999E-2</c:v>
                </c:pt>
                <c:pt idx="187" formatCode="#\ ##0.0">
                  <c:v>7.2966507176999998E-2</c:v>
                </c:pt>
                <c:pt idx="188" formatCode="#\ ##0.0">
                  <c:v>7.3939393938999995E-2</c:v>
                </c:pt>
                <c:pt idx="189" formatCode="#\ ##0.0">
                  <c:v>6.0064935064E-2</c:v>
                </c:pt>
                <c:pt idx="190" formatCode="#\ ##0.0">
                  <c:v>5.5743243243E-2</c:v>
                </c:pt>
                <c:pt idx="191" formatCode="#\ ##0.0">
                  <c:v>4.9319727890999997E-2</c:v>
                </c:pt>
                <c:pt idx="192" formatCode="#\ ##0.0">
                  <c:v>5.4888507718000003E-2</c:v>
                </c:pt>
                <c:pt idx="193" formatCode="#\ ##0.0">
                  <c:v>5.7921635434000002E-2</c:v>
                </c:pt>
                <c:pt idx="194" formatCode="#\ ##0.0">
                  <c:v>6.0810810809999997E-2</c:v>
                </c:pt>
                <c:pt idx="195" formatCode="#\ ##0.0">
                  <c:v>6.6555740431999993E-2</c:v>
                </c:pt>
                <c:pt idx="196" formatCode="#\ ##0.0">
                  <c:v>7.2727272726999997E-2</c:v>
                </c:pt>
                <c:pt idx="197" formatCode="#\ ##0.0">
                  <c:v>7.1742313323000004E-2</c:v>
                </c:pt>
                <c:pt idx="198" formatCode="#\ ##0.0">
                  <c:v>6.7919075144000002E-2</c:v>
                </c:pt>
                <c:pt idx="199" formatCode="#\ ##0.0">
                  <c:v>5.8971141780999999E-2</c:v>
                </c:pt>
                <c:pt idx="200" formatCode="#\ ##0.0">
                  <c:v>6.1381074167999997E-2</c:v>
                </c:pt>
                <c:pt idx="201" formatCode="#\ ##0.0">
                  <c:v>6.0836501900999998E-2</c:v>
                </c:pt>
                <c:pt idx="202" formatCode="#\ ##0.0">
                  <c:v>6.2176165802999998E-2</c:v>
                </c:pt>
                <c:pt idx="203" formatCode="#\ ##0.0">
                  <c:v>5.8823529410999997E-2</c:v>
                </c:pt>
                <c:pt idx="204" formatCode="#\ ##0.0">
                  <c:v>6.2909567496000005E-2</c:v>
                </c:pt>
                <c:pt idx="205" formatCode="#\ ##0.0">
                  <c:v>6.8090787715999995E-2</c:v>
                </c:pt>
                <c:pt idx="206" formatCode="#\ ##0.0">
                  <c:v>6.9064748201000004E-2</c:v>
                </c:pt>
                <c:pt idx="207" formatCode="#\ ##0.0">
                  <c:v>6.7039106144999999E-2</c:v>
                </c:pt>
                <c:pt idx="208" formatCode="#\ ##0.0">
                  <c:v>6.5368567454000007E-2</c:v>
                </c:pt>
                <c:pt idx="209" formatCode="#\ ##0.0">
                  <c:v>5.8823529410999997E-2</c:v>
                </c:pt>
                <c:pt idx="210" formatCode="#\ ##0.0">
                  <c:v>5.2763819094999997E-2</c:v>
                </c:pt>
                <c:pt idx="211" formatCode="#\ ##0.0">
                  <c:v>5.1764705882000002E-2</c:v>
                </c:pt>
                <c:pt idx="212" formatCode="#\ ##0.0">
                  <c:v>4.7289504035999998E-2</c:v>
                </c:pt>
                <c:pt idx="213" formatCode="#\ ##0.0">
                  <c:v>4.5627376424999998E-2</c:v>
                </c:pt>
                <c:pt idx="214" formatCode="#\ ##0.0">
                  <c:v>4.6482412059999999E-2</c:v>
                </c:pt>
                <c:pt idx="215" formatCode="#\ ##0.0">
                  <c:v>4.5735475896000001E-2</c:v>
                </c:pt>
                <c:pt idx="216" formatCode="#\ ##0.0">
                  <c:v>4.3775649793999998E-2</c:v>
                </c:pt>
                <c:pt idx="217" formatCode="#\ ##0.0">
                  <c:v>4.5066991473000001E-2</c:v>
                </c:pt>
                <c:pt idx="218" formatCode="#\ ##0.0">
                  <c:v>4.7393364927999997E-2</c:v>
                </c:pt>
                <c:pt idx="219" formatCode="#\ ##0.0">
                  <c:v>5.4335260114999999E-2</c:v>
                </c:pt>
                <c:pt idx="220" formatCode="#\ ##0.0">
                  <c:v>5.2040816326000001E-2</c:v>
                </c:pt>
                <c:pt idx="221" formatCode="#\ ##0.0">
                  <c:v>5.1204819276999998E-2</c:v>
                </c:pt>
                <c:pt idx="222" formatCode="#\ ##0.0">
                  <c:v>5.4617676265999997E-2</c:v>
                </c:pt>
                <c:pt idx="223" formatCode="#\ ##0.0">
                  <c:v>5.0788091068000002E-2</c:v>
                </c:pt>
                <c:pt idx="224" formatCode="#\ ##0.0">
                  <c:v>4.9210770659000001E-2</c:v>
                </c:pt>
                <c:pt idx="225" formatCode="#\ ##0.0">
                  <c:v>4.9738219894999998E-2</c:v>
                </c:pt>
                <c:pt idx="226" formatCode="#\ ##0.0">
                  <c:v>4.1500399042000001E-2</c:v>
                </c:pt>
                <c:pt idx="227" formatCode="#\ ##0.0">
                  <c:v>4.0404040404000002E-2</c:v>
                </c:pt>
                <c:pt idx="228" formatCode="#\ ##0.0">
                  <c:v>3.9843749999999997E-2</c:v>
                </c:pt>
                <c:pt idx="229" formatCode="#\ ##0.0">
                  <c:v>3.8724373575999997E-2</c:v>
                </c:pt>
                <c:pt idx="230" formatCode="#\ ##0.0">
                  <c:v>3.8748137108E-2</c:v>
                </c:pt>
                <c:pt idx="231" formatCode="#\ ##0.0">
                  <c:v>4.3795620436999999E-2</c:v>
                </c:pt>
                <c:pt idx="232" formatCode="#\ ##0.0">
                  <c:v>3.7552155770999997E-2</c:v>
                </c:pt>
                <c:pt idx="233" formatCode="#\ ##0.0">
                  <c:v>4.1364296081E-2</c:v>
                </c:pt>
                <c:pt idx="234" formatCode="#\ ##0.0">
                  <c:v>4.3018335684E-2</c:v>
                </c:pt>
                <c:pt idx="235" formatCode="#\ ##0.0">
                  <c:v>4.1580041579999998E-2</c:v>
                </c:pt>
                <c:pt idx="236" formatCode="#\ ##0.0">
                  <c:v>4.1403508770999999E-2</c:v>
                </c:pt>
                <c:pt idx="237" formatCode="#\ ##0.0">
                  <c:v>4.0431266846E-2</c:v>
                </c:pt>
                <c:pt idx="238" formatCode="#\ ##0.0">
                  <c:v>3.8734667527E-2</c:v>
                </c:pt>
                <c:pt idx="239" formatCode="#\ ##0.0">
                  <c:v>3.7798408488E-2</c:v>
                </c:pt>
                <c:pt idx="240" formatCode="#\ ##0.0">
                  <c:v>3.6007580543000003E-2</c:v>
                </c:pt>
                <c:pt idx="241" formatCode="#\ ##0.0">
                  <c:v>3.1641791044000001E-2</c:v>
                </c:pt>
                <c:pt idx="242" formatCode="#\ ##0.0">
                  <c:v>3.2051282051000003E-2</c:v>
                </c:pt>
                <c:pt idx="243" formatCode="#\ ##0.0">
                  <c:v>3.1884057971000003E-2</c:v>
                </c:pt>
                <c:pt idx="244" formatCode="#\ ##0.0">
                  <c:v>3.1356898516999999E-2</c:v>
                </c:pt>
                <c:pt idx="245" formatCode="#\ ##0.0">
                  <c:v>2.9428736295000001E-2</c:v>
                </c:pt>
                <c:pt idx="246" formatCode="#\ ##0.0">
                  <c:v>2.9953917050000001E-2</c:v>
                </c:pt>
                <c:pt idx="247" formatCode="#\ ##0.0">
                  <c:v>3.2463768115E-2</c:v>
                </c:pt>
                <c:pt idx="248" formatCode="#\ ##0.0">
                  <c:v>3.4632034632E-2</c:v>
                </c:pt>
                <c:pt idx="249" formatCode="#\ ##0.0">
                  <c:v>3.3249686323000002E-2</c:v>
                </c:pt>
                <c:pt idx="250" formatCode="#\ ##0.0">
                  <c:v>3.2378580322999999E-2</c:v>
                </c:pt>
                <c:pt idx="251" formatCode="#\ ##0.0">
                  <c:v>2.9283489095999999E-2</c:v>
                </c:pt>
                <c:pt idx="252" formatCode="#\ ##0.0">
                  <c:v>2.8500619578E-2</c:v>
                </c:pt>
                <c:pt idx="253" formatCode="#\ ##0.0">
                  <c:v>2.5031289110999999E-2</c:v>
                </c:pt>
                <c:pt idx="254" formatCode="#\ ##0.0">
                  <c:v>1.8808777429000001E-2</c:v>
                </c:pt>
                <c:pt idx="255" formatCode="#\ ##0.0">
                  <c:v>1.8124999999999999E-2</c:v>
                </c:pt>
                <c:pt idx="256" formatCode="#\ ##0.0">
                  <c:v>1.8995098039E-2</c:v>
                </c:pt>
                <c:pt idx="257" formatCode="#\ ##0.0">
                  <c:v>1.6635859518999999E-2</c:v>
                </c:pt>
                <c:pt idx="258" formatCode="#\ ##0.0">
                  <c:v>1.6853932584E-2</c:v>
                </c:pt>
                <c:pt idx="259" formatCode="#\ ##0.0">
                  <c:v>1.3487475915E-2</c:v>
                </c:pt>
                <c:pt idx="260" formatCode="#\ ##0.0">
                  <c:v>1.7612524461E-2</c:v>
                </c:pt>
                <c:pt idx="261" formatCode="#\ ##0.0">
                  <c:v>2.0570670204999999E-2</c:v>
                </c:pt>
                <c:pt idx="262" formatCode="#\ ##0.0">
                  <c:v>2.0960108181000001E-2</c:v>
                </c:pt>
                <c:pt idx="263" formatCode="#\ ##0.0">
                  <c:v>2.0055325034E-2</c:v>
                </c:pt>
                <c:pt idx="264" formatCode="#\ ##0.0">
                  <c:v>2.0308123248999999E-2</c:v>
                </c:pt>
                <c:pt idx="265" formatCode="#\ ##0.0">
                  <c:v>1.9852941176000002E-2</c:v>
                </c:pt>
                <c:pt idx="266" formatCode="#\ ##0.0">
                  <c:v>1.9882179675E-2</c:v>
                </c:pt>
                <c:pt idx="267" formatCode="#\ ##0.0">
                  <c:v>1.7074981440000001E-2</c:v>
                </c:pt>
                <c:pt idx="268" formatCode="#\ ##0.0">
                  <c:v>1.3803680981E-2</c:v>
                </c:pt>
                <c:pt idx="269" formatCode="#\ ##0.0">
                  <c:v>1.3406940063E-2</c:v>
                </c:pt>
                <c:pt idx="270" formatCode="#\ ##0.0">
                  <c:v>1.2145748987E-2</c:v>
                </c:pt>
                <c:pt idx="271" formatCode="#\ ##0.0">
                  <c:v>1.2244897959E-2</c:v>
                </c:pt>
                <c:pt idx="272" formatCode="#\ ##0.0">
                  <c:v>1.1466011466000001E-2</c:v>
                </c:pt>
                <c:pt idx="273" formatCode="#\ ##0.0">
                  <c:v>1.1063829787000001E-2</c:v>
                </c:pt>
                <c:pt idx="274" formatCode="#\ ##0.0">
                  <c:v>8.0071174369999998E-3</c:v>
                </c:pt>
                <c:pt idx="275" formatCode="#\ ##0.0">
                  <c:v>6.1782877310000003E-3</c:v>
                </c:pt>
                <c:pt idx="276" formatCode="#\ ##0.0">
                  <c:v>4.3029259889999999E-3</c:v>
                </c:pt>
                <c:pt idx="277" formatCode="#\ ##0.0">
                  <c:v>4.2735042730000002E-3</c:v>
                </c:pt>
                <c:pt idx="278" formatCode="#\ ##0.0">
                  <c:v>4.2158516019999998E-3</c:v>
                </c:pt>
                <c:pt idx="279" formatCode="#\ ##0.0">
                  <c:v>3.2921810690000001E-3</c:v>
                </c:pt>
                <c:pt idx="280" formatCode="#\ ##0.0">
                  <c:v>3.2414910850000001E-3</c:v>
                </c:pt>
                <c:pt idx="281" formatCode="#\ ##0.0">
                  <c:v>3.1645569619999999E-3</c:v>
                </c:pt>
                <c:pt idx="282" formatCode="#\ ##0.0">
                  <c:v>5.426356589E-3</c:v>
                </c:pt>
                <c:pt idx="283" formatCode="#\ ##0.0">
                  <c:v>3.8461538459999998E-3</c:v>
                </c:pt>
                <c:pt idx="284" formatCode="#\ ##0.0">
                  <c:v>3.8197097019999999E-3</c:v>
                </c:pt>
                <c:pt idx="285" formatCode="#\ ##0.0">
                  <c:v>5.3516819569999997E-3</c:v>
                </c:pt>
                <c:pt idx="286" formatCode="#\ ##0.0">
                  <c:v>5.3272450529999998E-3</c:v>
                </c:pt>
                <c:pt idx="287" formatCode="#\ ##0.0">
                  <c:v>4.3859649119999998E-3</c:v>
                </c:pt>
                <c:pt idx="288" formatCode="#\ ##0.0">
                  <c:v>5.1282051279999998E-3</c:v>
                </c:pt>
                <c:pt idx="289" formatCode="#\ ##0.0">
                  <c:v>4.3795620430000003E-3</c:v>
                </c:pt>
                <c:pt idx="290" formatCode="#\ ##0.0">
                  <c:v>3.6927621860000002E-3</c:v>
                </c:pt>
                <c:pt idx="291" formatCode="#\ ##0.0">
                  <c:v>5.8565153730000003E-3</c:v>
                </c:pt>
                <c:pt idx="292" formatCode="#\ ##0.0">
                  <c:v>5.1508462099999998E-3</c:v>
                </c:pt>
                <c:pt idx="293" formatCode="#\ ##0.0">
                  <c:v>5.6377730789999997E-3</c:v>
                </c:pt>
                <c:pt idx="294" formatCode="#\ ##0.0">
                  <c:v>5.5632823359999996E-3</c:v>
                </c:pt>
                <c:pt idx="295" formatCode="#\ ##0.0">
                  <c:v>6.072874493E-3</c:v>
                </c:pt>
                <c:pt idx="296" formatCode="#\ ##0.0">
                  <c:v>4.7522063809999999E-3</c:v>
                </c:pt>
                <c:pt idx="297" formatCode="#\ ##0.0">
                  <c:v>5.2700922259999996E-3</c:v>
                </c:pt>
                <c:pt idx="298" formatCode="#\ ##0.0">
                  <c:v>3.2765399730000002E-3</c:v>
                </c:pt>
                <c:pt idx="299" formatCode="#\ ##0.0">
                  <c:v>2.6109660569999999E-3</c:v>
                </c:pt>
                <c:pt idx="300" formatCode="#\ ##0.0">
                  <c:v>3.2573289899999998E-3</c:v>
                </c:pt>
                <c:pt idx="301" formatCode="#\ ##0.0">
                  <c:v>3.8387715930000002E-3</c:v>
                </c:pt>
                <c:pt idx="302" formatCode="#\ ##0.0">
                  <c:v>3.2530904350000001E-3</c:v>
                </c:pt>
                <c:pt idx="303" formatCode="#\ ##0.0">
                  <c:v>4.5662100449999996E-3</c:v>
                </c:pt>
                <c:pt idx="304" formatCode="#\ ##0.0">
                  <c:v>4.739336492E-3</c:v>
                </c:pt>
                <c:pt idx="305" formatCode="#\ ##0.0">
                  <c:v>6.830601092E-3</c:v>
                </c:pt>
                <c:pt idx="306" formatCode="#\ ##0.0">
                  <c:v>6.9013112489999997E-3</c:v>
                </c:pt>
                <c:pt idx="307" formatCode="#\ ##0.0">
                  <c:v>6.5040650399999997E-3</c:v>
                </c:pt>
                <c:pt idx="308" formatCode="#\ ##0.0">
                  <c:v>6.9930069930000003E-3</c:v>
                </c:pt>
                <c:pt idx="309" formatCode="#\ ##0.0">
                  <c:v>7.5973409299999999E-3</c:v>
                </c:pt>
                <c:pt idx="310" formatCode="#\ ##0.0">
                  <c:v>5.4347826080000002E-3</c:v>
                </c:pt>
                <c:pt idx="311" formatCode="#\ ##0.0">
                  <c:v>5.3003533560000001E-3</c:v>
                </c:pt>
                <c:pt idx="312" formatCode="#\ ##0.0">
                  <c:v>2.6548672559999998E-3</c:v>
                </c:pt>
                <c:pt idx="313" formatCode="#\ ##0.0">
                  <c:v>4.340277777E-3</c:v>
                </c:pt>
                <c:pt idx="314" formatCode="#\ ##0.0">
                  <c:v>8.8560885599999993E-3</c:v>
                </c:pt>
                <c:pt idx="315" formatCode="#\ ##0.0">
                  <c:v>1.0443864229E-2</c:v>
                </c:pt>
                <c:pt idx="316" formatCode="#\ ##0.0">
                  <c:v>1.0589013898E-2</c:v>
                </c:pt>
                <c:pt idx="317" formatCode="#\ ##0.0">
                  <c:v>1.2113055181000001E-2</c:v>
                </c:pt>
                <c:pt idx="318" formatCode="#\ ##0.0">
                  <c:v>1.4794889037999999E-2</c:v>
                </c:pt>
                <c:pt idx="319" formatCode="#\ ##0.0">
                  <c:v>1.7275747508000001E-2</c:v>
                </c:pt>
                <c:pt idx="320" formatCode="#\ ##0.0">
                  <c:v>1.7195767194999999E-2</c:v>
                </c:pt>
                <c:pt idx="321" formatCode="#\ ##0.0">
                  <c:v>1.3559322033000001E-2</c:v>
                </c:pt>
                <c:pt idx="322" formatCode="#\ ##0.0">
                  <c:v>1.3577732517999999E-2</c:v>
                </c:pt>
                <c:pt idx="323" formatCode="#\ ##0.0">
                  <c:v>1.4542936288E-2</c:v>
                </c:pt>
                <c:pt idx="324" formatCode="#\ ##0.0">
                  <c:v>1.386962552E-2</c:v>
                </c:pt>
                <c:pt idx="325" formatCode="#\ ##0.0">
                  <c:v>1.1103400415999999E-2</c:v>
                </c:pt>
                <c:pt idx="326" formatCode="#\ ##0.0">
                  <c:v>9.0972708180000004E-3</c:v>
                </c:pt>
                <c:pt idx="327" formatCode="#\ ##0.0">
                  <c:v>8.2987551859999998E-3</c:v>
                </c:pt>
                <c:pt idx="328" formatCode="#\ ##0.0">
                  <c:v>1.3486176668E-2</c:v>
                </c:pt>
                <c:pt idx="329" formatCode="#\ ##0.0">
                  <c:v>1.3596193065E-2</c:v>
                </c:pt>
                <c:pt idx="330" formatCode="#\ ##0.0">
                  <c:v>1.4208389715E-2</c:v>
                </c:pt>
                <c:pt idx="331" formatCode="#\ ##0.0">
                  <c:v>1.6759776535999998E-2</c:v>
                </c:pt>
                <c:pt idx="332" formatCode="#\ ##0.0">
                  <c:v>1.8413597733000001E-2</c:v>
                </c:pt>
                <c:pt idx="333" formatCode="#\ ##0.0">
                  <c:v>1.7895490335999999E-2</c:v>
                </c:pt>
                <c:pt idx="334" formatCode="#\ ##0.0">
                  <c:v>1.7518248175000001E-2</c:v>
                </c:pt>
                <c:pt idx="335" formatCode="#\ ##0.0">
                  <c:v>1.6988416988E-2</c:v>
                </c:pt>
                <c:pt idx="336" formatCode="#\ ##0.0">
                  <c:v>1.6367887763000001E-2</c:v>
                </c:pt>
                <c:pt idx="337" formatCode="#\ ##0.0">
                  <c:v>1.3385826771E-2</c:v>
                </c:pt>
                <c:pt idx="338" formatCode="#\ ##0.0">
                  <c:v>1.2668250197E-2</c:v>
                </c:pt>
                <c:pt idx="339" formatCode="#\ ##0.0">
                  <c:v>1.3803680981E-2</c:v>
                </c:pt>
                <c:pt idx="340" formatCode="#\ ##0.0">
                  <c:v>1.3856812933E-2</c:v>
                </c:pt>
                <c:pt idx="341" formatCode="#\ ##0.0">
                  <c:v>1.4514896867000001E-2</c:v>
                </c:pt>
                <c:pt idx="342" formatCode="#\ ##0.0">
                  <c:v>1.1045655375E-2</c:v>
                </c:pt>
                <c:pt idx="343" formatCode="#\ ##0.0">
                  <c:v>1.0086455330999999E-2</c:v>
                </c:pt>
                <c:pt idx="344" formatCode="#\ ##0.0">
                  <c:v>1.3380281690000001E-2</c:v>
                </c:pt>
                <c:pt idx="345" formatCode="#\ ##0.0">
                  <c:v>1.3745704467E-2</c:v>
                </c:pt>
                <c:pt idx="346" formatCode="#\ ##0.0">
                  <c:v>1.3422818790999999E-2</c:v>
                </c:pt>
                <c:pt idx="347" formatCode="#\ ##0.0">
                  <c:v>1.321003963E-2</c:v>
                </c:pt>
                <c:pt idx="348" formatCode="#\ ##0.0">
                  <c:v>1.3879709186999999E-2</c:v>
                </c:pt>
                <c:pt idx="349" formatCode="#\ ##0.0">
                  <c:v>1.3852242743999999E-2</c:v>
                </c:pt>
                <c:pt idx="350" formatCode="#\ ##0.0">
                  <c:v>1.4627659574E-2</c:v>
                </c:pt>
                <c:pt idx="351" formatCode="#\ ##0.0">
                  <c:v>1.4266304347E-2</c:v>
                </c:pt>
                <c:pt idx="352" formatCode="#\ ##0.0">
                  <c:v>1.2371134020000001E-2</c:v>
                </c:pt>
                <c:pt idx="353" formatCode="#\ ##0.0">
                  <c:v>1.1347517729999999E-2</c:v>
                </c:pt>
                <c:pt idx="354" formatCode="#\ ##0.0">
                  <c:v>1.2073863636E-2</c:v>
                </c:pt>
                <c:pt idx="355" formatCode="#\ ##0.0">
                  <c:v>1.1396011395999999E-2</c:v>
                </c:pt>
                <c:pt idx="356" formatCode="#\ ##0.0">
                  <c:v>1.0884353741E-2</c:v>
                </c:pt>
                <c:pt idx="357" formatCode="#\ ##0.0">
                  <c:v>1.5731874145000001E-2</c:v>
                </c:pt>
                <c:pt idx="358" formatCode="#\ ##0.0">
                  <c:v>1.7310252995999999E-2</c:v>
                </c:pt>
                <c:pt idx="359" formatCode="#\ ##0.0">
                  <c:v>1.9362898188000001E-2</c:v>
                </c:pt>
                <c:pt idx="360" formatCode="#\ ##0.0">
                  <c:v>2.0884520883999998E-2</c:v>
                </c:pt>
                <c:pt idx="361" formatCode="#\ ##0.0">
                  <c:v>2.2181146025000001E-2</c:v>
                </c:pt>
                <c:pt idx="362" formatCode="#\ ##0.0">
                  <c:v>2.1511985248E-2</c:v>
                </c:pt>
                <c:pt idx="363" formatCode="#\ ##0.0">
                  <c:v>2.0769700671000001E-2</c:v>
                </c:pt>
                <c:pt idx="364" formatCode="#\ ##0.0">
                  <c:v>1.6561964591000001E-2</c:v>
                </c:pt>
                <c:pt idx="365" formatCode="#\ ##0.0">
                  <c:v>1.7543859649000001E-2</c:v>
                </c:pt>
                <c:pt idx="366" formatCode="#\ ##0.0">
                  <c:v>1.8233618233000001E-2</c:v>
                </c:pt>
                <c:pt idx="367" formatCode="#\ ##0.0">
                  <c:v>2.2727272727000002E-2</c:v>
                </c:pt>
                <c:pt idx="368" formatCode="#\ ##0.0">
                  <c:v>2.3420479301999999E-2</c:v>
                </c:pt>
                <c:pt idx="369" formatCode="#\ ##0.0">
                  <c:v>2.4258760107E-2</c:v>
                </c:pt>
                <c:pt idx="370" formatCode="#\ ##0.0">
                  <c:v>3.0368763557000002E-2</c:v>
                </c:pt>
                <c:pt idx="371" formatCode="#\ ##0.0">
                  <c:v>3.7373198077E-2</c:v>
                </c:pt>
                <c:pt idx="372" formatCode="#\ ##0.0">
                  <c:v>3.7282941776999999E-2</c:v>
                </c:pt>
                <c:pt idx="373" formatCode="#\ ##0.0">
                  <c:v>3.7829766052000002E-2</c:v>
                </c:pt>
                <c:pt idx="374" formatCode="#\ ##0.0">
                  <c:v>3.5372848948000003E-2</c:v>
                </c:pt>
                <c:pt idx="375" formatCode="#\ ##0.0">
                  <c:v>3.4302048593999997E-2</c:v>
                </c:pt>
                <c:pt idx="376" formatCode="#\ ##0.0">
                  <c:v>3.5187826913E-2</c:v>
                </c:pt>
                <c:pt idx="377" formatCode="#\ ##0.0">
                  <c:v>3.2118055554999997E-2</c:v>
                </c:pt>
                <c:pt idx="378" formatCode="#\ ##0.0">
                  <c:v>3.1196581195999998E-2</c:v>
                </c:pt>
                <c:pt idx="379" formatCode="#\ ##0.0">
                  <c:v>2.9142381347999999E-2</c:v>
                </c:pt>
                <c:pt idx="380" formatCode="#\ ##0.0">
                  <c:v>3.0562347188000001E-2</c:v>
                </c:pt>
                <c:pt idx="381" formatCode="#\ ##0.0">
                  <c:v>3.5455278000999998E-2</c:v>
                </c:pt>
                <c:pt idx="382" formatCode="#\ ##0.0">
                  <c:v>3.6144578312999998E-2</c:v>
                </c:pt>
                <c:pt idx="383" formatCode="#\ ##0.0">
                  <c:v>3.7484885125999998E-2</c:v>
                </c:pt>
                <c:pt idx="384" formatCode="#\ ##0.0">
                  <c:v>3.9712716517999999E-2</c:v>
                </c:pt>
                <c:pt idx="385" formatCode="#\ ##0.0">
                  <c:v>3.6072144287999999E-2</c:v>
                </c:pt>
                <c:pt idx="386" formatCode="#\ ##0.0">
                  <c:v>3.8128930817000001E-2</c:v>
                </c:pt>
                <c:pt idx="387" formatCode="#\ ##0.0">
                  <c:v>3.645629165E-2</c:v>
                </c:pt>
                <c:pt idx="388" formatCode="#\ ##0.0">
                  <c:v>3.0845392231E-2</c:v>
                </c:pt>
                <c:pt idx="389" formatCode="#\ ##0.0">
                  <c:v>3.1333588076999999E-2</c:v>
                </c:pt>
                <c:pt idx="390" formatCode="#\ ##0.0">
                  <c:v>3.1391830559000002E-2</c:v>
                </c:pt>
                <c:pt idx="391" formatCode="#\ ##0.0">
                  <c:v>3.1734583482999998E-2</c:v>
                </c:pt>
                <c:pt idx="392" formatCode="#\ ##0.0">
                  <c:v>3.4219001610000001E-2</c:v>
                </c:pt>
                <c:pt idx="393" formatCode="#\ ##0.0">
                  <c:v>3.3646322377999999E-2</c:v>
                </c:pt>
                <c:pt idx="394" formatCode="#\ ##0.0">
                  <c:v>3.9789789789000003E-2</c:v>
                </c:pt>
                <c:pt idx="395" formatCode="#\ ##0.0">
                  <c:v>4.5673969549999999E-2</c:v>
                </c:pt>
                <c:pt idx="396" formatCode="#\ ##0.0">
                  <c:v>4.7272727271999999E-2</c:v>
                </c:pt>
                <c:pt idx="397" formatCode="#\ ##0.0">
                  <c:v>4.8240841494E-2</c:v>
                </c:pt>
                <c:pt idx="398" formatCode="#\ ##0.0">
                  <c:v>4.9702485124000002E-2</c:v>
                </c:pt>
                <c:pt idx="399" formatCode="#\ ##0.0">
                  <c:v>5.4579093432E-2</c:v>
                </c:pt>
                <c:pt idx="400" formatCode="#\ ##0.0">
                  <c:v>6.3011208723999998E-2</c:v>
                </c:pt>
                <c:pt idx="401" formatCode="#\ ##0.0">
                  <c:v>6.3792601222999998E-2</c:v>
                </c:pt>
                <c:pt idx="402" formatCode="#\ ##0.0">
                  <c:v>6.7974971558000002E-2</c:v>
                </c:pt>
                <c:pt idx="403" formatCode="#\ ##0.0">
                  <c:v>6.8155784649999995E-2</c:v>
                </c:pt>
                <c:pt idx="404" formatCode="#\ ##0.0">
                  <c:v>6.744784224E-2</c:v>
                </c:pt>
                <c:pt idx="405" formatCode="#\ ##0.0">
                  <c:v>7.0626882013999998E-2</c:v>
                </c:pt>
                <c:pt idx="406" formatCode="#\ ##0.0">
                  <c:v>6.9735766820999995E-2</c:v>
                </c:pt>
                <c:pt idx="407" formatCode="#\ ##0.0">
                  <c:v>6.9188909042999999E-2</c:v>
                </c:pt>
                <c:pt idx="408" formatCode="#\ ##0.0">
                  <c:v>6.9857697282999995E-2</c:v>
                </c:pt>
                <c:pt idx="409" formatCode="#\ ##0.0">
                  <c:v>7.4608610566999994E-2</c:v>
                </c:pt>
                <c:pt idx="410" formatCode="#\ ##0.0">
                  <c:v>7.8790764102999997E-2</c:v>
                </c:pt>
                <c:pt idx="411" formatCode="#\ ##0.0">
                  <c:v>8.0596319590000007E-2</c:v>
                </c:pt>
                <c:pt idx="412" formatCode="#\ ##0.0">
                  <c:v>8.6956521738999995E-2</c:v>
                </c:pt>
                <c:pt idx="413" formatCode="#\ ##0.0">
                  <c:v>9.7164386278000003E-2</c:v>
                </c:pt>
                <c:pt idx="414" formatCode="#\ ##0.0">
                  <c:v>0.101742551995</c:v>
                </c:pt>
                <c:pt idx="415" formatCode="#\ ##0.0">
                  <c:v>0.108191653786</c:v>
                </c:pt>
                <c:pt idx="416" formatCode="#\ ##0.0">
                  <c:v>0.11730953139899999</c:v>
                </c:pt>
                <c:pt idx="417" formatCode="#\ ##0.0">
                  <c:v>0.119114002478</c:v>
                </c:pt>
                <c:pt idx="418" formatCode="#\ ##0.0">
                  <c:v>0.122029250457</c:v>
                </c:pt>
                <c:pt idx="419" formatCode="#\ ##0.0">
                  <c:v>0.12995658465900001</c:v>
                </c:pt>
                <c:pt idx="420" formatCode="#\ ##0.0">
                  <c:v>0.13760107816700001</c:v>
                </c:pt>
                <c:pt idx="421" formatCode="#\ ##0.0">
                  <c:v>0.146222791293</c:v>
                </c:pt>
                <c:pt idx="422" formatCode="#\ ##0.0">
                  <c:v>0.158061844284</c:v>
                </c:pt>
                <c:pt idx="423" formatCode="#\ ##0.0">
                  <c:v>0.165022660623</c:v>
                </c:pt>
                <c:pt idx="424" formatCode="#\ ##0.0">
                  <c:v>0.16982347635600001</c:v>
                </c:pt>
                <c:pt idx="425" formatCode="#\ ##0.0">
                  <c:v>0.17016229712799999</c:v>
                </c:pt>
                <c:pt idx="426" formatCode="#\ ##0.0">
                  <c:v>0.183291197425</c:v>
                </c:pt>
                <c:pt idx="427" formatCode="#\ ##0.0">
                  <c:v>0.19461431176899999</c:v>
                </c:pt>
                <c:pt idx="428" formatCode="#\ ##0.0">
                  <c:v>0.21098989090100001</c:v>
                </c:pt>
                <c:pt idx="429" formatCode="#\ ##0.0">
                  <c:v>0.21402969790000001</c:v>
                </c:pt>
                <c:pt idx="430" formatCode="#\ ##0.0">
                  <c:v>0.22413931466100001</c:v>
                </c:pt>
                <c:pt idx="431" formatCode="#\ ##0.0">
                  <c:v>0.23032207384100001</c:v>
                </c:pt>
                <c:pt idx="432" formatCode="#\ ##0.0">
                  <c:v>0.23260344424500001</c:v>
                </c:pt>
                <c:pt idx="433" formatCode="#\ ##0.0">
                  <c:v>0.23711340206100001</c:v>
                </c:pt>
                <c:pt idx="434" formatCode="#\ ##0.0">
                  <c:v>0.24139933226800001</c:v>
                </c:pt>
                <c:pt idx="435" formatCode="#\ ##0.0">
                  <c:v>0.24055707955200001</c:v>
                </c:pt>
                <c:pt idx="436" formatCode="#\ ##0.0">
                  <c:v>0.243102843102</c:v>
                </c:pt>
                <c:pt idx="437" formatCode="#\ ##0.0">
                  <c:v>0.246200191702</c:v>
                </c:pt>
                <c:pt idx="438" formatCode="#\ ##0.0">
                  <c:v>0.24510730192999999</c:v>
                </c:pt>
                <c:pt idx="439" formatCode="#\ ##0.0">
                  <c:v>0.246406845377</c:v>
                </c:pt>
                <c:pt idx="440" formatCode="#\ ##0.0">
                  <c:v>0.24491916109299999</c:v>
                </c:pt>
                <c:pt idx="441" formatCode="#\ ##0.0">
                  <c:v>0.249255905262</c:v>
                </c:pt>
                <c:pt idx="442" formatCode="#\ ##0.0">
                  <c:v>0.25454421676</c:v>
                </c:pt>
                <c:pt idx="443" formatCode="#\ ##0.0">
                  <c:v>0.25151052386900002</c:v>
                </c:pt>
                <c:pt idx="444" formatCode="#\ ##0.0">
                  <c:v>0.25860084409700002</c:v>
                </c:pt>
                <c:pt idx="445" formatCode="#\ ##0.0">
                  <c:v>0.26562207378699998</c:v>
                </c:pt>
                <c:pt idx="446" formatCode="#\ ##0.0">
                  <c:v>0.26531617511200001</c:v>
                </c:pt>
                <c:pt idx="447" formatCode="#\ ##0.0">
                  <c:v>0.269157965439</c:v>
                </c:pt>
                <c:pt idx="448" formatCode="#\ ##0.0">
                  <c:v>0.27342597146999997</c:v>
                </c:pt>
                <c:pt idx="449" formatCode="#\ ##0.0">
                  <c:v>0.26214285714199997</c:v>
                </c:pt>
                <c:pt idx="450" formatCode="#\ ##0.0">
                  <c:v>0.275020210185</c:v>
                </c:pt>
                <c:pt idx="451" formatCode="#\ ##0.0">
                  <c:v>0.27573609596499998</c:v>
                </c:pt>
                <c:pt idx="452" formatCode="#\ ##0.0">
                  <c:v>0.27266765043399999</c:v>
                </c:pt>
                <c:pt idx="453" formatCode="#\ ##0.0">
                  <c:v>0.275498497678</c:v>
                </c:pt>
                <c:pt idx="454" formatCode="#\ ##0.0">
                  <c:v>0.27964486083099999</c:v>
                </c:pt>
                <c:pt idx="455" formatCode="#\ ##0.0">
                  <c:v>0.27993227004499999</c:v>
                </c:pt>
                <c:pt idx="456" formatCode="#\ ##0.0">
                  <c:v>0.29119136386400002</c:v>
                </c:pt>
                <c:pt idx="457" formatCode="#\ ##0.0">
                  <c:v>0.28749999999999998</c:v>
                </c:pt>
                <c:pt idx="458" formatCode="#\ ##0.0">
                  <c:v>0.28553122736600001</c:v>
                </c:pt>
                <c:pt idx="459" formatCode="#\ ##0.0">
                  <c:v>0.283586237563</c:v>
                </c:pt>
                <c:pt idx="460" formatCode="#\ ##0.0">
                  <c:v>0.27967908438</c:v>
                </c:pt>
                <c:pt idx="461" formatCode="#\ ##0.0">
                  <c:v>0.27585225655899998</c:v>
                </c:pt>
                <c:pt idx="462" formatCode="#\ ##0.0">
                  <c:v>0.27075563715599998</c:v>
                </c:pt>
                <c:pt idx="463" formatCode="#\ ##0.0">
                  <c:v>0.267129330118</c:v>
                </c:pt>
                <c:pt idx="464" formatCode="#\ ##0.0">
                  <c:v>0.26326976800599999</c:v>
                </c:pt>
                <c:pt idx="465" formatCode="#\ ##0.0">
                  <c:v>0.25808489135899998</c:v>
                </c:pt>
                <c:pt idx="466" formatCode="#\ ##0.0">
                  <c:v>0.25347918959100002</c:v>
                </c:pt>
                <c:pt idx="467" formatCode="#\ ##0.0">
                  <c:v>0.25323741007099998</c:v>
                </c:pt>
                <c:pt idx="468" formatCode="#\ ##0.0">
                  <c:v>0.24665636131400001</c:v>
                </c:pt>
                <c:pt idx="469" formatCode="#\ ##0.0">
                  <c:v>0.245176960444</c:v>
                </c:pt>
                <c:pt idx="470" formatCode="#\ ##0.0">
                  <c:v>0.23949275362299999</c:v>
                </c:pt>
                <c:pt idx="471" formatCode="#\ ##0.0">
                  <c:v>0.22956694114000001</c:v>
                </c:pt>
                <c:pt idx="472" formatCode="#\ ##0.0">
                  <c:v>0.220707354238</c:v>
                </c:pt>
                <c:pt idx="473" formatCode="#\ ##0.0">
                  <c:v>0.219574749731</c:v>
                </c:pt>
                <c:pt idx="474" formatCode="#\ ##0.0">
                  <c:v>0.218907563025</c:v>
                </c:pt>
                <c:pt idx="475" formatCode="#\ ##0.0">
                  <c:v>0.21524147097900001</c:v>
                </c:pt>
                <c:pt idx="476" formatCode="#\ ##0.0">
                  <c:v>0.20684736091200001</c:v>
                </c:pt>
                <c:pt idx="477" formatCode="#\ ##0.0">
                  <c:v>0.20206833620600001</c:v>
                </c:pt>
                <c:pt idx="478" formatCode="#\ ##0.0">
                  <c:v>0.197375555796</c:v>
                </c:pt>
                <c:pt idx="479" formatCode="#\ ##0.0">
                  <c:v>0.19080133986</c:v>
                </c:pt>
                <c:pt idx="480" formatCode="#\ ##0.0">
                  <c:v>0.18460688130399999</c:v>
                </c:pt>
                <c:pt idx="481" formatCode="#\ ##0.0">
                  <c:v>0.18129068779999999</c:v>
                </c:pt>
                <c:pt idx="482" formatCode="#\ ##0.0">
                  <c:v>0.180365647564</c:v>
                </c:pt>
                <c:pt idx="483" formatCode="#\ ##0.0">
                  <c:v>0.17554338808600001</c:v>
                </c:pt>
                <c:pt idx="484" formatCode="#\ ##0.0">
                  <c:v>0.170554966419</c:v>
                </c:pt>
                <c:pt idx="485" formatCode="#\ ##0.0">
                  <c:v>0.17229357798100001</c:v>
                </c:pt>
                <c:pt idx="486" formatCode="#\ ##0.0">
                  <c:v>0.17559979581400001</c:v>
                </c:pt>
                <c:pt idx="487" formatCode="#\ ##0.0">
                  <c:v>0.177929854576</c:v>
                </c:pt>
                <c:pt idx="488" formatCode="#\ ##0.0">
                  <c:v>0.17698358413099999</c:v>
                </c:pt>
                <c:pt idx="489" formatCode="#\ ##0.0">
                  <c:v>0.17833642652199999</c:v>
                </c:pt>
                <c:pt idx="490" formatCode="#\ ##0.0">
                  <c:v>0.17636211232099999</c:v>
                </c:pt>
                <c:pt idx="491" formatCode="#\ ##0.0">
                  <c:v>0.173440374644</c:v>
                </c:pt>
                <c:pt idx="492" formatCode="#\ ##0.0">
                  <c:v>0.16811352253699999</c:v>
                </c:pt>
                <c:pt idx="493" formatCode="#\ ##0.0">
                  <c:v>0.163109010917</c:v>
                </c:pt>
                <c:pt idx="494" formatCode="#\ ##0.0">
                  <c:v>0.16276834347899999</c:v>
                </c:pt>
                <c:pt idx="495" formatCode="#\ ##0.0">
                  <c:v>0.16310333657199999</c:v>
                </c:pt>
                <c:pt idx="496" formatCode="#\ ##0.0">
                  <c:v>0.15290043289999999</c:v>
                </c:pt>
                <c:pt idx="497" formatCode="#\ ##0.0">
                  <c:v>0.13719343536699999</c:v>
                </c:pt>
                <c:pt idx="498" formatCode="#\ ##0.0">
                  <c:v>0.131714777289</c:v>
                </c:pt>
                <c:pt idx="499" formatCode="#\ ##0.0">
                  <c:v>0.13135167704299999</c:v>
                </c:pt>
                <c:pt idx="500" formatCode="#\ ##0.0">
                  <c:v>0.13218035824499999</c:v>
                </c:pt>
                <c:pt idx="501" formatCode="#\ ##0.0">
                  <c:v>0.13553038105000001</c:v>
                </c:pt>
                <c:pt idx="502" formatCode="#\ ##0.0">
                  <c:v>0.13844226352</c:v>
                </c:pt>
                <c:pt idx="503" formatCode="#\ ##0.0">
                  <c:v>0.144946461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OCK_s_posil_POZ_indik_testu_65_nyni</c:v>
          </c:tx>
          <c:spPr>
            <a:ln>
              <a:solidFill>
                <a:srgbClr val="70AD47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">
                  <c:v>4.2253521125999997E-2</c:v>
                </c:pt>
                <c:pt idx="427" formatCode="0.00">
                  <c:v>2.5000000000000001E-2</c:v>
                </c:pt>
                <c:pt idx="428" formatCode="0.00">
                  <c:v>2.0202020202000001E-2</c:v>
                </c:pt>
                <c:pt idx="429" formatCode="0.00">
                  <c:v>2.4691358024E-2</c:v>
                </c:pt>
                <c:pt idx="430" formatCode="0.00">
                  <c:v>4.1509433961999999E-2</c:v>
                </c:pt>
                <c:pt idx="431" formatCode="0.00">
                  <c:v>4.7445255473999998E-2</c:v>
                </c:pt>
                <c:pt idx="432" formatCode="0.00">
                  <c:v>4.5936395759E-2</c:v>
                </c:pt>
                <c:pt idx="433" formatCode="0.00">
                  <c:v>4.2168674698000001E-2</c:v>
                </c:pt>
                <c:pt idx="434" formatCode="0.00">
                  <c:v>7.6687116563999999E-2</c:v>
                </c:pt>
                <c:pt idx="435" formatCode="0.00">
                  <c:v>7.7499999999999999E-2</c:v>
                </c:pt>
                <c:pt idx="436" formatCode="0.00">
                  <c:v>7.0993914807E-2</c:v>
                </c:pt>
                <c:pt idx="437" formatCode="0.00">
                  <c:v>6.6546762588999997E-2</c:v>
                </c:pt>
                <c:pt idx="438" formatCode="0.00">
                  <c:v>6.5789473683999997E-2</c:v>
                </c:pt>
                <c:pt idx="439" formatCode="0.00">
                  <c:v>6.5522620904000003E-2</c:v>
                </c:pt>
                <c:pt idx="440" formatCode="0.00">
                  <c:v>6.3775510204000005E-2</c:v>
                </c:pt>
                <c:pt idx="441" formatCode="0.00">
                  <c:v>4.9040511726999997E-2</c:v>
                </c:pt>
                <c:pt idx="442" formatCode="0.00">
                  <c:v>5.1446945336999998E-2</c:v>
                </c:pt>
                <c:pt idx="443" formatCode="0.00">
                  <c:v>4.7070124879000003E-2</c:v>
                </c:pt>
                <c:pt idx="444" formatCode="0.00">
                  <c:v>4.9432739059000003E-2</c:v>
                </c:pt>
                <c:pt idx="445" formatCode="0.00">
                  <c:v>5.3117782909000003E-2</c:v>
                </c:pt>
                <c:pt idx="446" formatCode="0.00">
                  <c:v>5.2205882352000001E-2</c:v>
                </c:pt>
                <c:pt idx="447" formatCode="0.00">
                  <c:v>5.8271935699000001E-2</c:v>
                </c:pt>
                <c:pt idx="448" formatCode="0.00">
                  <c:v>6.067961165E-2</c:v>
                </c:pt>
                <c:pt idx="449" formatCode="0.00">
                  <c:v>5.0872093022999998E-2</c:v>
                </c:pt>
                <c:pt idx="450" formatCode="0.00">
                  <c:v>5.1923968474E-2</c:v>
                </c:pt>
                <c:pt idx="451" formatCode="0.00">
                  <c:v>4.9978457561E-2</c:v>
                </c:pt>
                <c:pt idx="452" formatCode="0.00">
                  <c:v>5.0430504304999998E-2</c:v>
                </c:pt>
                <c:pt idx="453" formatCode="0.00">
                  <c:v>5.3836882282000002E-2</c:v>
                </c:pt>
                <c:pt idx="454" formatCode="0.00">
                  <c:v>4.5182972367000002E-2</c:v>
                </c:pt>
                <c:pt idx="455" formatCode="0.00">
                  <c:v>4.5247281654999999E-2</c:v>
                </c:pt>
                <c:pt idx="456" formatCode="0.00">
                  <c:v>4.8241206029999997E-2</c:v>
                </c:pt>
                <c:pt idx="457" formatCode="0.00">
                  <c:v>5.3198226724999999E-2</c:v>
                </c:pt>
                <c:pt idx="458" formatCode="0.00">
                  <c:v>5.3059993969999997E-2</c:v>
                </c:pt>
                <c:pt idx="459" formatCode="0.00">
                  <c:v>5.4238292826999997E-2</c:v>
                </c:pt>
                <c:pt idx="460" formatCode="0.00">
                  <c:v>5.1341217190000003E-2</c:v>
                </c:pt>
                <c:pt idx="461" formatCode="0.00">
                  <c:v>5.8757062146000003E-2</c:v>
                </c:pt>
                <c:pt idx="462" formatCode="0.00">
                  <c:v>5.9546571973999998E-2</c:v>
                </c:pt>
                <c:pt idx="463" formatCode="0.00">
                  <c:v>5.9613319010999997E-2</c:v>
                </c:pt>
                <c:pt idx="464" formatCode="0.00">
                  <c:v>5.5865921786999999E-2</c:v>
                </c:pt>
                <c:pt idx="465" formatCode="0.00">
                  <c:v>5.5804158988999999E-2</c:v>
                </c:pt>
                <c:pt idx="466" formatCode="0.00">
                  <c:v>5.4931016861999998E-2</c:v>
                </c:pt>
                <c:pt idx="467" formatCode="0.00">
                  <c:v>5.6719468574000002E-2</c:v>
                </c:pt>
                <c:pt idx="468" formatCode="0.00">
                  <c:v>5.2257114818000001E-2</c:v>
                </c:pt>
                <c:pt idx="469" formatCode="0.00">
                  <c:v>5.2065918317999997E-2</c:v>
                </c:pt>
                <c:pt idx="470" formatCode="0.00">
                  <c:v>5.3404850746000002E-2</c:v>
                </c:pt>
                <c:pt idx="471" formatCode="0.00">
                  <c:v>5.4464285713999999E-2</c:v>
                </c:pt>
                <c:pt idx="472" formatCode="0.00">
                  <c:v>5.5376690276E-2</c:v>
                </c:pt>
                <c:pt idx="473" formatCode="0.00">
                  <c:v>5.6253995312000003E-2</c:v>
                </c:pt>
                <c:pt idx="474" formatCode="0.00">
                  <c:v>5.6252613968999998E-2</c:v>
                </c:pt>
                <c:pt idx="475" formatCode="0.00">
                  <c:v>5.6682577565000003E-2</c:v>
                </c:pt>
                <c:pt idx="476" formatCode="0.00">
                  <c:v>5.6970382946000001E-2</c:v>
                </c:pt>
                <c:pt idx="477" formatCode="0.00">
                  <c:v>5.7193923144999999E-2</c:v>
                </c:pt>
                <c:pt idx="478" formatCode="0.00">
                  <c:v>5.6345353675000001E-2</c:v>
                </c:pt>
                <c:pt idx="479" formatCode="0.00">
                  <c:v>5.5287998457999997E-2</c:v>
                </c:pt>
                <c:pt idx="480" formatCode="0.00">
                  <c:v>5.1220964860000003E-2</c:v>
                </c:pt>
                <c:pt idx="481" formatCode="0.00">
                  <c:v>4.9733570158999998E-2</c:v>
                </c:pt>
                <c:pt idx="482" formatCode="0.00">
                  <c:v>4.9714285714000002E-2</c:v>
                </c:pt>
                <c:pt idx="483" formatCode="0.00">
                  <c:v>4.7413793103E-2</c:v>
                </c:pt>
                <c:pt idx="484" formatCode="0.00">
                  <c:v>4.4474136285E-2</c:v>
                </c:pt>
                <c:pt idx="485" formatCode="0.00">
                  <c:v>4.6108447067E-2</c:v>
                </c:pt>
                <c:pt idx="486" formatCode="0.00">
                  <c:v>4.9942120058999999E-2</c:v>
                </c:pt>
                <c:pt idx="487" formatCode="0.00">
                  <c:v>5.0496688741000002E-2</c:v>
                </c:pt>
                <c:pt idx="488" formatCode="0.00">
                  <c:v>5.0168296201000002E-2</c:v>
                </c:pt>
                <c:pt idx="489" formatCode="0.00">
                  <c:v>5.1117277639000001E-2</c:v>
                </c:pt>
                <c:pt idx="490" formatCode="0.00">
                  <c:v>5.7240833552999998E-2</c:v>
                </c:pt>
                <c:pt idx="491" formatCode="0.00">
                  <c:v>5.9580148040000003E-2</c:v>
                </c:pt>
                <c:pt idx="492" formatCode="0.00">
                  <c:v>5.9927713652000003E-2</c:v>
                </c:pt>
                <c:pt idx="493" formatCode="0.00">
                  <c:v>6.0427574170999997E-2</c:v>
                </c:pt>
                <c:pt idx="494" formatCode="0.00">
                  <c:v>6.4078282828000002E-2</c:v>
                </c:pt>
                <c:pt idx="495" formatCode="0.00">
                  <c:v>6.5353246478000004E-2</c:v>
                </c:pt>
                <c:pt idx="496" formatCode="0.00">
                  <c:v>6.4498586033999994E-2</c:v>
                </c:pt>
                <c:pt idx="497" formatCode="0.00">
                  <c:v>6.6136083398000006E-2</c:v>
                </c:pt>
                <c:pt idx="498" formatCode="0.00">
                  <c:v>7.1735844669000001E-2</c:v>
                </c:pt>
                <c:pt idx="499" formatCode="0.00">
                  <c:v>7.5419664267999995E-2</c:v>
                </c:pt>
                <c:pt idx="500" formatCode="0.00">
                  <c:v>7.9285452098000003E-2</c:v>
                </c:pt>
                <c:pt idx="501" formatCode="0.00">
                  <c:v>8.0716949356000003E-2</c:v>
                </c:pt>
                <c:pt idx="502" formatCode="0.00">
                  <c:v>8.1348966516999993E-2</c:v>
                </c:pt>
                <c:pt idx="503" formatCode="0.00">
                  <c:v>8.9474467767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EOCK_novych_hosp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16" formatCode="#\ ##0.0">
                  <c:v>41.866669999999999</c:v>
                </c:pt>
                <c:pt idx="117" formatCode="#\ ##0.0">
                  <c:v>44.4460263</c:v>
                </c:pt>
                <c:pt idx="118" formatCode="#\ ##0.0">
                  <c:v>49.593475400000003</c:v>
                </c:pt>
                <c:pt idx="119" formatCode="#\ ##0.0">
                  <c:v>52.916226999999999</c:v>
                </c:pt>
                <c:pt idx="120" formatCode="#\ ##0.0">
                  <c:v>54.808505799999999</c:v>
                </c:pt>
                <c:pt idx="121" formatCode="#\ ##0.0">
                  <c:v>59.392776699999999</c:v>
                </c:pt>
                <c:pt idx="122" formatCode="#\ ##0.0">
                  <c:v>60.665559500000001</c:v>
                </c:pt>
                <c:pt idx="123" formatCode="#\ ##0.0">
                  <c:v>62.467729800000001</c:v>
                </c:pt>
                <c:pt idx="124" formatCode="#\ ##0.0">
                  <c:v>63.109752999999998</c:v>
                </c:pt>
                <c:pt idx="125" formatCode="#\ ##0.0">
                  <c:v>65.553946600000003</c:v>
                </c:pt>
                <c:pt idx="126" formatCode="#\ ##0.0">
                  <c:v>66.714093700000006</c:v>
                </c:pt>
                <c:pt idx="127" formatCode="#\ ##0.0">
                  <c:v>67.986876499999994</c:v>
                </c:pt>
                <c:pt idx="128" formatCode="#\ ##0.0">
                  <c:v>69.924209700000006</c:v>
                </c:pt>
                <c:pt idx="129" formatCode="#\ ##0.0">
                  <c:v>72.638728799999996</c:v>
                </c:pt>
                <c:pt idx="130" formatCode="#\ ##0.0">
                  <c:v>71.422263799999996</c:v>
                </c:pt>
                <c:pt idx="131" formatCode="#\ ##0.0">
                  <c:v>70.138217400000002</c:v>
                </c:pt>
                <c:pt idx="132" formatCode="#\ ##0.0">
                  <c:v>66.353659699999994</c:v>
                </c:pt>
                <c:pt idx="133" formatCode="#\ ##0.0">
                  <c:v>65.745434599999996</c:v>
                </c:pt>
                <c:pt idx="134" formatCode="#\ ##0.0">
                  <c:v>63.030915200000003</c:v>
                </c:pt>
                <c:pt idx="135" formatCode="#\ ##0.0">
                  <c:v>60.474085700000003</c:v>
                </c:pt>
                <c:pt idx="136" formatCode="#\ ##0.0">
                  <c:v>59.606791100000002</c:v>
                </c:pt>
                <c:pt idx="137" formatCode="#\ ##0.0">
                  <c:v>58.176318199999997</c:v>
                </c:pt>
                <c:pt idx="138" formatCode="#\ ##0.0">
                  <c:v>56.543101200000002</c:v>
                </c:pt>
                <c:pt idx="139" formatCode="#\ ##0.0">
                  <c:v>55.360426699999998</c:v>
                </c:pt>
                <c:pt idx="140" formatCode="#\ ##0.0">
                  <c:v>52.612128499999997</c:v>
                </c:pt>
                <c:pt idx="141" formatCode="#\ ##0.0">
                  <c:v>52.499498699999997</c:v>
                </c:pt>
                <c:pt idx="142" formatCode="#\ ##0.0">
                  <c:v>51.035234600000003</c:v>
                </c:pt>
                <c:pt idx="143" formatCode="#\ ##0.0">
                  <c:v>50.674806099999998</c:v>
                </c:pt>
                <c:pt idx="144" formatCode="#\ ##0.0">
                  <c:v>50.595966799999999</c:v>
                </c:pt>
                <c:pt idx="145" formatCode="#\ ##0.0">
                  <c:v>50.404491800000002</c:v>
                </c:pt>
                <c:pt idx="146" formatCode="#\ ##0.0">
                  <c:v>49.075401100000001</c:v>
                </c:pt>
                <c:pt idx="147" formatCode="#\ ##0.0">
                  <c:v>48.962776400000003</c:v>
                </c:pt>
                <c:pt idx="148" formatCode="#\ ##0.0">
                  <c:v>48.0616901</c:v>
                </c:pt>
                <c:pt idx="149" formatCode="#\ ##0.0">
                  <c:v>47.768858600000002</c:v>
                </c:pt>
                <c:pt idx="150" formatCode="#\ ##0.0">
                  <c:v>46.766404899999998</c:v>
                </c:pt>
                <c:pt idx="151" formatCode="#\ ##0.0">
                  <c:v>46.451045499999999</c:v>
                </c:pt>
                <c:pt idx="152" formatCode="#\ ##0.0">
                  <c:v>46.5444885</c:v>
                </c:pt>
                <c:pt idx="153" formatCode="#\ ##0.0">
                  <c:v>47.759607899999999</c:v>
                </c:pt>
                <c:pt idx="154" formatCode="#\ ##0.0">
                  <c:v>46.917747400000003</c:v>
                </c:pt>
                <c:pt idx="155" formatCode="#\ ##0.0">
                  <c:v>47.044563099999998</c:v>
                </c:pt>
                <c:pt idx="156" formatCode="#\ ##0.0">
                  <c:v>48.181402900000002</c:v>
                </c:pt>
                <c:pt idx="157" formatCode="#\ ##0.0">
                  <c:v>47.984098299999999</c:v>
                </c:pt>
                <c:pt idx="158" formatCode="#\ ##0.0">
                  <c:v>48.564055799999998</c:v>
                </c:pt>
                <c:pt idx="159" formatCode="#\ ##0.0">
                  <c:v>49.1214978</c:v>
                </c:pt>
                <c:pt idx="160" formatCode="#\ ##0.0">
                  <c:v>48.224026600000002</c:v>
                </c:pt>
                <c:pt idx="161" formatCode="#\ ##0.0">
                  <c:v>48.618279100000002</c:v>
                </c:pt>
                <c:pt idx="162" formatCode="#\ ##0.0">
                  <c:v>48.778719299999999</c:v>
                </c:pt>
                <c:pt idx="163" formatCode="#\ ##0.0">
                  <c:v>48.518699099999999</c:v>
                </c:pt>
                <c:pt idx="164" formatCode="#\ ##0.0">
                  <c:v>48.777044500000002</c:v>
                </c:pt>
                <c:pt idx="165" formatCode="#\ ##0.0">
                  <c:v>48.862241699999998</c:v>
                </c:pt>
                <c:pt idx="166" formatCode="#\ ##0.0">
                  <c:v>49.807907999999998</c:v>
                </c:pt>
                <c:pt idx="167" formatCode="#\ ##0.0">
                  <c:v>50.419100200000003</c:v>
                </c:pt>
                <c:pt idx="168" formatCode="#\ ##0.0">
                  <c:v>51.645466499999998</c:v>
                </c:pt>
                <c:pt idx="169" formatCode="#\ ##0.0">
                  <c:v>53.560495799999998</c:v>
                </c:pt>
                <c:pt idx="170" formatCode="#\ ##0.0">
                  <c:v>54.799267499999999</c:v>
                </c:pt>
                <c:pt idx="171" formatCode="#\ ##0.0">
                  <c:v>56.687096699999998</c:v>
                </c:pt>
                <c:pt idx="172" formatCode="#\ ##0.0">
                  <c:v>57.567718300000003</c:v>
                </c:pt>
                <c:pt idx="173" formatCode="#\ ##0.0">
                  <c:v>58.358579499999998</c:v>
                </c:pt>
                <c:pt idx="174" formatCode="#\ ##0.0">
                  <c:v>61.114628600000003</c:v>
                </c:pt>
                <c:pt idx="175" formatCode="#\ ##0.0">
                  <c:v>62.488187799999999</c:v>
                </c:pt>
                <c:pt idx="176" formatCode="#\ ##0.0">
                  <c:v>63.257704199999999</c:v>
                </c:pt>
                <c:pt idx="177" formatCode="#\ ##0.0">
                  <c:v>65.827323399999997</c:v>
                </c:pt>
                <c:pt idx="178" formatCode="#\ ##0.0">
                  <c:v>67.361917199999993</c:v>
                </c:pt>
                <c:pt idx="179" formatCode="#\ ##0.0">
                  <c:v>69.153188599999993</c:v>
                </c:pt>
                <c:pt idx="180" formatCode="#\ ##0.0">
                  <c:v>69.990987799999999</c:v>
                </c:pt>
                <c:pt idx="181" formatCode="#\ ##0.0">
                  <c:v>72.354009000000005</c:v>
                </c:pt>
                <c:pt idx="182" formatCode="#\ ##0.0">
                  <c:v>74.742689999999996</c:v>
                </c:pt>
                <c:pt idx="183" formatCode="#\ ##0.0">
                  <c:v>75.217355600000005</c:v>
                </c:pt>
                <c:pt idx="184" formatCode="#\ ##0.0">
                  <c:v>75.033795699999999</c:v>
                </c:pt>
                <c:pt idx="185" formatCode="#\ ##0.0">
                  <c:v>75.178452100000001</c:v>
                </c:pt>
                <c:pt idx="186" formatCode="#\ ##0.0">
                  <c:v>75.581131600000006</c:v>
                </c:pt>
                <c:pt idx="187" formatCode="#\ ##0.0">
                  <c:v>76.259514100000004</c:v>
                </c:pt>
                <c:pt idx="188" formatCode="#\ ##0.0">
                  <c:v>75.0883422</c:v>
                </c:pt>
                <c:pt idx="189" formatCode="#\ ##0.0">
                  <c:v>74.432276099999996</c:v>
                </c:pt>
                <c:pt idx="190" formatCode="#\ ##0.0">
                  <c:v>76.265685899999994</c:v>
                </c:pt>
                <c:pt idx="191" formatCode="#\ ##0.0">
                  <c:v>76.465174399999995</c:v>
                </c:pt>
                <c:pt idx="192" formatCode="#\ ##0.0">
                  <c:v>77.277022700000003</c:v>
                </c:pt>
                <c:pt idx="193" formatCode="#\ ##0.0">
                  <c:v>77.258860200000001</c:v>
                </c:pt>
                <c:pt idx="194" formatCode="#\ ##0.0">
                  <c:v>76.418184499999995</c:v>
                </c:pt>
                <c:pt idx="195" formatCode="#\ ##0.0">
                  <c:v>76.981812300000001</c:v>
                </c:pt>
                <c:pt idx="196" formatCode="#\ ##0.0">
                  <c:v>75.993277300000003</c:v>
                </c:pt>
                <c:pt idx="197" formatCode="#\ ##0.0">
                  <c:v>74.3974951</c:v>
                </c:pt>
                <c:pt idx="198" formatCode="#\ ##0.0">
                  <c:v>73.219390000000004</c:v>
                </c:pt>
                <c:pt idx="199" formatCode="#\ ##0.0">
                  <c:v>71.326162600000004</c:v>
                </c:pt>
                <c:pt idx="200" formatCode="#\ ##0.0">
                  <c:v>69.2427718</c:v>
                </c:pt>
                <c:pt idx="201" formatCode="#\ ##0.0">
                  <c:v>68.331946599999995</c:v>
                </c:pt>
                <c:pt idx="202" formatCode="#\ ##0.0">
                  <c:v>67.115373099999999</c:v>
                </c:pt>
                <c:pt idx="203" formatCode="#\ ##0.0">
                  <c:v>65.3392494</c:v>
                </c:pt>
                <c:pt idx="204" formatCode="#\ ##0.0">
                  <c:v>63.518180899999997</c:v>
                </c:pt>
                <c:pt idx="205" formatCode="#\ ##0.0">
                  <c:v>62.415026900000001</c:v>
                </c:pt>
                <c:pt idx="206" formatCode="#\ ##0.0">
                  <c:v>61.473875499999998</c:v>
                </c:pt>
                <c:pt idx="207" formatCode="#\ ##0.0">
                  <c:v>61.366638799999997</c:v>
                </c:pt>
                <c:pt idx="208" formatCode="#\ ##0.0">
                  <c:v>60.453285299999997</c:v>
                </c:pt>
                <c:pt idx="209" formatCode="#\ ##0.0">
                  <c:v>58.086250700000001</c:v>
                </c:pt>
                <c:pt idx="210" formatCode="#\ ##0.0">
                  <c:v>56.801513499999999</c:v>
                </c:pt>
                <c:pt idx="211" formatCode="#\ ##0.0">
                  <c:v>55.934854199999997</c:v>
                </c:pt>
                <c:pt idx="212" formatCode="#\ ##0.0">
                  <c:v>54.738394</c:v>
                </c:pt>
                <c:pt idx="213" formatCode="#\ ##0.0">
                  <c:v>52.348206900000001</c:v>
                </c:pt>
                <c:pt idx="214" formatCode="#\ ##0.0">
                  <c:v>51.421067800000003</c:v>
                </c:pt>
                <c:pt idx="215" formatCode="#\ ##0.0">
                  <c:v>50.878353500000003</c:v>
                </c:pt>
                <c:pt idx="216" formatCode="#\ ##0.0">
                  <c:v>46.000238099999997</c:v>
                </c:pt>
                <c:pt idx="217" formatCode="#\ ##0.0">
                  <c:v>49.807961800000001</c:v>
                </c:pt>
                <c:pt idx="218" formatCode="#\ ##0.0">
                  <c:v>48.318645699999998</c:v>
                </c:pt>
                <c:pt idx="219" formatCode="#\ ##0.0">
                  <c:v>46.066501600000002</c:v>
                </c:pt>
                <c:pt idx="220" formatCode="#\ ##0.0">
                  <c:v>45.640496800000001</c:v>
                </c:pt>
                <c:pt idx="221" formatCode="#\ ##0.0">
                  <c:v>43.531663299999998</c:v>
                </c:pt>
                <c:pt idx="222" formatCode="#\ ##0.0">
                  <c:v>41.630580100000003</c:v>
                </c:pt>
                <c:pt idx="223" formatCode="#\ ##0.0">
                  <c:v>42.7564007</c:v>
                </c:pt>
                <c:pt idx="224" formatCode="#\ ##0.0">
                  <c:v>35.509902199999999</c:v>
                </c:pt>
                <c:pt idx="225" formatCode="#\ ##0.0">
                  <c:v>33.8538456</c:v>
                </c:pt>
                <c:pt idx="226" formatCode="#\ ##0.0">
                  <c:v>33.107296300000002</c:v>
                </c:pt>
                <c:pt idx="227" formatCode="#\ ##0.0">
                  <c:v>31.534025</c:v>
                </c:pt>
                <c:pt idx="228" formatCode="#\ ##0.0">
                  <c:v>31.105694100000001</c:v>
                </c:pt>
                <c:pt idx="229" formatCode="#\ ##0.0">
                  <c:v>30.439674799999999</c:v>
                </c:pt>
                <c:pt idx="230" formatCode="#\ ##0.0">
                  <c:v>29.572889</c:v>
                </c:pt>
                <c:pt idx="231" formatCode="#\ ##0.0">
                  <c:v>29.277979800000001</c:v>
                </c:pt>
                <c:pt idx="232" formatCode="#\ ##0.0">
                  <c:v>28.7618893</c:v>
                </c:pt>
                <c:pt idx="233" formatCode="#\ ##0.0">
                  <c:v>27.8709688</c:v>
                </c:pt>
                <c:pt idx="234" formatCode="#\ ##0.0">
                  <c:v>26.897069299999998</c:v>
                </c:pt>
                <c:pt idx="235" formatCode="#\ ##0.0">
                  <c:v>25.819603799999999</c:v>
                </c:pt>
                <c:pt idx="236" formatCode="#\ ##0.0">
                  <c:v>25.0412997</c:v>
                </c:pt>
                <c:pt idx="237" formatCode="#\ ##0.0">
                  <c:v>23.2595393</c:v>
                </c:pt>
                <c:pt idx="238" formatCode="#\ ##0.0">
                  <c:v>22.1361481</c:v>
                </c:pt>
                <c:pt idx="239" formatCode="#\ ##0.0">
                  <c:v>20.8602168</c:v>
                </c:pt>
                <c:pt idx="240" formatCode="#\ ##0.0">
                  <c:v>20.653496000000001</c:v>
                </c:pt>
                <c:pt idx="241" formatCode="#\ ##0.0">
                  <c:v>20.058501400000001</c:v>
                </c:pt>
                <c:pt idx="242" formatCode="#\ ##0.0">
                  <c:v>19.9312571</c:v>
                </c:pt>
                <c:pt idx="243" formatCode="#\ ##0.0">
                  <c:v>19.631269499999998</c:v>
                </c:pt>
                <c:pt idx="244" formatCode="#\ ##0.0">
                  <c:v>19.957180900000001</c:v>
                </c:pt>
                <c:pt idx="245" formatCode="#\ ##0.0">
                  <c:v>19.131308099999998</c:v>
                </c:pt>
                <c:pt idx="246" formatCode="#\ ##0.0">
                  <c:v>18.436897900000002</c:v>
                </c:pt>
                <c:pt idx="247" formatCode="#\ ##0.0">
                  <c:v>17.179972899999999</c:v>
                </c:pt>
                <c:pt idx="248" formatCode="#\ ##0.0">
                  <c:v>16.852902100000001</c:v>
                </c:pt>
                <c:pt idx="249" formatCode="#\ ##0.0">
                  <c:v>15.9931109</c:v>
                </c:pt>
                <c:pt idx="250" formatCode="#\ ##0.0">
                  <c:v>15.432872400000001</c:v>
                </c:pt>
                <c:pt idx="251" formatCode="#\ ##0.0">
                  <c:v>14.0570719</c:v>
                </c:pt>
                <c:pt idx="252" formatCode="#\ ##0.0">
                  <c:v>13.4204939</c:v>
                </c:pt>
                <c:pt idx="253" formatCode="#\ ##0.0">
                  <c:v>12.873594199999999</c:v>
                </c:pt>
                <c:pt idx="254" formatCode="#\ ##0.0">
                  <c:v>12.492929</c:v>
                </c:pt>
                <c:pt idx="255" formatCode="#\ ##0.0">
                  <c:v>11.5289661</c:v>
                </c:pt>
                <c:pt idx="256" formatCode="#\ ##0.0">
                  <c:v>11.177578199999999</c:v>
                </c:pt>
                <c:pt idx="257" formatCode="#\ ##0.0">
                  <c:v>10.7223843</c:v>
                </c:pt>
                <c:pt idx="258" formatCode="#\ ##0.0">
                  <c:v>9.8373273000000001</c:v>
                </c:pt>
                <c:pt idx="259" formatCode="#\ ##0.0">
                  <c:v>9.3120522999999995</c:v>
                </c:pt>
                <c:pt idx="260" formatCode="#\ ##0.0">
                  <c:v>8.5058708999999997</c:v>
                </c:pt>
                <c:pt idx="261" formatCode="#\ ##0.0">
                  <c:v>7.7246267</c:v>
                </c:pt>
                <c:pt idx="262" formatCode="#\ ##0.0">
                  <c:v>7.6321995999999999</c:v>
                </c:pt>
                <c:pt idx="263" formatCode="#\ ##0.0">
                  <c:v>7.2112550999999998</c:v>
                </c:pt>
                <c:pt idx="264" formatCode="#\ ##0.0">
                  <c:v>6.7768166000000001</c:v>
                </c:pt>
                <c:pt idx="265" formatCode="#\ ##0.0">
                  <c:v>5.9239943000000004</c:v>
                </c:pt>
                <c:pt idx="266" formatCode="#\ ##0.0">
                  <c:v>5.4043866999999999</c:v>
                </c:pt>
                <c:pt idx="267" formatCode="#\ ##0.0">
                  <c:v>5.4749857999999998</c:v>
                </c:pt>
                <c:pt idx="268" formatCode="#\ ##0.0">
                  <c:v>5.1468995</c:v>
                </c:pt>
                <c:pt idx="269" formatCode="#\ ##0.0">
                  <c:v>4.4307822000000003</c:v>
                </c:pt>
                <c:pt idx="270" formatCode="#\ ##0.0">
                  <c:v>4.2645840000000002</c:v>
                </c:pt>
                <c:pt idx="271" formatCode="#\ ##0.0">
                  <c:v>4.2008543999999999</c:v>
                </c:pt>
                <c:pt idx="272" formatCode="#\ ##0.0">
                  <c:v>4.2302995000000001</c:v>
                </c:pt>
                <c:pt idx="273" formatCode="#\ ##0.0">
                  <c:v>3.9144828</c:v>
                </c:pt>
                <c:pt idx="274" formatCode="#\ ##0.0">
                  <c:v>3.430275</c:v>
                </c:pt>
                <c:pt idx="275" formatCode="#\ ##0.0">
                  <c:v>3.2085118000000001</c:v>
                </c:pt>
                <c:pt idx="276" formatCode="#\ ##0.0">
                  <c:v>3.0636903000000002</c:v>
                </c:pt>
                <c:pt idx="277" formatCode="#\ ##0.0">
                  <c:v>3.0159531999999998</c:v>
                </c:pt>
                <c:pt idx="278" formatCode="#\ ##0.0">
                  <c:v>2.8234455999999999</c:v>
                </c:pt>
                <c:pt idx="279" formatCode="#\ ##0.0">
                  <c:v>2.2713671</c:v>
                </c:pt>
                <c:pt idx="280" formatCode="#\ ##0.0">
                  <c:v>2.2293367000000002</c:v>
                </c:pt>
                <c:pt idx="281" formatCode="#\ ##0.0">
                  <c:v>1.9090085999999999</c:v>
                </c:pt>
                <c:pt idx="282" formatCode="#\ ##0.0">
                  <c:v>1.8943867999999999</c:v>
                </c:pt>
                <c:pt idx="283" formatCode="#\ ##0.0">
                  <c:v>1.5840539</c:v>
                </c:pt>
                <c:pt idx="284" formatCode="#\ ##0.0">
                  <c:v>1.4935163</c:v>
                </c:pt>
                <c:pt idx="285" formatCode="#\ ##0.0">
                  <c:v>1.4290197</c:v>
                </c:pt>
                <c:pt idx="286" formatCode="#\ ##0.0">
                  <c:v>1.5196445999999999</c:v>
                </c:pt>
                <c:pt idx="287" formatCode="#\ ##0.0">
                  <c:v>1.2429535</c:v>
                </c:pt>
                <c:pt idx="288" formatCode="#\ ##0.0">
                  <c:v>1.1145864999999999</c:v>
                </c:pt>
                <c:pt idx="289" formatCode="#\ ##0.0">
                  <c:v>1.1516508999999999</c:v>
                </c:pt>
                <c:pt idx="290" formatCode="#\ ##0.0">
                  <c:v>1.1748874</c:v>
                </c:pt>
                <c:pt idx="291" formatCode="#\ ##0.0">
                  <c:v>1.1920227999999999</c:v>
                </c:pt>
                <c:pt idx="292" formatCode="#\ ##0.0">
                  <c:v>1.1383471999999999</c:v>
                </c:pt>
                <c:pt idx="293" formatCode="#\ ##0.0">
                  <c:v>0.96318199999999998</c:v>
                </c:pt>
                <c:pt idx="294" formatCode="#\ ##0.0">
                  <c:v>0.91364250000000002</c:v>
                </c:pt>
                <c:pt idx="295" formatCode="#\ ##0.0">
                  <c:v>0.92215449999999999</c:v>
                </c:pt>
                <c:pt idx="296" formatCode="#\ ##0.0">
                  <c:v>0.69879329999999995</c:v>
                </c:pt>
                <c:pt idx="297" formatCode="#\ ##0.0">
                  <c:v>0.64713639999999995</c:v>
                </c:pt>
                <c:pt idx="298" formatCode="#\ ##0.0">
                  <c:v>0.53110089999999999</c:v>
                </c:pt>
                <c:pt idx="299" formatCode="#\ ##0.0">
                  <c:v>0.54734119999999997</c:v>
                </c:pt>
                <c:pt idx="300" formatCode="#\ ##0.0">
                  <c:v>0.52351689999999995</c:v>
                </c:pt>
                <c:pt idx="301" formatCode="#\ ##0.0">
                  <c:v>0.46876220000000002</c:v>
                </c:pt>
                <c:pt idx="302" formatCode="#\ ##0.0">
                  <c:v>0.55088700000000002</c:v>
                </c:pt>
                <c:pt idx="303" formatCode="#\ ##0.0">
                  <c:v>0.52698370000000005</c:v>
                </c:pt>
                <c:pt idx="304" formatCode="#\ ##0.0">
                  <c:v>0.50225620000000004</c:v>
                </c:pt>
                <c:pt idx="305" formatCode="#\ ##0.0">
                  <c:v>0.52034599999999998</c:v>
                </c:pt>
                <c:pt idx="306" formatCode="#\ ##0.0">
                  <c:v>0.53813849999999996</c:v>
                </c:pt>
                <c:pt idx="307" formatCode="#\ ##0.0">
                  <c:v>0.49683769999999999</c:v>
                </c:pt>
                <c:pt idx="308" formatCode="#\ ##0.0">
                  <c:v>0.45475510000000002</c:v>
                </c:pt>
                <c:pt idx="309" formatCode="#\ ##0.0">
                  <c:v>0.42820019999999998</c:v>
                </c:pt>
                <c:pt idx="310" formatCode="#\ ##0.0">
                  <c:v>0.41792790000000002</c:v>
                </c:pt>
                <c:pt idx="311" formatCode="#\ ##0.0">
                  <c:v>0.45796029999999999</c:v>
                </c:pt>
                <c:pt idx="312" formatCode="#\ ##0.0">
                  <c:v>0.46068369999999997</c:v>
                </c:pt>
                <c:pt idx="313" formatCode="#\ ##0.0">
                  <c:v>0.46279100000000001</c:v>
                </c:pt>
                <c:pt idx="314" formatCode="#\ ##0.0">
                  <c:v>0.50443979999999999</c:v>
                </c:pt>
                <c:pt idx="315" formatCode="#\ ##0.0">
                  <c:v>0.529806</c:v>
                </c:pt>
                <c:pt idx="316" formatCode="#\ ##0.0">
                  <c:v>0.46666600000000003</c:v>
                </c:pt>
                <c:pt idx="317" formatCode="#\ ##0.0">
                  <c:v>0.52906589999999998</c:v>
                </c:pt>
                <c:pt idx="318" formatCode="#\ ##0.0">
                  <c:v>0.5189532</c:v>
                </c:pt>
                <c:pt idx="319" formatCode="#\ ##0.0">
                  <c:v>0.55928949999999999</c:v>
                </c:pt>
                <c:pt idx="320" formatCode="#\ ##0.0">
                  <c:v>0.56157210000000002</c:v>
                </c:pt>
                <c:pt idx="321" formatCode="#\ ##0.0">
                  <c:v>0.65829499999999996</c:v>
                </c:pt>
                <c:pt idx="322" formatCode="#\ ##0.0">
                  <c:v>0.69955409999999996</c:v>
                </c:pt>
                <c:pt idx="323" formatCode="#\ ##0.0">
                  <c:v>0.74854730000000003</c:v>
                </c:pt>
                <c:pt idx="324" formatCode="#\ ##0.0">
                  <c:v>0.73933320000000002</c:v>
                </c:pt>
                <c:pt idx="325" formatCode="#\ ##0.0">
                  <c:v>0.72971739999999996</c:v>
                </c:pt>
                <c:pt idx="326" formatCode="#\ ##0.0">
                  <c:v>0.77353340000000004</c:v>
                </c:pt>
                <c:pt idx="327" formatCode="#\ ##0.0">
                  <c:v>0.87668349999999995</c:v>
                </c:pt>
                <c:pt idx="328" formatCode="#\ ##0.0">
                  <c:v>0.8889186</c:v>
                </c:pt>
                <c:pt idx="329" formatCode="#\ ##0.0">
                  <c:v>0.92213619999999996</c:v>
                </c:pt>
                <c:pt idx="330" formatCode="#\ ##0.0">
                  <c:v>0.91514269999999998</c:v>
                </c:pt>
                <c:pt idx="331" formatCode="#\ ##0.0">
                  <c:v>0.97005600000000003</c:v>
                </c:pt>
                <c:pt idx="332" formatCode="#\ ##0.0">
                  <c:v>1.0279957</c:v>
                </c:pt>
                <c:pt idx="333" formatCode="#\ ##0.0">
                  <c:v>1.0349629</c:v>
                </c:pt>
                <c:pt idx="334" formatCode="#\ ##0.0">
                  <c:v>0.95406250000000004</c:v>
                </c:pt>
                <c:pt idx="335" formatCode="#\ ##0.0">
                  <c:v>0.85811479999999996</c:v>
                </c:pt>
                <c:pt idx="336" formatCode="#\ ##0.0">
                  <c:v>0.89329219999999998</c:v>
                </c:pt>
                <c:pt idx="337" formatCode="#\ ##0.0">
                  <c:v>0.99674419999999997</c:v>
                </c:pt>
                <c:pt idx="338" formatCode="#\ ##0.0">
                  <c:v>0.96422070000000004</c:v>
                </c:pt>
                <c:pt idx="339" formatCode="#\ ##0.0">
                  <c:v>1.0229339</c:v>
                </c:pt>
                <c:pt idx="340" formatCode="#\ ##0.0">
                  <c:v>1.0295456000000001</c:v>
                </c:pt>
                <c:pt idx="341" formatCode="#\ ##0.0">
                  <c:v>0.98785080000000003</c:v>
                </c:pt>
                <c:pt idx="342" formatCode="#\ ##0.0">
                  <c:v>1.0468436000000001</c:v>
                </c:pt>
                <c:pt idx="343" formatCode="#\ ##0.0">
                  <c:v>1.1066811000000001</c:v>
                </c:pt>
                <c:pt idx="344" formatCode="#\ ##0.0">
                  <c:v>1.0702213</c:v>
                </c:pt>
                <c:pt idx="345" formatCode="#\ ##0.0">
                  <c:v>1.0319128</c:v>
                </c:pt>
                <c:pt idx="346" formatCode="#\ ##0.0">
                  <c:v>0.99288489999999996</c:v>
                </c:pt>
                <c:pt idx="347" formatCode="#\ ##0.0">
                  <c:v>1.0226392</c:v>
                </c:pt>
                <c:pt idx="348" formatCode="#\ ##0.0">
                  <c:v>1.1018858</c:v>
                </c:pt>
                <c:pt idx="349" formatCode="#\ ##0.0">
                  <c:v>1.2132581</c:v>
                </c:pt>
                <c:pt idx="350" formatCode="#\ ##0.0">
                  <c:v>1.2245991000000001</c:v>
                </c:pt>
                <c:pt idx="351" formatCode="#\ ##0.0">
                  <c:v>1.2355657</c:v>
                </c:pt>
                <c:pt idx="352" formatCode="#\ ##0.0">
                  <c:v>1.3776431</c:v>
                </c:pt>
                <c:pt idx="353" formatCode="#\ ##0.0">
                  <c:v>1.5235597000000001</c:v>
                </c:pt>
                <c:pt idx="354" formatCode="#\ ##0.0">
                  <c:v>1.4779909</c:v>
                </c:pt>
                <c:pt idx="355" formatCode="#\ ##0.0">
                  <c:v>1.4840149</c:v>
                </c:pt>
                <c:pt idx="356" formatCode="#\ ##0.0">
                  <c:v>1.33992</c:v>
                </c:pt>
                <c:pt idx="357" formatCode="#\ ##0.0">
                  <c:v>1.4073604</c:v>
                </c:pt>
                <c:pt idx="358" formatCode="#\ ##0.0">
                  <c:v>1.6140857</c:v>
                </c:pt>
                <c:pt idx="359" formatCode="#\ ##0.0">
                  <c:v>1.5734684999999999</c:v>
                </c:pt>
                <c:pt idx="360" formatCode="#\ ##0.0">
                  <c:v>1.3943551000000001</c:v>
                </c:pt>
                <c:pt idx="361" formatCode="#\ ##0.0">
                  <c:v>1.3981872</c:v>
                </c:pt>
                <c:pt idx="362" formatCode="#\ ##0.0">
                  <c:v>1.3458235999999999</c:v>
                </c:pt>
                <c:pt idx="363" formatCode="#\ ##0.0">
                  <c:v>1.4137291999999999</c:v>
                </c:pt>
                <c:pt idx="364" formatCode="#\ ##0.0">
                  <c:v>1.366168</c:v>
                </c:pt>
                <c:pt idx="365" formatCode="#\ ##0.0">
                  <c:v>1.3507955</c:v>
                </c:pt>
                <c:pt idx="366" formatCode="#\ ##0.0">
                  <c:v>1.4214751999999999</c:v>
                </c:pt>
                <c:pt idx="367" formatCode="#\ ##0.0">
                  <c:v>1.6411982000000001</c:v>
                </c:pt>
                <c:pt idx="368" formatCode="#\ ##0.0">
                  <c:v>1.6763748999999999</c:v>
                </c:pt>
                <c:pt idx="369" formatCode="#\ ##0.0">
                  <c:v>1.8287580000000001</c:v>
                </c:pt>
                <c:pt idx="370" formatCode="#\ ##0.0">
                  <c:v>2.0857405999999998</c:v>
                </c:pt>
                <c:pt idx="371" formatCode="#\ ##0.0">
                  <c:v>2.22342</c:v>
                </c:pt>
                <c:pt idx="372" formatCode="#\ ##0.0">
                  <c:v>2.2398802</c:v>
                </c:pt>
                <c:pt idx="373" formatCode="#\ ##0.0">
                  <c:v>2.2849517000000001</c:v>
                </c:pt>
                <c:pt idx="374" formatCode="#\ ##0.0">
                  <c:v>2.3621515</c:v>
                </c:pt>
                <c:pt idx="375" formatCode="#\ ##0.0">
                  <c:v>2.3665416000000001</c:v>
                </c:pt>
                <c:pt idx="376" formatCode="#\ ##0.0">
                  <c:v>2.5242512000000001</c:v>
                </c:pt>
                <c:pt idx="377" formatCode="#\ ##0.0">
                  <c:v>2.6925488999999998</c:v>
                </c:pt>
                <c:pt idx="378" formatCode="#\ ##0.0">
                  <c:v>2.9845410000000001</c:v>
                </c:pt>
                <c:pt idx="379" formatCode="#\ ##0.0">
                  <c:v>2.9632752999999998</c:v>
                </c:pt>
                <c:pt idx="380" formatCode="#\ ##0.0">
                  <c:v>3.0988864</c:v>
                </c:pt>
                <c:pt idx="381" formatCode="#\ ##0.0">
                  <c:v>3.1745432999999998</c:v>
                </c:pt>
                <c:pt idx="382" formatCode="#\ ##0.0">
                  <c:v>3.2092143000000002</c:v>
                </c:pt>
                <c:pt idx="383" formatCode="#\ ##0.0">
                  <c:v>3.0858142000000002</c:v>
                </c:pt>
                <c:pt idx="384" formatCode="#\ ##0.0">
                  <c:v>2.8432982</c:v>
                </c:pt>
                <c:pt idx="385" formatCode="#\ ##0.0">
                  <c:v>2.6298895999999998</c:v>
                </c:pt>
                <c:pt idx="386" formatCode="#\ ##0.0">
                  <c:v>2.6685336999999998</c:v>
                </c:pt>
                <c:pt idx="387" formatCode="#\ ##0.0">
                  <c:v>2.8027218</c:v>
                </c:pt>
                <c:pt idx="388" formatCode="#\ ##0.0">
                  <c:v>3.0353919999999999</c:v>
                </c:pt>
                <c:pt idx="389" formatCode="#\ ##0.0">
                  <c:v>3.2933389000000002</c:v>
                </c:pt>
                <c:pt idx="390" formatCode="#\ ##0.0">
                  <c:v>3.4547772000000001</c:v>
                </c:pt>
                <c:pt idx="391" formatCode="#\ ##0.0">
                  <c:v>3.9455108000000001</c:v>
                </c:pt>
                <c:pt idx="392" formatCode="#\ ##0.0">
                  <c:v>3.9867317999999998</c:v>
                </c:pt>
                <c:pt idx="393" formatCode="#\ ##0.0">
                  <c:v>4.1565759</c:v>
                </c:pt>
                <c:pt idx="394" formatCode="#\ ##0.0">
                  <c:v>4.3592991999999997</c:v>
                </c:pt>
                <c:pt idx="395" formatCode="#\ ##0.0">
                  <c:v>4.5008958999999997</c:v>
                </c:pt>
                <c:pt idx="396" formatCode="#\ ##0.0">
                  <c:v>4.7630078999999999</c:v>
                </c:pt>
                <c:pt idx="397" formatCode="#\ ##0.0">
                  <c:v>4.9595842000000001</c:v>
                </c:pt>
                <c:pt idx="398" formatCode="#\ ##0.0">
                  <c:v>5.6199120000000002</c:v>
                </c:pt>
                <c:pt idx="399" formatCode="#\ ##0.0">
                  <c:v>6.1185606999999997</c:v>
                </c:pt>
                <c:pt idx="400" formatCode="#\ ##0.0">
                  <c:v>6.8445733999999998</c:v>
                </c:pt>
                <c:pt idx="401" formatCode="#\ ##0.0">
                  <c:v>7.1502686000000004</c:v>
                </c:pt>
                <c:pt idx="402" formatCode="#\ ##0.0">
                  <c:v>7.5288190000000004</c:v>
                </c:pt>
                <c:pt idx="403" formatCode="#\ ##0.0">
                  <c:v>7.5658598000000001</c:v>
                </c:pt>
                <c:pt idx="404" formatCode="#\ ##0.0">
                  <c:v>7.7331867000000001</c:v>
                </c:pt>
                <c:pt idx="405" formatCode="#\ ##0.0">
                  <c:v>8.2726805999999993</c:v>
                </c:pt>
                <c:pt idx="406" formatCode="#\ ##0.0">
                  <c:v>8.7008311999999997</c:v>
                </c:pt>
                <c:pt idx="407" formatCode="#\ ##0.0">
                  <c:v>8.9489374000000002</c:v>
                </c:pt>
                <c:pt idx="408" formatCode="#\ ##0.0">
                  <c:v>9.1645249</c:v>
                </c:pt>
                <c:pt idx="409" formatCode="#\ ##0.0">
                  <c:v>9.7127310999999992</c:v>
                </c:pt>
                <c:pt idx="410" formatCode="#\ ##0.0">
                  <c:v>10.2128672</c:v>
                </c:pt>
                <c:pt idx="411" formatCode="#\ ##0.0">
                  <c:v>10.645254400000001</c:v>
                </c:pt>
                <c:pt idx="412" formatCode="#\ ##0.0">
                  <c:v>11.191964</c:v>
                </c:pt>
                <c:pt idx="413" formatCode="#\ ##0.0">
                  <c:v>12.8327265</c:v>
                </c:pt>
                <c:pt idx="414" formatCode="#\ ##0.0">
                  <c:v>14.3118997</c:v>
                </c:pt>
                <c:pt idx="415" formatCode="#\ ##0.0">
                  <c:v>15.7631824</c:v>
                </c:pt>
                <c:pt idx="416" formatCode="#\ ##0.0">
                  <c:v>17.659043799999999</c:v>
                </c:pt>
                <c:pt idx="417" formatCode="#\ ##0.0">
                  <c:v>18.534439200000001</c:v>
                </c:pt>
                <c:pt idx="418" formatCode="#\ ##0.0">
                  <c:v>19.772578599999999</c:v>
                </c:pt>
                <c:pt idx="419" formatCode="#\ ##0.0">
                  <c:v>21.667553600000002</c:v>
                </c:pt>
                <c:pt idx="420" formatCode="#\ ##0.0">
                  <c:v>23.8656544</c:v>
                </c:pt>
                <c:pt idx="421" formatCode="#\ ##0.0">
                  <c:v>25.400042200000001</c:v>
                </c:pt>
                <c:pt idx="422" formatCode="#\ ##0.0">
                  <c:v>26.141206</c:v>
                </c:pt>
                <c:pt idx="423" formatCode="#\ ##0.0">
                  <c:v>27.598052800000001</c:v>
                </c:pt>
                <c:pt idx="424" formatCode="#\ ##0.0">
                  <c:v>29.324006000000001</c:v>
                </c:pt>
                <c:pt idx="425" formatCode="#\ ##0.0">
                  <c:v>31.484082999999998</c:v>
                </c:pt>
                <c:pt idx="426" formatCode="#\ ##0.0">
                  <c:v>35.728872299999999</c:v>
                </c:pt>
                <c:pt idx="427" formatCode="#\ ##0.0">
                  <c:v>37.872794499999998</c:v>
                </c:pt>
                <c:pt idx="428" formatCode="#\ ##0.0">
                  <c:v>41.158658299999999</c:v>
                </c:pt>
                <c:pt idx="429" formatCode="#\ ##0.0">
                  <c:v>45.382269600000001</c:v>
                </c:pt>
                <c:pt idx="430" formatCode="#\ ##0.0">
                  <c:v>48.212810300000001</c:v>
                </c:pt>
                <c:pt idx="431" formatCode="#\ ##0.0">
                  <c:v>50.041932899999999</c:v>
                </c:pt>
                <c:pt idx="432" formatCode="#\ ##0.0">
                  <c:v>51.663426800000003</c:v>
                </c:pt>
                <c:pt idx="433" formatCode="#\ ##0.0">
                  <c:v>53.319992499999998</c:v>
                </c:pt>
                <c:pt idx="434" formatCode="#\ ##0.0">
                  <c:v>56.8001322</c:v>
                </c:pt>
                <c:pt idx="435" formatCode="#\ ##0.0">
                  <c:v>58.365314300000001</c:v>
                </c:pt>
                <c:pt idx="436" formatCode="#\ ##0.0">
                  <c:v>60.512700100000004</c:v>
                </c:pt>
                <c:pt idx="437" formatCode="#\ ##0.0">
                  <c:v>63.778040099999998</c:v>
                </c:pt>
                <c:pt idx="438" formatCode="#\ ##0.0">
                  <c:v>65.791455400000004</c:v>
                </c:pt>
                <c:pt idx="439" formatCode="#\ ##0.0">
                  <c:v>67.145523800000007</c:v>
                </c:pt>
                <c:pt idx="440" formatCode="#\ ##0.0">
                  <c:v>72.773529999999994</c:v>
                </c:pt>
                <c:pt idx="441" formatCode="#\ ##0.0">
                  <c:v>74.670540700000004</c:v>
                </c:pt>
                <c:pt idx="442" formatCode="#\ ##0.0">
                  <c:v>75.915576299999998</c:v>
                </c:pt>
                <c:pt idx="443" formatCode="#\ ##0.0">
                  <c:v>79.369582600000001</c:v>
                </c:pt>
                <c:pt idx="444" formatCode="#\ ##0.0">
                  <c:v>83.029136199999996</c:v>
                </c:pt>
                <c:pt idx="445" formatCode="#\ ##0.0">
                  <c:v>85.373110999999994</c:v>
                </c:pt>
                <c:pt idx="446" formatCode="#\ ##0.0">
                  <c:v>87.911522099999999</c:v>
                </c:pt>
                <c:pt idx="447" formatCode="#\ ##0.0">
                  <c:v>89.670395799999994</c:v>
                </c:pt>
                <c:pt idx="448" formatCode="#\ ##0.0">
                  <c:v>92.822593400000002</c:v>
                </c:pt>
                <c:pt idx="449" formatCode="#\ ##0.0">
                  <c:v>97.039030400000001</c:v>
                </c:pt>
                <c:pt idx="450" formatCode="#\ ##0.0">
                  <c:v>98.697113700000003</c:v>
                </c:pt>
                <c:pt idx="451" formatCode="#\ ##0.0">
                  <c:v>101.4309027</c:v>
                </c:pt>
                <c:pt idx="452" formatCode="#\ ##0.0">
                  <c:v>103.43640689999999</c:v>
                </c:pt>
                <c:pt idx="453" formatCode="#\ ##0.0">
                  <c:v>104.5668769</c:v>
                </c:pt>
                <c:pt idx="454" formatCode="#\ ##0.0">
                  <c:v>106.67543259999999</c:v>
                </c:pt>
                <c:pt idx="455" formatCode="#\ ##0.0">
                  <c:v>106.8434323</c:v>
                </c:pt>
                <c:pt idx="456" formatCode="#\ ##0.0">
                  <c:v>107.0445672</c:v>
                </c:pt>
                <c:pt idx="457" formatCode="#\ ##0.0">
                  <c:v>108.93047180000001</c:v>
                </c:pt>
                <c:pt idx="458" formatCode="#\ ##0.0">
                  <c:v>107.27016519999999</c:v>
                </c:pt>
                <c:pt idx="459" formatCode="#\ ##0.0">
                  <c:v>105.25453589999999</c:v>
                </c:pt>
                <c:pt idx="460" formatCode="#\ ##0.0">
                  <c:v>103.9801866</c:v>
                </c:pt>
                <c:pt idx="461" formatCode="#\ ##0.0">
                  <c:v>100.1594782</c:v>
                </c:pt>
                <c:pt idx="462" formatCode="#\ ##0.0">
                  <c:v>99.112653600000002</c:v>
                </c:pt>
                <c:pt idx="463" formatCode="#\ ##0.0">
                  <c:v>98.945945199999997</c:v>
                </c:pt>
                <c:pt idx="464" formatCode="#\ ##0.0">
                  <c:v>95.699915700000005</c:v>
                </c:pt>
                <c:pt idx="465" formatCode="#\ ##0.0">
                  <c:v>94.976834299999993</c:v>
                </c:pt>
                <c:pt idx="466" formatCode="#\ ##0.0">
                  <c:v>93.604184700000005</c:v>
                </c:pt>
                <c:pt idx="467" formatCode="#\ ##0.0">
                  <c:v>91.063162399999996</c:v>
                </c:pt>
                <c:pt idx="468" formatCode="#\ ##0.0">
                  <c:v>91.268531600000003</c:v>
                </c:pt>
                <c:pt idx="469" formatCode="#\ ##0.0">
                  <c:v>88.915400899999995</c:v>
                </c:pt>
                <c:pt idx="470" formatCode="#\ ##0.0">
                  <c:v>84.988589000000005</c:v>
                </c:pt>
                <c:pt idx="471" formatCode="#\ ##0.0">
                  <c:v>83.192598200000006</c:v>
                </c:pt>
                <c:pt idx="472" formatCode="#\ ##0.0">
                  <c:v>80.129302100000004</c:v>
                </c:pt>
                <c:pt idx="473" formatCode="#\ ##0.0">
                  <c:v>77.039665999999997</c:v>
                </c:pt>
                <c:pt idx="474" formatCode="#\ ##0.0">
                  <c:v>76.072523399999994</c:v>
                </c:pt>
                <c:pt idx="475" formatCode="#\ ##0.0">
                  <c:v>71.471861200000006</c:v>
                </c:pt>
                <c:pt idx="476" formatCode="#\ ##0.0">
                  <c:v>69.647754399999997</c:v>
                </c:pt>
                <c:pt idx="477" formatCode="#\ ##0.0">
                  <c:v>67.4460172</c:v>
                </c:pt>
                <c:pt idx="478" formatCode="#\ ##0.0">
                  <c:v>64.4179417</c:v>
                </c:pt>
                <c:pt idx="479" formatCode="#\ ##0.0">
                  <c:v>58.776049999999998</c:v>
                </c:pt>
                <c:pt idx="480" formatCode="#\ ##0.0">
                  <c:v>58.6551866</c:v>
                </c:pt>
                <c:pt idx="481" formatCode="#\ ##0.0">
                  <c:v>57.851778400000001</c:v>
                </c:pt>
                <c:pt idx="482" formatCode="#\ ##0.0">
                  <c:v>59.1005191</c:v>
                </c:pt>
                <c:pt idx="483" formatCode="#\ ##0.0">
                  <c:v>57.883162599999999</c:v>
                </c:pt>
                <c:pt idx="484" formatCode="#\ ##0.0">
                  <c:v>56.736409199999997</c:v>
                </c:pt>
                <c:pt idx="485" formatCode="#\ ##0.0">
                  <c:v>55.918016600000001</c:v>
                </c:pt>
                <c:pt idx="486" formatCode="#\ ##0.0">
                  <c:v>57.857626099999997</c:v>
                </c:pt>
                <c:pt idx="487" formatCode="#\ ##0.0">
                  <c:v>57.0920755</c:v>
                </c:pt>
                <c:pt idx="488" formatCode="#\ ##0.0">
                  <c:v>55.172302999999999</c:v>
                </c:pt>
                <c:pt idx="489" formatCode="#\ ##0.0">
                  <c:v>50.201269099999998</c:v>
                </c:pt>
                <c:pt idx="490" formatCode="#\ ##0.0">
                  <c:v>48.470916799999998</c:v>
                </c:pt>
                <c:pt idx="491" formatCode="#\ ##0.0">
                  <c:v>47.673349199999997</c:v>
                </c:pt>
                <c:pt idx="492" formatCode="#\ ##0.0">
                  <c:v>45.641501699999999</c:v>
                </c:pt>
                <c:pt idx="493" formatCode="#\ ##0.0">
                  <c:v>44.215643399999998</c:v>
                </c:pt>
                <c:pt idx="494" formatCode="#\ ##0.0">
                  <c:v>43.685506699999998</c:v>
                </c:pt>
                <c:pt idx="495" formatCode="#\ ##0.0">
                  <c:v>42.218946199999998</c:v>
                </c:pt>
                <c:pt idx="496" formatCode="#\ ##0.0">
                  <c:v>39.743805899999998</c:v>
                </c:pt>
                <c:pt idx="497" formatCode="#\ ##0.0">
                  <c:v>37.518692600000001</c:v>
                </c:pt>
                <c:pt idx="498" formatCode="#\ ##0.0">
                  <c:v>34.575570399999997</c:v>
                </c:pt>
                <c:pt idx="499" formatCode="#\ ##0.0">
                  <c:v>32.618839100000002</c:v>
                </c:pt>
                <c:pt idx="500" formatCode="#\ ##0.0">
                  <c:v>29.455980199999999</c:v>
                </c:pt>
                <c:pt idx="501" formatCode="#\ ##0.0">
                  <c:v>26.1970396</c:v>
                </c:pt>
                <c:pt idx="502" formatCode="#\ ##0.0">
                  <c:v>24.268548800000001</c:v>
                </c:pt>
                <c:pt idx="503" formatCode="#\ ##0.0">
                  <c:v>18.6336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OCK_novych_hosp_7dni_100_000_nyni</c:v>
          </c:tx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#\ ##0.0">
                  <c:v>13.386283499999999</c:v>
                </c:pt>
                <c:pt idx="182" formatCode="#\ ##0.0">
                  <c:v>16.4568856</c:v>
                </c:pt>
                <c:pt idx="183" formatCode="#\ ##0.0">
                  <c:v>18.304123000000001</c:v>
                </c:pt>
                <c:pt idx="184" formatCode="#\ ##0.0">
                  <c:v>17.0932657</c:v>
                </c:pt>
                <c:pt idx="185" formatCode="#\ ##0.0">
                  <c:v>17.4415589</c:v>
                </c:pt>
                <c:pt idx="186" formatCode="#\ ##0.0">
                  <c:v>17.344590100000001</c:v>
                </c:pt>
                <c:pt idx="187" formatCode="#\ ##0.0">
                  <c:v>16.795196499999999</c:v>
                </c:pt>
                <c:pt idx="188" formatCode="#\ ##0.0">
                  <c:v>13.6127269</c:v>
                </c:pt>
                <c:pt idx="189" formatCode="#\ ##0.0">
                  <c:v>9.6759863999999993</c:v>
                </c:pt>
                <c:pt idx="190" formatCode="#\ ##0.0">
                  <c:v>11.5678755</c:v>
                </c:pt>
                <c:pt idx="191" formatCode="#\ ##0.0">
                  <c:v>13.391530599999999</c:v>
                </c:pt>
                <c:pt idx="192" formatCode="#\ ##0.0">
                  <c:v>13.9166881</c:v>
                </c:pt>
                <c:pt idx="193" formatCode="#\ ##0.0">
                  <c:v>13.0681586</c:v>
                </c:pt>
                <c:pt idx="194" formatCode="#\ ##0.0">
                  <c:v>13.4462273</c:v>
                </c:pt>
                <c:pt idx="195" formatCode="#\ ##0.0">
                  <c:v>16.0724546</c:v>
                </c:pt>
                <c:pt idx="196" formatCode="#\ ##0.0">
                  <c:v>19.015850499999999</c:v>
                </c:pt>
                <c:pt idx="197" formatCode="#\ ##0.0">
                  <c:v>16.3471194</c:v>
                </c:pt>
                <c:pt idx="198" formatCode="#\ ##0.0">
                  <c:v>14.142973899999999</c:v>
                </c:pt>
                <c:pt idx="199" formatCode="#\ ##0.0">
                  <c:v>14.604663</c:v>
                </c:pt>
                <c:pt idx="200" formatCode="#\ ##0.0">
                  <c:v>16.4241001</c:v>
                </c:pt>
                <c:pt idx="201" formatCode="#\ ##0.0">
                  <c:v>17.8610632</c:v>
                </c:pt>
                <c:pt idx="202" formatCode="#\ ##0.0">
                  <c:v>16.4474886</c:v>
                </c:pt>
                <c:pt idx="203" formatCode="#\ ##0.0">
                  <c:v>14.2865816</c:v>
                </c:pt>
                <c:pt idx="204" formatCode="#\ ##0.0">
                  <c:v>14.288551999999999</c:v>
                </c:pt>
                <c:pt idx="205" formatCode="#\ ##0.0">
                  <c:v>14.8993447</c:v>
                </c:pt>
                <c:pt idx="206" formatCode="#\ ##0.0">
                  <c:v>13.8244297</c:v>
                </c:pt>
                <c:pt idx="207" formatCode="#\ ##0.0">
                  <c:v>12.781772500000001</c:v>
                </c:pt>
                <c:pt idx="208" formatCode="#\ ##0.0">
                  <c:v>11.754104099999999</c:v>
                </c:pt>
                <c:pt idx="209" formatCode="#\ ##0.0">
                  <c:v>12.696155600000001</c:v>
                </c:pt>
                <c:pt idx="210" formatCode="#\ ##0.0">
                  <c:v>12.5923309</c:v>
                </c:pt>
                <c:pt idx="211" formatCode="#\ ##0.0">
                  <c:v>11.901078200000001</c:v>
                </c:pt>
                <c:pt idx="212" formatCode="#\ ##0.0">
                  <c:v>11.1901113</c:v>
                </c:pt>
                <c:pt idx="213" formatCode="#\ ##0.0">
                  <c:v>9.9410989000000001</c:v>
                </c:pt>
                <c:pt idx="214" formatCode="#\ ##0.0">
                  <c:v>9.6110542999999993</c:v>
                </c:pt>
                <c:pt idx="215" formatCode="#\ ##0.0">
                  <c:v>9.0232223999999999</c:v>
                </c:pt>
                <c:pt idx="216" formatCode="#\ ##0.0">
                  <c:v>7.1385512999999996</c:v>
                </c:pt>
                <c:pt idx="217" formatCode="#\ ##0.0">
                  <c:v>7.9164633999999996</c:v>
                </c:pt>
                <c:pt idx="218" formatCode="#\ ##0.0">
                  <c:v>7.8559609000000004</c:v>
                </c:pt>
                <c:pt idx="219" formatCode="#\ ##0.0">
                  <c:v>8.4668627999999995</c:v>
                </c:pt>
                <c:pt idx="220" formatCode="#\ ##0.0">
                  <c:v>9.4873873999999994</c:v>
                </c:pt>
                <c:pt idx="221" formatCode="#\ ##0.0">
                  <c:v>10.501878</c:v>
                </c:pt>
                <c:pt idx="222" formatCode="#\ ##0.0">
                  <c:v>11.2910296</c:v>
                </c:pt>
                <c:pt idx="223" formatCode="#\ ##0.0">
                  <c:v>12.7004286</c:v>
                </c:pt>
                <c:pt idx="224" formatCode="#\ ##0.0">
                  <c:v>10.715578199999999</c:v>
                </c:pt>
                <c:pt idx="225" formatCode="#\ ##0.0">
                  <c:v>10.5429827</c:v>
                </c:pt>
                <c:pt idx="226" formatCode="#\ ##0.0">
                  <c:v>9.2101816999999997</c:v>
                </c:pt>
                <c:pt idx="227" formatCode="#\ ##0.0">
                  <c:v>7.7666200999999999</c:v>
                </c:pt>
                <c:pt idx="228" formatCode="#\ ##0.0">
                  <c:v>6.9269705999999998</c:v>
                </c:pt>
                <c:pt idx="229" formatCode="#\ ##0.0">
                  <c:v>6.9921243999999998</c:v>
                </c:pt>
                <c:pt idx="230" formatCode="#\ ##0.0">
                  <c:v>6.9073688000000004</c:v>
                </c:pt>
                <c:pt idx="231" formatCode="#\ ##0.0">
                  <c:v>6.9039372999999999</c:v>
                </c:pt>
                <c:pt idx="232" formatCode="#\ ##0.0">
                  <c:v>7.1310422000000004</c:v>
                </c:pt>
                <c:pt idx="233" formatCode="#\ ##0.0">
                  <c:v>7.5432515999999996</c:v>
                </c:pt>
                <c:pt idx="234" formatCode="#\ ##0.0">
                  <c:v>8.0703393000000005</c:v>
                </c:pt>
                <c:pt idx="235" formatCode="#\ ##0.0">
                  <c:v>7.7606289000000004</c:v>
                </c:pt>
                <c:pt idx="236" formatCode="#\ ##0.0">
                  <c:v>7.5173376999999997</c:v>
                </c:pt>
                <c:pt idx="237" formatCode="#\ ##0.0">
                  <c:v>6.7390341999999999</c:v>
                </c:pt>
                <c:pt idx="238" formatCode="#\ ##0.0">
                  <c:v>6.6425830000000001</c:v>
                </c:pt>
                <c:pt idx="239" formatCode="#\ ##0.0">
                  <c:v>5.4307913000000001</c:v>
                </c:pt>
                <c:pt idx="240" formatCode="#\ ##0.0">
                  <c:v>4.7849063999999997</c:v>
                </c:pt>
                <c:pt idx="241" formatCode="#\ ##0.0">
                  <c:v>3.8299368</c:v>
                </c:pt>
                <c:pt idx="242" formatCode="#\ ##0.0">
                  <c:v>3.7902236999999999</c:v>
                </c:pt>
                <c:pt idx="243" formatCode="#\ ##0.0">
                  <c:v>3.9970536000000001</c:v>
                </c:pt>
                <c:pt idx="244" formatCode="#\ ##0.0">
                  <c:v>3.7033545000000001</c:v>
                </c:pt>
                <c:pt idx="245" formatCode="#\ ##0.0">
                  <c:v>3.4180231000000001</c:v>
                </c:pt>
                <c:pt idx="246" formatCode="#\ ##0.0">
                  <c:v>3.6903812999999999</c:v>
                </c:pt>
                <c:pt idx="247" formatCode="#\ ##0.0">
                  <c:v>4.1546510000000003</c:v>
                </c:pt>
                <c:pt idx="248" formatCode="#\ ##0.0">
                  <c:v>4.6278474000000003</c:v>
                </c:pt>
                <c:pt idx="249" formatCode="#\ ##0.0">
                  <c:v>4.4977996999999998</c:v>
                </c:pt>
                <c:pt idx="250" formatCode="#\ ##0.0">
                  <c:v>4.2707398999999997</c:v>
                </c:pt>
                <c:pt idx="251" formatCode="#\ ##0.0">
                  <c:v>4.4440999000000003</c:v>
                </c:pt>
                <c:pt idx="252" formatCode="#\ ##0.0">
                  <c:v>3.9803391000000001</c:v>
                </c:pt>
                <c:pt idx="253" formatCode="#\ ##0.0">
                  <c:v>4.2260833</c:v>
                </c:pt>
                <c:pt idx="254" formatCode="#\ ##0.0">
                  <c:v>3.1691546000000002</c:v>
                </c:pt>
                <c:pt idx="255" formatCode="#\ ##0.0">
                  <c:v>2.8439263000000001</c:v>
                </c:pt>
                <c:pt idx="256" formatCode="#\ ##0.0">
                  <c:v>2.8343202000000001</c:v>
                </c:pt>
                <c:pt idx="257" formatCode="#\ ##0.0">
                  <c:v>2.5354648000000002</c:v>
                </c:pt>
                <c:pt idx="258" formatCode="#\ ##0.0">
                  <c:v>2.0377982000000001</c:v>
                </c:pt>
                <c:pt idx="259" formatCode="#\ ##0.0">
                  <c:v>2.5989502</c:v>
                </c:pt>
                <c:pt idx="260" formatCode="#\ ##0.0">
                  <c:v>1.9078544</c:v>
                </c:pt>
                <c:pt idx="261" formatCode="#\ ##0.0">
                  <c:v>2.2662119000000001</c:v>
                </c:pt>
                <c:pt idx="262" formatCode="#\ ##0.0">
                  <c:v>2.2447444000000001</c:v>
                </c:pt>
                <c:pt idx="263" formatCode="#\ ##0.0">
                  <c:v>2.2410135000000002</c:v>
                </c:pt>
                <c:pt idx="264" formatCode="#\ ##0.0">
                  <c:v>2.0519343999999999</c:v>
                </c:pt>
                <c:pt idx="265" formatCode="#\ ##0.0">
                  <c:v>2.2234739000000001</c:v>
                </c:pt>
                <c:pt idx="266" formatCode="#\ ##0.0">
                  <c:v>1.5621898000000001</c:v>
                </c:pt>
                <c:pt idx="267" formatCode="#\ ##0.0">
                  <c:v>1.7314565</c:v>
                </c:pt>
                <c:pt idx="268" formatCode="#\ ##0.0">
                  <c:v>1.5363551</c:v>
                </c:pt>
                <c:pt idx="269" formatCode="#\ ##0.0">
                  <c:v>1.6153378</c:v>
                </c:pt>
                <c:pt idx="270" formatCode="#\ ##0.0">
                  <c:v>1.612061</c:v>
                </c:pt>
                <c:pt idx="271" formatCode="#\ ##0.0">
                  <c:v>1.7891360000000001</c:v>
                </c:pt>
                <c:pt idx="272" formatCode="#\ ##0.0">
                  <c:v>1.4227331000000001</c:v>
                </c:pt>
                <c:pt idx="273" formatCode="#\ ##0.0">
                  <c:v>1.4942453</c:v>
                </c:pt>
                <c:pt idx="274" formatCode="#\ ##0.0">
                  <c:v>1.3011165</c:v>
                </c:pt>
                <c:pt idx="275" formatCode="#\ ##0.0">
                  <c:v>1.0170258000000001</c:v>
                </c:pt>
                <c:pt idx="276" formatCode="#\ ##0.0">
                  <c:v>0.66241830000000002</c:v>
                </c:pt>
                <c:pt idx="277" formatCode="#\ ##0.0">
                  <c:v>0.4922414</c:v>
                </c:pt>
                <c:pt idx="278" formatCode="#\ ##0.0">
                  <c:v>0.48861640000000001</c:v>
                </c:pt>
                <c:pt idx="279" formatCode="#\ ##0.0">
                  <c:v>0.47557670000000002</c:v>
                </c:pt>
                <c:pt idx="280" formatCode="#\ ##0.0">
                  <c:v>0.46244410000000002</c:v>
                </c:pt>
                <c:pt idx="281" formatCode="#\ ##0.0">
                  <c:v>0.29962499999999997</c:v>
                </c:pt>
                <c:pt idx="282" formatCode="#\ ##0.0">
                  <c:v>0.43404189999999998</c:v>
                </c:pt>
                <c:pt idx="283" formatCode="#\ ##0.0">
                  <c:v>0.55985430000000003</c:v>
                </c:pt>
                <c:pt idx="284" formatCode="#\ ##0.0">
                  <c:v>0.55322769999999999</c:v>
                </c:pt>
                <c:pt idx="285" formatCode="#\ ##0.0">
                  <c:v>0.41081479999999998</c:v>
                </c:pt>
                <c:pt idx="286" formatCode="#\ ##0.0">
                  <c:v>0.33155610000000002</c:v>
                </c:pt>
                <c:pt idx="287" formatCode="#\ ##0.0">
                  <c:v>0.2569186</c:v>
                </c:pt>
                <c:pt idx="288" formatCode="#\ ##0.0">
                  <c:v>0.31038260000000001</c:v>
                </c:pt>
                <c:pt idx="289" formatCode="#\ ##0.0">
                  <c:v>0.29919709999999999</c:v>
                </c:pt>
                <c:pt idx="290" formatCode="#\ ##0.0">
                  <c:v>0.1735545</c:v>
                </c:pt>
                <c:pt idx="291" formatCode="#\ ##0.0">
                  <c:v>0.2289052</c:v>
                </c:pt>
                <c:pt idx="292" formatCode="#\ ##0.0">
                  <c:v>0.28367100000000001</c:v>
                </c:pt>
                <c:pt idx="293" formatCode="#\ ##0.0">
                  <c:v>0.32998719999999998</c:v>
                </c:pt>
                <c:pt idx="294" formatCode="#\ ##0.0">
                  <c:v>0.42706379999999999</c:v>
                </c:pt>
                <c:pt idx="295" formatCode="#\ ##0.0">
                  <c:v>0.46441640000000001</c:v>
                </c:pt>
                <c:pt idx="296" formatCode="#\ ##0.0">
                  <c:v>0.34839730000000002</c:v>
                </c:pt>
                <c:pt idx="297" formatCode="#\ ##0.0">
                  <c:v>0.33670030000000001</c:v>
                </c:pt>
                <c:pt idx="298" formatCode="#\ ##0.0">
                  <c:v>0.28573979999999999</c:v>
                </c:pt>
                <c:pt idx="299" formatCode="#\ ##0.0">
                  <c:v>0.28325489999999998</c:v>
                </c:pt>
                <c:pt idx="300" formatCode="#\ ##0.0">
                  <c:v>0.2280365</c:v>
                </c:pt>
                <c:pt idx="301" formatCode="#\ ##0.0">
                  <c:v>0.13244890000000001</c:v>
                </c:pt>
                <c:pt idx="302" formatCode="#\ ##0.0">
                  <c:v>0.17070160000000001</c:v>
                </c:pt>
                <c:pt idx="303" formatCode="#\ ##0.0">
                  <c:v>0.1648551</c:v>
                </c:pt>
                <c:pt idx="304" formatCode="#\ ##0.0">
                  <c:v>0.15955739999999999</c:v>
                </c:pt>
                <c:pt idx="305" formatCode="#\ ##0.0">
                  <c:v>0.15771299999999999</c:v>
                </c:pt>
                <c:pt idx="306" formatCode="#\ ##0.0">
                  <c:v>0.11718249999999999</c:v>
                </c:pt>
                <c:pt idx="307" formatCode="#\ ##0.0">
                  <c:v>0.1136913</c:v>
                </c:pt>
                <c:pt idx="308" formatCode="#\ ##0.0">
                  <c:v>0.1102525</c:v>
                </c:pt>
                <c:pt idx="309" formatCode="#\ ##0.0">
                  <c:v>7.1269200000000005E-2</c:v>
                </c:pt>
                <c:pt idx="310" formatCode="#\ ##0.0">
                  <c:v>0.1035807</c:v>
                </c:pt>
                <c:pt idx="311" formatCode="#\ ##0.0">
                  <c:v>0.1005875</c:v>
                </c:pt>
                <c:pt idx="312" formatCode="#\ ##0.0">
                  <c:v>0.1325674</c:v>
                </c:pt>
                <c:pt idx="313" formatCode="#\ ##0.0">
                  <c:v>0.1642566</c:v>
                </c:pt>
                <c:pt idx="314" formatCode="#\ ##0.0">
                  <c:v>0.2236969</c:v>
                </c:pt>
                <c:pt idx="315" formatCode="#\ ##0.0">
                  <c:v>0.2176796</c:v>
                </c:pt>
                <c:pt idx="316" formatCode="#\ ##0.0">
                  <c:v>0.1814471</c:v>
                </c:pt>
                <c:pt idx="317" formatCode="#\ ##0.0">
                  <c:v>0.1766354</c:v>
                </c:pt>
                <c:pt idx="318" formatCode="#\ ##0.0">
                  <c:v>0.28713280000000002</c:v>
                </c:pt>
                <c:pt idx="319" formatCode="#\ ##0.0">
                  <c:v>0.25610110000000003</c:v>
                </c:pt>
                <c:pt idx="320" formatCode="#\ ##0.0">
                  <c:v>0.22624179999999999</c:v>
                </c:pt>
                <c:pt idx="321" formatCode="#\ ##0.0">
                  <c:v>0.25270819999999999</c:v>
                </c:pt>
                <c:pt idx="322" formatCode="#\ ##0.0">
                  <c:v>0.30648340000000002</c:v>
                </c:pt>
                <c:pt idx="323" formatCode="#\ ##0.0">
                  <c:v>0.27262120000000001</c:v>
                </c:pt>
                <c:pt idx="324" formatCode="#\ ##0.0">
                  <c:v>0.26749279999999998</c:v>
                </c:pt>
                <c:pt idx="325" formatCode="#\ ##0.0">
                  <c:v>0.18383659999999999</c:v>
                </c:pt>
                <c:pt idx="326" formatCode="#\ ##0.0">
                  <c:v>0.1824634</c:v>
                </c:pt>
                <c:pt idx="327" formatCode="#\ ##0.0">
                  <c:v>0.1813814</c:v>
                </c:pt>
                <c:pt idx="328" formatCode="#\ ##0.0">
                  <c:v>0.17819180000000001</c:v>
                </c:pt>
                <c:pt idx="329" formatCode="#\ ##0.0">
                  <c:v>0.1250559</c:v>
                </c:pt>
                <c:pt idx="330" formatCode="#\ ##0.0">
                  <c:v>0.1719821</c:v>
                </c:pt>
                <c:pt idx="331" formatCode="#\ ##0.0">
                  <c:v>0.24176829999999999</c:v>
                </c:pt>
                <c:pt idx="332" formatCode="#\ ##0.0">
                  <c:v>0.2138323</c:v>
                </c:pt>
                <c:pt idx="333" formatCode="#\ ##0.0">
                  <c:v>0.2122472</c:v>
                </c:pt>
                <c:pt idx="334" formatCode="#\ ##0.0">
                  <c:v>0.21095420000000001</c:v>
                </c:pt>
                <c:pt idx="335" formatCode="#\ ##0.0">
                  <c:v>0.2307689</c:v>
                </c:pt>
                <c:pt idx="336" formatCode="#\ ##0.0">
                  <c:v>0.22725380000000001</c:v>
                </c:pt>
                <c:pt idx="337" formatCode="#\ ##0.0">
                  <c:v>0.2240238</c:v>
                </c:pt>
                <c:pt idx="338" formatCode="#\ ##0.0">
                  <c:v>0.13267480000000001</c:v>
                </c:pt>
                <c:pt idx="339" formatCode="#\ ##0.0">
                  <c:v>0.1966426</c:v>
                </c:pt>
                <c:pt idx="340" formatCode="#\ ##0.0">
                  <c:v>0.19546289999999999</c:v>
                </c:pt>
                <c:pt idx="341" formatCode="#\ ##0.0">
                  <c:v>0.19453019999999999</c:v>
                </c:pt>
                <c:pt idx="342" formatCode="#\ ##0.0">
                  <c:v>0.14973030000000001</c:v>
                </c:pt>
                <c:pt idx="343" formatCode="#\ ##0.0">
                  <c:v>0.16943359999999999</c:v>
                </c:pt>
                <c:pt idx="344" formatCode="#\ ##0.0">
                  <c:v>0.12586829999999999</c:v>
                </c:pt>
                <c:pt idx="345" formatCode="#\ ##0.0">
                  <c:v>0.1663868</c:v>
                </c:pt>
                <c:pt idx="346" formatCode="#\ ##0.0">
                  <c:v>0.14434420000000001</c:v>
                </c:pt>
                <c:pt idx="347" formatCode="#\ ##0.0">
                  <c:v>0.16430649999999999</c:v>
                </c:pt>
                <c:pt idx="348" formatCode="#\ ##0.0">
                  <c:v>0.16376560000000001</c:v>
                </c:pt>
                <c:pt idx="349" formatCode="#\ ##0.0">
                  <c:v>0.20317379999999999</c:v>
                </c:pt>
                <c:pt idx="350" formatCode="#\ ##0.0">
                  <c:v>0.2016725</c:v>
                </c:pt>
                <c:pt idx="351" formatCode="#\ ##0.0">
                  <c:v>0.2403209</c:v>
                </c:pt>
                <c:pt idx="352" formatCode="#\ ##0.0">
                  <c:v>0.2385196</c:v>
                </c:pt>
                <c:pt idx="353" formatCode="#\ ##0.0">
                  <c:v>0.2169065</c:v>
                </c:pt>
                <c:pt idx="354" formatCode="#\ ##0.0">
                  <c:v>0.21614159999999999</c:v>
                </c:pt>
                <c:pt idx="355" formatCode="#\ ##0.0">
                  <c:v>0.2350805</c:v>
                </c:pt>
                <c:pt idx="356" formatCode="#\ ##0.0">
                  <c:v>0.17487220000000001</c:v>
                </c:pt>
                <c:pt idx="357" formatCode="#\ ##0.0">
                  <c:v>0.1929265</c:v>
                </c:pt>
                <c:pt idx="358" formatCode="#\ ##0.0">
                  <c:v>0.19146589999999999</c:v>
                </c:pt>
                <c:pt idx="359" formatCode="#\ ##0.0">
                  <c:v>0.17124549999999999</c:v>
                </c:pt>
                <c:pt idx="360" formatCode="#\ ##0.0">
                  <c:v>0.22674469999999999</c:v>
                </c:pt>
                <c:pt idx="361" formatCode="#\ ##0.0">
                  <c:v>0.20746410000000001</c:v>
                </c:pt>
                <c:pt idx="362" formatCode="#\ ##0.0">
                  <c:v>0.1882674</c:v>
                </c:pt>
                <c:pt idx="363" formatCode="#\ ##0.0">
                  <c:v>0.20593710000000001</c:v>
                </c:pt>
                <c:pt idx="364" formatCode="#\ ##0.0">
                  <c:v>0.2050439</c:v>
                </c:pt>
                <c:pt idx="365" formatCode="#\ ##0.0">
                  <c:v>0.185228</c:v>
                </c:pt>
                <c:pt idx="366" formatCode="#\ ##0.0">
                  <c:v>0.22095139999999999</c:v>
                </c:pt>
                <c:pt idx="367" formatCode="#\ ##0.0">
                  <c:v>0.23783209999999999</c:v>
                </c:pt>
                <c:pt idx="368" formatCode="#\ ##0.0">
                  <c:v>0.23731340000000001</c:v>
                </c:pt>
                <c:pt idx="369" formatCode="#\ ##0.0">
                  <c:v>0.27332840000000003</c:v>
                </c:pt>
                <c:pt idx="370" formatCode="#\ ##0.0">
                  <c:v>0.38029289999999999</c:v>
                </c:pt>
                <c:pt idx="371" formatCode="#\ ##0.0">
                  <c:v>0.39639819999999998</c:v>
                </c:pt>
                <c:pt idx="372" formatCode="#\ ##0.0">
                  <c:v>0.43053720000000001</c:v>
                </c:pt>
                <c:pt idx="373" formatCode="#\ ##0.0">
                  <c:v>0.5182428</c:v>
                </c:pt>
                <c:pt idx="374" formatCode="#\ ##0.0">
                  <c:v>0.44496360000000001</c:v>
                </c:pt>
                <c:pt idx="375" formatCode="#\ ##0.0">
                  <c:v>0.55116169999999998</c:v>
                </c:pt>
                <c:pt idx="376" formatCode="#\ ##0.0">
                  <c:v>0.56841509999999995</c:v>
                </c:pt>
                <c:pt idx="377" formatCode="#\ ##0.0">
                  <c:v>0.58437720000000004</c:v>
                </c:pt>
                <c:pt idx="378" formatCode="#\ ##0.0">
                  <c:v>0.61819959999999996</c:v>
                </c:pt>
                <c:pt idx="379" formatCode="#\ ##0.0">
                  <c:v>0.65229680000000001</c:v>
                </c:pt>
                <c:pt idx="380" formatCode="#\ ##0.0">
                  <c:v>0.61581980000000003</c:v>
                </c:pt>
                <c:pt idx="381" formatCode="#\ ##0.0">
                  <c:v>0.89526830000000002</c:v>
                </c:pt>
                <c:pt idx="382" formatCode="#\ ##0.0">
                  <c:v>0.85967499999999997</c:v>
                </c:pt>
                <c:pt idx="383" formatCode="#\ ##0.0">
                  <c:v>0.87683100000000003</c:v>
                </c:pt>
                <c:pt idx="384" formatCode="#\ ##0.0">
                  <c:v>0.96274389999999999</c:v>
                </c:pt>
                <c:pt idx="385" formatCode="#\ ##0.0">
                  <c:v>0.99612900000000004</c:v>
                </c:pt>
                <c:pt idx="386" formatCode="#\ ##0.0">
                  <c:v>0.99469870000000005</c:v>
                </c:pt>
                <c:pt idx="387" formatCode="#\ ##0.0">
                  <c:v>0.94103389999999998</c:v>
                </c:pt>
                <c:pt idx="388" formatCode="#\ ##0.0">
                  <c:v>0.73063440000000002</c:v>
                </c:pt>
                <c:pt idx="389" formatCode="#\ ##0.0">
                  <c:v>0.74774180000000001</c:v>
                </c:pt>
                <c:pt idx="390" formatCode="#\ ##0.0">
                  <c:v>0.71278730000000001</c:v>
                </c:pt>
                <c:pt idx="391" formatCode="#\ ##0.0">
                  <c:v>0.59020550000000005</c:v>
                </c:pt>
                <c:pt idx="392" formatCode="#\ ##0.0">
                  <c:v>0.52012400000000003</c:v>
                </c:pt>
                <c:pt idx="393" formatCode="#\ ##0.0">
                  <c:v>0.72731679999999999</c:v>
                </c:pt>
                <c:pt idx="394" formatCode="#\ ##0.0">
                  <c:v>0.81296049999999997</c:v>
                </c:pt>
                <c:pt idx="395" formatCode="#\ ##0.0">
                  <c:v>0.82903150000000003</c:v>
                </c:pt>
                <c:pt idx="396" formatCode="#\ ##0.0">
                  <c:v>0.79421600000000003</c:v>
                </c:pt>
                <c:pt idx="397" formatCode="#\ ##0.0">
                  <c:v>0.86307739999999999</c:v>
                </c:pt>
                <c:pt idx="398" formatCode="#\ ##0.0">
                  <c:v>1.0173492</c:v>
                </c:pt>
                <c:pt idx="399" formatCode="#\ ##0.0">
                  <c:v>1.2059272000000001</c:v>
                </c:pt>
                <c:pt idx="400" formatCode="#\ ##0.0">
                  <c:v>1.1190100999999999</c:v>
                </c:pt>
                <c:pt idx="401" formatCode="#\ ##0.0">
                  <c:v>1.1181797</c:v>
                </c:pt>
                <c:pt idx="402" formatCode="#\ ##0.0">
                  <c:v>1.2542025999999999</c:v>
                </c:pt>
                <c:pt idx="403" formatCode="#\ ##0.0">
                  <c:v>1.3053731</c:v>
                </c:pt>
                <c:pt idx="404" formatCode="#\ ##0.0">
                  <c:v>1.3909342</c:v>
                </c:pt>
                <c:pt idx="405" formatCode="#\ ##0.0">
                  <c:v>1.6471385999999999</c:v>
                </c:pt>
                <c:pt idx="406" formatCode="#\ ##0.0">
                  <c:v>1.7671129999999999</c:v>
                </c:pt>
                <c:pt idx="407" formatCode="#\ ##0.0">
                  <c:v>1.8683837999999999</c:v>
                </c:pt>
                <c:pt idx="408" formatCode="#\ ##0.0">
                  <c:v>2.0894746999999998</c:v>
                </c:pt>
                <c:pt idx="409" formatCode="#\ ##0.0">
                  <c:v>2.3787471999999998</c:v>
                </c:pt>
                <c:pt idx="410" formatCode="#\ ##0.0">
                  <c:v>2.7717565999999998</c:v>
                </c:pt>
                <c:pt idx="411" formatCode="#\ ##0.0">
                  <c:v>2.8569673</c:v>
                </c:pt>
                <c:pt idx="412" formatCode="#\ ##0.0">
                  <c:v>3.3342304</c:v>
                </c:pt>
                <c:pt idx="413" formatCode="#\ ##0.0">
                  <c:v>3.9654126999999999</c:v>
                </c:pt>
                <c:pt idx="414" formatCode="#\ ##0.0">
                  <c:v>4.3744173000000002</c:v>
                </c:pt>
                <c:pt idx="415" formatCode="#\ ##0.0">
                  <c:v>4.8682363999999998</c:v>
                </c:pt>
                <c:pt idx="416" formatCode="#\ ##0.0">
                  <c:v>5.1912070999999997</c:v>
                </c:pt>
                <c:pt idx="417" formatCode="#\ ##0.0">
                  <c:v>5.4976311999999998</c:v>
                </c:pt>
                <c:pt idx="418" formatCode="#\ ##0.0">
                  <c:v>5.7703344999999997</c:v>
                </c:pt>
                <c:pt idx="419" formatCode="#\ ##0.0">
                  <c:v>6.2470951000000001</c:v>
                </c:pt>
                <c:pt idx="420" formatCode="#\ ##0.0">
                  <c:v>7.1175179000000002</c:v>
                </c:pt>
                <c:pt idx="421" formatCode="#\ ##0.0">
                  <c:v>8.2281119</c:v>
                </c:pt>
                <c:pt idx="422" formatCode="#\ ##0.0">
                  <c:v>8.5188763000000005</c:v>
                </c:pt>
                <c:pt idx="423" formatCode="#\ ##0.0">
                  <c:v>9.7647396999999998</c:v>
                </c:pt>
                <c:pt idx="424" formatCode="#\ ##0.0">
                  <c:v>10.190989699999999</c:v>
                </c:pt>
                <c:pt idx="425" formatCode="#\ ##0.0">
                  <c:v>10.8901056</c:v>
                </c:pt>
                <c:pt idx="426" formatCode="#\ ##0.0">
                  <c:v>12.621565800000001</c:v>
                </c:pt>
                <c:pt idx="427" formatCode="#\ ##0.0">
                  <c:v>13.9924064</c:v>
                </c:pt>
                <c:pt idx="428" formatCode="#\ ##0.0">
                  <c:v>14.8416798</c:v>
                </c:pt>
                <c:pt idx="429" formatCode="#\ ##0.0">
                  <c:v>16.5052609</c:v>
                </c:pt>
                <c:pt idx="430" formatCode="#\ ##0.0">
                  <c:v>16.662658700000001</c:v>
                </c:pt>
                <c:pt idx="431" formatCode="#\ ##0.0">
                  <c:v>17.3558141</c:v>
                </c:pt>
                <c:pt idx="432" formatCode="#\ ##0.0">
                  <c:v>17.8230772</c:v>
                </c:pt>
                <c:pt idx="433" formatCode="#\ ##0.0">
                  <c:v>18.661615099999999</c:v>
                </c:pt>
                <c:pt idx="434" formatCode="#\ ##0.0">
                  <c:v>19.6490863</c:v>
                </c:pt>
                <c:pt idx="435" formatCode="#\ ##0.0">
                  <c:v>20.6710697</c:v>
                </c:pt>
                <c:pt idx="436" formatCode="#\ ##0.0">
                  <c:v>21.3756016</c:v>
                </c:pt>
                <c:pt idx="437" formatCode="#\ ##0.0">
                  <c:v>23.003709799999999</c:v>
                </c:pt>
                <c:pt idx="438" formatCode="#\ ##0.0">
                  <c:v>23.791468299999998</c:v>
                </c:pt>
                <c:pt idx="439" formatCode="#\ ##0.0">
                  <c:v>24.197885299999999</c:v>
                </c:pt>
                <c:pt idx="440" formatCode="#\ ##0.0">
                  <c:v>25.744534900000001</c:v>
                </c:pt>
                <c:pt idx="441" formatCode="#\ ##0.0">
                  <c:v>26.756633399999998</c:v>
                </c:pt>
                <c:pt idx="442" formatCode="#\ ##0.0">
                  <c:v>26.2337378</c:v>
                </c:pt>
                <c:pt idx="443" formatCode="#\ ##0.0">
                  <c:v>27.420344499999999</c:v>
                </c:pt>
                <c:pt idx="444" formatCode="#\ ##0.0">
                  <c:v>28.8138857</c:v>
                </c:pt>
                <c:pt idx="445" formatCode="#\ ##0.0">
                  <c:v>29.5612356</c:v>
                </c:pt>
                <c:pt idx="446" formatCode="#\ ##0.0">
                  <c:v>31.171245299999999</c:v>
                </c:pt>
                <c:pt idx="447" formatCode="#\ ##0.0">
                  <c:v>31.876324100000001</c:v>
                </c:pt>
                <c:pt idx="448" formatCode="#\ ##0.0">
                  <c:v>32.319661400000001</c:v>
                </c:pt>
                <c:pt idx="449" formatCode="#\ ##0.0">
                  <c:v>35.138869399999997</c:v>
                </c:pt>
                <c:pt idx="450" formatCode="#\ ##0.0">
                  <c:v>35.818934400000003</c:v>
                </c:pt>
                <c:pt idx="451" formatCode="#\ ##0.0">
                  <c:v>36.246934199999998</c:v>
                </c:pt>
                <c:pt idx="452" formatCode="#\ ##0.0">
                  <c:v>36.097723999999999</c:v>
                </c:pt>
                <c:pt idx="453" formatCode="#\ ##0.0">
                  <c:v>35.452348999999998</c:v>
                </c:pt>
                <c:pt idx="454" formatCode="#\ ##0.0">
                  <c:v>35.841248800000002</c:v>
                </c:pt>
                <c:pt idx="455" formatCode="#\ ##0.0">
                  <c:v>35.491967799999998</c:v>
                </c:pt>
                <c:pt idx="456" formatCode="#\ ##0.0">
                  <c:v>34.790551700000002</c:v>
                </c:pt>
                <c:pt idx="457" formatCode="#\ ##0.0">
                  <c:v>35.248938500000001</c:v>
                </c:pt>
                <c:pt idx="458" formatCode="#\ ##0.0">
                  <c:v>34.090291000000001</c:v>
                </c:pt>
                <c:pt idx="459" formatCode="#\ ##0.0">
                  <c:v>33.638845099999998</c:v>
                </c:pt>
                <c:pt idx="460" formatCode="#\ ##0.0">
                  <c:v>33.525953899999998</c:v>
                </c:pt>
                <c:pt idx="461" formatCode="#\ ##0.0">
                  <c:v>32.833866100000002</c:v>
                </c:pt>
                <c:pt idx="462" formatCode="#\ ##0.0">
                  <c:v>32.382528899999997</c:v>
                </c:pt>
                <c:pt idx="463" formatCode="#\ ##0.0">
                  <c:v>31.9906513</c:v>
                </c:pt>
                <c:pt idx="464" formatCode="#\ ##0.0">
                  <c:v>30.684593</c:v>
                </c:pt>
                <c:pt idx="465" formatCode="#\ ##0.0">
                  <c:v>31.321234</c:v>
                </c:pt>
                <c:pt idx="466" formatCode="#\ ##0.0">
                  <c:v>30.780775999999999</c:v>
                </c:pt>
                <c:pt idx="467" formatCode="#\ ##0.0">
                  <c:v>29.766383900000001</c:v>
                </c:pt>
                <c:pt idx="468" formatCode="#\ ##0.0">
                  <c:v>28.944535800000001</c:v>
                </c:pt>
                <c:pt idx="469" formatCode="#\ ##0.0">
                  <c:v>28.773678199999999</c:v>
                </c:pt>
                <c:pt idx="470" formatCode="#\ ##0.0">
                  <c:v>27.926489400000001</c:v>
                </c:pt>
                <c:pt idx="471" formatCode="#\ ##0.0">
                  <c:v>27.0882665</c:v>
                </c:pt>
                <c:pt idx="472" formatCode="#\ ##0.0">
                  <c:v>25.473517099999999</c:v>
                </c:pt>
                <c:pt idx="473" formatCode="#\ ##0.0">
                  <c:v>24.670853699999999</c:v>
                </c:pt>
                <c:pt idx="474" formatCode="#\ ##0.0">
                  <c:v>24.283072099999998</c:v>
                </c:pt>
                <c:pt idx="475" formatCode="#\ ##0.0">
                  <c:v>23.466946499999999</c:v>
                </c:pt>
                <c:pt idx="476" formatCode="#\ ##0.0">
                  <c:v>22.140581000000001</c:v>
                </c:pt>
                <c:pt idx="477" formatCode="#\ ##0.0">
                  <c:v>21.018963500000002</c:v>
                </c:pt>
                <c:pt idx="478" formatCode="#\ ##0.0">
                  <c:v>19.4826257</c:v>
                </c:pt>
                <c:pt idx="479" formatCode="#\ ##0.0">
                  <c:v>17.241440600000001</c:v>
                </c:pt>
                <c:pt idx="480" formatCode="#\ ##0.0">
                  <c:v>16.5402816</c:v>
                </c:pt>
                <c:pt idx="481" formatCode="#\ ##0.0">
                  <c:v>16.0761067</c:v>
                </c:pt>
                <c:pt idx="482" formatCode="#\ ##0.0">
                  <c:v>15.370417399999999</c:v>
                </c:pt>
                <c:pt idx="483" formatCode="#\ ##0.0">
                  <c:v>15.056342600000001</c:v>
                </c:pt>
                <c:pt idx="484" formatCode="#\ ##0.0">
                  <c:v>15.4558018</c:v>
                </c:pt>
                <c:pt idx="485" formatCode="#\ ##0.0">
                  <c:v>15.467883499999999</c:v>
                </c:pt>
                <c:pt idx="486" formatCode="#\ ##0.0">
                  <c:v>15.6501199</c:v>
                </c:pt>
                <c:pt idx="487" formatCode="#\ ##0.0">
                  <c:v>15.587420099999999</c:v>
                </c:pt>
                <c:pt idx="488" formatCode="#\ ##0.0">
                  <c:v>15.1685497</c:v>
                </c:pt>
                <c:pt idx="489" formatCode="#\ ##0.0">
                  <c:v>13.2213361</c:v>
                </c:pt>
                <c:pt idx="490" formatCode="#\ ##0.0">
                  <c:v>12.147589200000001</c:v>
                </c:pt>
                <c:pt idx="491" formatCode="#\ ##0.0">
                  <c:v>10.801233099999999</c:v>
                </c:pt>
                <c:pt idx="492" formatCode="#\ ##0.0">
                  <c:v>10.3166405</c:v>
                </c:pt>
                <c:pt idx="493" formatCode="#\ ##0.0">
                  <c:v>10.104930700000001</c:v>
                </c:pt>
                <c:pt idx="494" formatCode="#\ ##0.0">
                  <c:v>9.8924765000000008</c:v>
                </c:pt>
                <c:pt idx="495" formatCode="#\ ##0.0">
                  <c:v>9.6111521</c:v>
                </c:pt>
                <c:pt idx="496" formatCode="#\ ##0.0">
                  <c:v>8.5369299000000005</c:v>
                </c:pt>
                <c:pt idx="497" formatCode="#\ ##0.0">
                  <c:v>8.2324058000000004</c:v>
                </c:pt>
                <c:pt idx="498" formatCode="#\ ##0.0">
                  <c:v>7.3553974000000002</c:v>
                </c:pt>
                <c:pt idx="499" formatCode="#\ ##0.0">
                  <c:v>7.0809822000000002</c:v>
                </c:pt>
                <c:pt idx="500" formatCode="#\ ##0.0">
                  <c:v>6.8230731999999996</c:v>
                </c:pt>
                <c:pt idx="501" formatCode="#\ ##0.0">
                  <c:v>6.3781090999999996</c:v>
                </c:pt>
                <c:pt idx="502" formatCode="#\ ##0.0">
                  <c:v>5.7524800999999997</c:v>
                </c:pt>
                <c:pt idx="503" formatCode="#\ ##0.0">
                  <c:v>4.8471222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OCK_s_posil_novych_hosp_7dni_100_000_nyni</c:v>
          </c:tx>
          <c:spPr>
            <a:ln>
              <a:solidFill>
                <a:srgbClr val="70AD47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">
                  <c:v>3.9416633000000001</c:v>
                </c:pt>
                <c:pt idx="427" formatCode="0.00">
                  <c:v>1.6211133</c:v>
                </c:pt>
                <c:pt idx="428" formatCode="0.00">
                  <c:v>3.9115468</c:v>
                </c:pt>
                <c:pt idx="429" formatCode="0.00">
                  <c:v>5.3028455000000001</c:v>
                </c:pt>
                <c:pt idx="430" formatCode="0.00">
                  <c:v>5.3031173000000003</c:v>
                </c:pt>
                <c:pt idx="431" formatCode="0.00">
                  <c:v>6.8487872999999997</c:v>
                </c:pt>
                <c:pt idx="432" formatCode="0.00">
                  <c:v>6.7053339999999997</c:v>
                </c:pt>
                <c:pt idx="433" formatCode="0.00">
                  <c:v>6.4663069000000002</c:v>
                </c:pt>
                <c:pt idx="434" formatCode="0.00">
                  <c:v>7.4211501999999996</c:v>
                </c:pt>
                <c:pt idx="435" formatCode="0.00">
                  <c:v>5.8480464000000003</c:v>
                </c:pt>
                <c:pt idx="436" formatCode="0.00">
                  <c:v>5.7189202000000003</c:v>
                </c:pt>
                <c:pt idx="437" formatCode="0.00">
                  <c:v>5.2027166999999999</c:v>
                </c:pt>
                <c:pt idx="438" formatCode="0.00">
                  <c:v>5.5741877000000004</c:v>
                </c:pt>
                <c:pt idx="439" formatCode="0.00">
                  <c:v>6.3932779000000002</c:v>
                </c:pt>
                <c:pt idx="440" formatCode="0.00">
                  <c:v>8.3013729999999999</c:v>
                </c:pt>
                <c:pt idx="441" formatCode="0.00">
                  <c:v>7.5067184999999998</c:v>
                </c:pt>
                <c:pt idx="442" formatCode="0.00">
                  <c:v>7.0776893999999997</c:v>
                </c:pt>
                <c:pt idx="443" formatCode="0.00">
                  <c:v>6.7098332000000003</c:v>
                </c:pt>
                <c:pt idx="444" formatCode="0.00">
                  <c:v>7.8031379000000003</c:v>
                </c:pt>
                <c:pt idx="445" formatCode="0.00">
                  <c:v>8.4782613999999992</c:v>
                </c:pt>
                <c:pt idx="446" formatCode="0.00">
                  <c:v>8.3714548999999998</c:v>
                </c:pt>
                <c:pt idx="447" formatCode="0.00">
                  <c:v>8.8481257000000006</c:v>
                </c:pt>
                <c:pt idx="448" formatCode="0.00">
                  <c:v>9.6750366999999997</c:v>
                </c:pt>
                <c:pt idx="449" formatCode="0.00">
                  <c:v>10.386373000000001</c:v>
                </c:pt>
                <c:pt idx="450" formatCode="0.00">
                  <c:v>10.620862199999999</c:v>
                </c:pt>
                <c:pt idx="451" formatCode="0.00">
                  <c:v>9.6512168000000003</c:v>
                </c:pt>
                <c:pt idx="452" formatCode="0.00">
                  <c:v>9.1537459000000005</c:v>
                </c:pt>
                <c:pt idx="453" formatCode="0.00">
                  <c:v>9.2826090000000008</c:v>
                </c:pt>
                <c:pt idx="454" formatCode="0.00">
                  <c:v>9.2651442999999993</c:v>
                </c:pt>
                <c:pt idx="455" formatCode="0.00">
                  <c:v>9.3517638999999999</c:v>
                </c:pt>
                <c:pt idx="456" formatCode="0.00">
                  <c:v>9.8031492</c:v>
                </c:pt>
                <c:pt idx="457" formatCode="0.00">
                  <c:v>10.720842599999999</c:v>
                </c:pt>
                <c:pt idx="458" formatCode="0.00">
                  <c:v>10.121294799999999</c:v>
                </c:pt>
                <c:pt idx="459" formatCode="0.00">
                  <c:v>10.827646100000001</c:v>
                </c:pt>
                <c:pt idx="460" formatCode="0.00">
                  <c:v>11.8856693</c:v>
                </c:pt>
                <c:pt idx="461" formatCode="0.00">
                  <c:v>12.0866259</c:v>
                </c:pt>
                <c:pt idx="462" formatCode="0.00">
                  <c:v>11.285490599999999</c:v>
                </c:pt>
                <c:pt idx="463" formatCode="0.00">
                  <c:v>10.402857600000001</c:v>
                </c:pt>
                <c:pt idx="464" formatCode="0.00">
                  <c:v>9.9350862000000006</c:v>
                </c:pt>
                <c:pt idx="465" formatCode="0.00">
                  <c:v>10.902313899999999</c:v>
                </c:pt>
                <c:pt idx="466" formatCode="0.00">
                  <c:v>10.7924036</c:v>
                </c:pt>
                <c:pt idx="467" formatCode="0.00">
                  <c:v>10.6973138</c:v>
                </c:pt>
                <c:pt idx="468" formatCode="0.00">
                  <c:v>10.5556848</c:v>
                </c:pt>
                <c:pt idx="469" formatCode="0.00">
                  <c:v>10.5091514</c:v>
                </c:pt>
                <c:pt idx="470" formatCode="0.00">
                  <c:v>11.1679105</c:v>
                </c:pt>
                <c:pt idx="471" formatCode="0.00">
                  <c:v>10.4662775</c:v>
                </c:pt>
                <c:pt idx="472" formatCode="0.00">
                  <c:v>10.3802731</c:v>
                </c:pt>
                <c:pt idx="473" formatCode="0.00">
                  <c:v>10.580072400000001</c:v>
                </c:pt>
                <c:pt idx="474" formatCode="0.00">
                  <c:v>9.7917845999999997</c:v>
                </c:pt>
                <c:pt idx="475" formatCode="0.00">
                  <c:v>9.1686207999999993</c:v>
                </c:pt>
                <c:pt idx="476" formatCode="0.00">
                  <c:v>8.6904836999999997</c:v>
                </c:pt>
                <c:pt idx="477" formatCode="0.00">
                  <c:v>8.9005682000000004</c:v>
                </c:pt>
                <c:pt idx="478" formatCode="0.00">
                  <c:v>7.9215394999999997</c:v>
                </c:pt>
                <c:pt idx="479" formatCode="0.00">
                  <c:v>6.4780993999999996</c:v>
                </c:pt>
                <c:pt idx="480" formatCode="0.00">
                  <c:v>5.7905369000000002</c:v>
                </c:pt>
                <c:pt idx="481" formatCode="0.00">
                  <c:v>6.0498339999999997</c:v>
                </c:pt>
                <c:pt idx="482" formatCode="0.00">
                  <c:v>6.4379419000000002</c:v>
                </c:pt>
                <c:pt idx="483" formatCode="0.00">
                  <c:v>6.2778948000000003</c:v>
                </c:pt>
                <c:pt idx="484" formatCode="0.00">
                  <c:v>5.4551537999999997</c:v>
                </c:pt>
                <c:pt idx="485" formatCode="0.00">
                  <c:v>5.1807850999999996</c:v>
                </c:pt>
                <c:pt idx="486" formatCode="0.00">
                  <c:v>5.2931084000000004</c:v>
                </c:pt>
                <c:pt idx="487" formatCode="0.00">
                  <c:v>5.2748638999999997</c:v>
                </c:pt>
                <c:pt idx="488" formatCode="0.00">
                  <c:v>5.3786082999999998</c:v>
                </c:pt>
                <c:pt idx="489" formatCode="0.00">
                  <c:v>4.9607048000000002</c:v>
                </c:pt>
                <c:pt idx="490" formatCode="0.00">
                  <c:v>4.7973157000000004</c:v>
                </c:pt>
                <c:pt idx="491" formatCode="0.00">
                  <c:v>4.7154284999999998</c:v>
                </c:pt>
                <c:pt idx="492" formatCode="0.00">
                  <c:v>4.9758215999999997</c:v>
                </c:pt>
                <c:pt idx="493" formatCode="0.00">
                  <c:v>4.7466758000000002</c:v>
                </c:pt>
                <c:pt idx="494" formatCode="0.00">
                  <c:v>4.7922710000000004</c:v>
                </c:pt>
                <c:pt idx="495" formatCode="0.00">
                  <c:v>4.4707743000000004</c:v>
                </c:pt>
                <c:pt idx="496" formatCode="0.00">
                  <c:v>3.7475054999999999</c:v>
                </c:pt>
                <c:pt idx="497" formatCode="0.00">
                  <c:v>3.6958160000000002</c:v>
                </c:pt>
                <c:pt idx="498" formatCode="0.00">
                  <c:v>3.1402635999999999</c:v>
                </c:pt>
                <c:pt idx="499" formatCode="0.00">
                  <c:v>3.0832112</c:v>
                </c:pt>
                <c:pt idx="500" formatCode="0.00">
                  <c:v>3.1961745000000001</c:v>
                </c:pt>
                <c:pt idx="501" formatCode="0.00">
                  <c:v>3.1546265</c:v>
                </c:pt>
                <c:pt idx="502" formatCode="0.00">
                  <c:v>3.2614277</c:v>
                </c:pt>
                <c:pt idx="503" formatCode="0.00">
                  <c:v>2.7806345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EOCK_novych_JIP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16" formatCode="#\ ##0.0">
                  <c:v>7.8844951999999999</c:v>
                </c:pt>
                <c:pt idx="117" formatCode="#\ ##0.0">
                  <c:v>8.1886115000000004</c:v>
                </c:pt>
                <c:pt idx="118" formatCode="#\ ##0.0">
                  <c:v>8.6954718999999994</c:v>
                </c:pt>
                <c:pt idx="119" formatCode="#\ ##0.0">
                  <c:v>9.2135958999999996</c:v>
                </c:pt>
                <c:pt idx="120" formatCode="#\ ##0.0">
                  <c:v>9.5740300000000005</c:v>
                </c:pt>
                <c:pt idx="121" formatCode="#\ ##0.0">
                  <c:v>10.3512159</c:v>
                </c:pt>
                <c:pt idx="122" formatCode="#\ ##0.0">
                  <c:v>10.497642300000001</c:v>
                </c:pt>
                <c:pt idx="123" formatCode="#\ ##0.0">
                  <c:v>10.385006600000001</c:v>
                </c:pt>
                <c:pt idx="124" formatCode="#\ ##0.0">
                  <c:v>10.7567042</c:v>
                </c:pt>
                <c:pt idx="125" formatCode="#\ ##0.0">
                  <c:v>11.0833476</c:v>
                </c:pt>
                <c:pt idx="126" formatCode="#\ ##0.0">
                  <c:v>11.0608205</c:v>
                </c:pt>
                <c:pt idx="127" formatCode="#\ ##0.0">
                  <c:v>11.364936699999999</c:v>
                </c:pt>
                <c:pt idx="128" formatCode="#\ ##0.0">
                  <c:v>11.0833476</c:v>
                </c:pt>
                <c:pt idx="129" formatCode="#\ ##0.0">
                  <c:v>11.488835999999999</c:v>
                </c:pt>
                <c:pt idx="130" formatCode="#\ ##0.0">
                  <c:v>11.916851400000001</c:v>
                </c:pt>
                <c:pt idx="131" formatCode="#\ ##0.0">
                  <c:v>11.8605336</c:v>
                </c:pt>
                <c:pt idx="132" formatCode="#\ ##0.0">
                  <c:v>11.680316599999999</c:v>
                </c:pt>
                <c:pt idx="133" formatCode="#\ ##0.0">
                  <c:v>11.714108599999999</c:v>
                </c:pt>
                <c:pt idx="134" formatCode="#\ ##0.0">
                  <c:v>11.4325194</c:v>
                </c:pt>
                <c:pt idx="135" formatCode="#\ ##0.0">
                  <c:v>11.624000000000001</c:v>
                </c:pt>
                <c:pt idx="136" formatCode="#\ ##0.0">
                  <c:v>11.556418600000001</c:v>
                </c:pt>
                <c:pt idx="137" formatCode="#\ ##0.0">
                  <c:v>11.409992300000001</c:v>
                </c:pt>
                <c:pt idx="138" formatCode="#\ ##0.0">
                  <c:v>10.959449599999999</c:v>
                </c:pt>
                <c:pt idx="139" formatCode="#\ ##0.0">
                  <c:v>10.903131800000001</c:v>
                </c:pt>
                <c:pt idx="140" formatCode="#\ ##0.0">
                  <c:v>10.6440722</c:v>
                </c:pt>
                <c:pt idx="141" formatCode="#\ ##0.0">
                  <c:v>10.475119899999999</c:v>
                </c:pt>
                <c:pt idx="142" formatCode="#\ ##0.0">
                  <c:v>10.1484763</c:v>
                </c:pt>
                <c:pt idx="143" formatCode="#\ ##0.0">
                  <c:v>10.1259503</c:v>
                </c:pt>
                <c:pt idx="144" formatCode="#\ ##0.0">
                  <c:v>9.8781528999999999</c:v>
                </c:pt>
                <c:pt idx="145" formatCode="#\ ##0.0">
                  <c:v>9.7429910999999993</c:v>
                </c:pt>
                <c:pt idx="146" formatCode="#\ ##0.0">
                  <c:v>9.5965667999999997</c:v>
                </c:pt>
                <c:pt idx="147" formatCode="#\ ##0.0">
                  <c:v>9.3825610000000008</c:v>
                </c:pt>
                <c:pt idx="148" formatCode="#\ ##0.0">
                  <c:v>9.2473980000000005</c:v>
                </c:pt>
                <c:pt idx="149" formatCode="#\ ##0.0">
                  <c:v>9.2361386000000003</c:v>
                </c:pt>
                <c:pt idx="150" formatCode="#\ ##0.0">
                  <c:v>9.1572946000000002</c:v>
                </c:pt>
                <c:pt idx="151" formatCode="#\ ##0.0">
                  <c:v>9.3487796999999997</c:v>
                </c:pt>
                <c:pt idx="152" formatCode="#\ ##0.0">
                  <c:v>9.5071510000000004</c:v>
                </c:pt>
                <c:pt idx="153" formatCode="#\ ##0.0">
                  <c:v>9.4527743999999991</c:v>
                </c:pt>
                <c:pt idx="154" formatCode="#\ ##0.0">
                  <c:v>9.7487031999999996</c:v>
                </c:pt>
                <c:pt idx="155" formatCode="#\ ##0.0">
                  <c:v>9.8643643999999995</c:v>
                </c:pt>
                <c:pt idx="156" formatCode="#\ ##0.0">
                  <c:v>10.0579947</c:v>
                </c:pt>
                <c:pt idx="157" formatCode="#\ ##0.0">
                  <c:v>9.9013016</c:v>
                </c:pt>
                <c:pt idx="158" formatCode="#\ ##0.0">
                  <c:v>10.060180600000001</c:v>
                </c:pt>
                <c:pt idx="159" formatCode="#\ ##0.0">
                  <c:v>10.444662900000001</c:v>
                </c:pt>
                <c:pt idx="160" formatCode="#\ ##0.0">
                  <c:v>10.6061265</c:v>
                </c:pt>
                <c:pt idx="161" formatCode="#\ ##0.0">
                  <c:v>10.5657555</c:v>
                </c:pt>
                <c:pt idx="162" formatCode="#\ ##0.0">
                  <c:v>10.955164999999999</c:v>
                </c:pt>
                <c:pt idx="163" formatCode="#\ ##0.0">
                  <c:v>11.143591199999999</c:v>
                </c:pt>
                <c:pt idx="164" formatCode="#\ ##0.0">
                  <c:v>11.244058900000001</c:v>
                </c:pt>
                <c:pt idx="165" formatCode="#\ ##0.0">
                  <c:v>11.098369699999999</c:v>
                </c:pt>
                <c:pt idx="166" formatCode="#\ ##0.0">
                  <c:v>11.0432799</c:v>
                </c:pt>
                <c:pt idx="167" formatCode="#\ ##0.0">
                  <c:v>11.223119499999999</c:v>
                </c:pt>
                <c:pt idx="168" formatCode="#\ ##0.0">
                  <c:v>11.6443236</c:v>
                </c:pt>
                <c:pt idx="169" formatCode="#\ ##0.0">
                  <c:v>11.885934499999999</c:v>
                </c:pt>
                <c:pt idx="170" formatCode="#\ ##0.0">
                  <c:v>11.880754</c:v>
                </c:pt>
                <c:pt idx="171" formatCode="#\ ##0.0">
                  <c:v>12.4301826</c:v>
                </c:pt>
                <c:pt idx="172" formatCode="#\ ##0.0">
                  <c:v>12.615710399999999</c:v>
                </c:pt>
                <c:pt idx="173" formatCode="#\ ##0.0">
                  <c:v>12.744584400000001</c:v>
                </c:pt>
                <c:pt idx="174" formatCode="#\ ##0.0">
                  <c:v>13.205959999999999</c:v>
                </c:pt>
                <c:pt idx="175" formatCode="#\ ##0.0">
                  <c:v>13.201086399999999</c:v>
                </c:pt>
                <c:pt idx="176" formatCode="#\ ##0.0">
                  <c:v>13.2096634</c:v>
                </c:pt>
                <c:pt idx="177" formatCode="#\ ##0.0">
                  <c:v>13.7612907</c:v>
                </c:pt>
                <c:pt idx="178" formatCode="#\ ##0.0">
                  <c:v>13.5435444</c:v>
                </c:pt>
                <c:pt idx="179" formatCode="#\ ##0.0">
                  <c:v>14.156712799999999</c:v>
                </c:pt>
                <c:pt idx="180" formatCode="#\ ##0.0">
                  <c:v>14.480498000000001</c:v>
                </c:pt>
                <c:pt idx="181" formatCode="#\ ##0.0">
                  <c:v>15.2088264</c:v>
                </c:pt>
                <c:pt idx="182" formatCode="#\ ##0.0">
                  <c:v>15.6850325</c:v>
                </c:pt>
                <c:pt idx="183" formatCode="#\ ##0.0">
                  <c:v>16.322050900000001</c:v>
                </c:pt>
                <c:pt idx="184" formatCode="#\ ##0.0">
                  <c:v>16.4525547</c:v>
                </c:pt>
                <c:pt idx="185" formatCode="#\ ##0.0">
                  <c:v>17.158919099999999</c:v>
                </c:pt>
                <c:pt idx="186" formatCode="#\ ##0.0">
                  <c:v>16.941991300000002</c:v>
                </c:pt>
                <c:pt idx="187" formatCode="#\ ##0.0">
                  <c:v>17.059415999999999</c:v>
                </c:pt>
                <c:pt idx="188" formatCode="#\ ##0.0">
                  <c:v>16.8287516</c:v>
                </c:pt>
                <c:pt idx="189" formatCode="#\ ##0.0">
                  <c:v>16.888578200000001</c:v>
                </c:pt>
                <c:pt idx="190" formatCode="#\ ##0.0">
                  <c:v>16.9929156</c:v>
                </c:pt>
                <c:pt idx="191" formatCode="#\ ##0.0">
                  <c:v>16.945960500000002</c:v>
                </c:pt>
                <c:pt idx="192" formatCode="#\ ##0.0">
                  <c:v>16.944886700000001</c:v>
                </c:pt>
                <c:pt idx="193" formatCode="#\ ##0.0">
                  <c:v>16.980733000000001</c:v>
                </c:pt>
                <c:pt idx="194" formatCode="#\ ##0.0">
                  <c:v>17.039737599999999</c:v>
                </c:pt>
                <c:pt idx="195" formatCode="#\ ##0.0">
                  <c:v>17.069728900000001</c:v>
                </c:pt>
                <c:pt idx="196" formatCode="#\ ##0.0">
                  <c:v>17.111529699999998</c:v>
                </c:pt>
                <c:pt idx="197" formatCode="#\ ##0.0">
                  <c:v>16.6912995</c:v>
                </c:pt>
                <c:pt idx="198" formatCode="#\ ##0.0">
                  <c:v>16.468269800000002</c:v>
                </c:pt>
                <c:pt idx="199" formatCode="#\ ##0.0">
                  <c:v>15.8283229</c:v>
                </c:pt>
                <c:pt idx="200" formatCode="#\ ##0.0">
                  <c:v>15.7486076</c:v>
                </c:pt>
                <c:pt idx="201" formatCode="#\ ##0.0">
                  <c:v>15.366847699999999</c:v>
                </c:pt>
                <c:pt idx="202" formatCode="#\ ##0.0">
                  <c:v>14.910653399999999</c:v>
                </c:pt>
                <c:pt idx="203" formatCode="#\ ##0.0">
                  <c:v>14.549555099999999</c:v>
                </c:pt>
                <c:pt idx="204" formatCode="#\ ##0.0">
                  <c:v>14.3518264</c:v>
                </c:pt>
                <c:pt idx="205" formatCode="#\ ##0.0">
                  <c:v>14.470685700000001</c:v>
                </c:pt>
                <c:pt idx="206" formatCode="#\ ##0.0">
                  <c:v>14.3450705</c:v>
                </c:pt>
                <c:pt idx="207" formatCode="#\ ##0.0">
                  <c:v>13.9856681</c:v>
                </c:pt>
                <c:pt idx="208" formatCode="#\ ##0.0">
                  <c:v>13.777562700000001</c:v>
                </c:pt>
                <c:pt idx="209" formatCode="#\ ##0.0">
                  <c:v>13.406316</c:v>
                </c:pt>
                <c:pt idx="210" formatCode="#\ ##0.0">
                  <c:v>12.908371900000001</c:v>
                </c:pt>
                <c:pt idx="211" formatCode="#\ ##0.0">
                  <c:v>12.549636599999999</c:v>
                </c:pt>
                <c:pt idx="212" formatCode="#\ ##0.0">
                  <c:v>11.934822199999999</c:v>
                </c:pt>
                <c:pt idx="213" formatCode="#\ ##0.0">
                  <c:v>11.578136300000001</c:v>
                </c:pt>
                <c:pt idx="214" formatCode="#\ ##0.0">
                  <c:v>11.404718300000001</c:v>
                </c:pt>
                <c:pt idx="215" formatCode="#\ ##0.0">
                  <c:v>11.101372400000001</c:v>
                </c:pt>
                <c:pt idx="216" formatCode="#\ ##0.0">
                  <c:v>10.3529947</c:v>
                </c:pt>
                <c:pt idx="217" formatCode="#\ ##0.0">
                  <c:v>10.2514612</c:v>
                </c:pt>
                <c:pt idx="218" formatCode="#\ ##0.0">
                  <c:v>10.093438000000001</c:v>
                </c:pt>
                <c:pt idx="219" formatCode="#\ ##0.0">
                  <c:v>9.8781531999999999</c:v>
                </c:pt>
                <c:pt idx="220" formatCode="#\ ##0.0">
                  <c:v>9.7919611</c:v>
                </c:pt>
                <c:pt idx="221" formatCode="#\ ##0.0">
                  <c:v>9.6078057999999995</c:v>
                </c:pt>
                <c:pt idx="222" formatCode="#\ ##0.0">
                  <c:v>9.3751876000000003</c:v>
                </c:pt>
                <c:pt idx="223" formatCode="#\ ##0.0">
                  <c:v>9.3745252000000008</c:v>
                </c:pt>
                <c:pt idx="224" formatCode="#\ ##0.0">
                  <c:v>9.0414867000000001</c:v>
                </c:pt>
                <c:pt idx="225" formatCode="#\ ##0.0">
                  <c:v>8.6878373</c:v>
                </c:pt>
                <c:pt idx="226" formatCode="#\ ##0.0">
                  <c:v>8.2648112000000005</c:v>
                </c:pt>
                <c:pt idx="227" formatCode="#\ ##0.0">
                  <c:v>8.2294060000000009</c:v>
                </c:pt>
                <c:pt idx="228" formatCode="#\ ##0.0">
                  <c:v>7.7342585000000001</c:v>
                </c:pt>
                <c:pt idx="229" formatCode="#\ ##0.0">
                  <c:v>7.4772575999999997</c:v>
                </c:pt>
                <c:pt idx="230" formatCode="#\ ##0.0">
                  <c:v>7.4475398000000004</c:v>
                </c:pt>
                <c:pt idx="231" formatCode="#\ ##0.0">
                  <c:v>7.0984261999999996</c:v>
                </c:pt>
                <c:pt idx="232" formatCode="#\ ##0.0">
                  <c:v>6.7410677999999997</c:v>
                </c:pt>
                <c:pt idx="233" formatCode="#\ ##0.0">
                  <c:v>6.5715013999999998</c:v>
                </c:pt>
                <c:pt idx="234" formatCode="#\ ##0.0">
                  <c:v>6.1797179</c:v>
                </c:pt>
                <c:pt idx="235" formatCode="#\ ##0.0">
                  <c:v>5.94611</c:v>
                </c:pt>
                <c:pt idx="236" formatCode="#\ ##0.0">
                  <c:v>5.8429698999999999</c:v>
                </c:pt>
                <c:pt idx="237" formatCode="#\ ##0.0">
                  <c:v>5.3439068000000001</c:v>
                </c:pt>
                <c:pt idx="238" formatCode="#\ ##0.0">
                  <c:v>5.1016903999999998</c:v>
                </c:pt>
                <c:pt idx="239" formatCode="#\ ##0.0">
                  <c:v>5.1437849</c:v>
                </c:pt>
                <c:pt idx="240" formatCode="#\ ##0.0">
                  <c:v>4.9115779000000002</c:v>
                </c:pt>
                <c:pt idx="241" formatCode="#\ ##0.0">
                  <c:v>4.6778221000000002</c:v>
                </c:pt>
                <c:pt idx="242" formatCode="#\ ##0.0">
                  <c:v>4.5582134999999999</c:v>
                </c:pt>
                <c:pt idx="243" formatCode="#\ ##0.0">
                  <c:v>4.4485881000000003</c:v>
                </c:pt>
                <c:pt idx="244" formatCode="#\ ##0.0">
                  <c:v>4.3445055000000004</c:v>
                </c:pt>
                <c:pt idx="245" formatCode="#\ ##0.0">
                  <c:v>4.2904309999999999</c:v>
                </c:pt>
                <c:pt idx="246" formatCode="#\ ##0.0">
                  <c:v>3.9462752999999999</c:v>
                </c:pt>
                <c:pt idx="247" formatCode="#\ ##0.0">
                  <c:v>3.7282052000000001</c:v>
                </c:pt>
                <c:pt idx="248" formatCode="#\ ##0.0">
                  <c:v>3.5698886999999999</c:v>
                </c:pt>
                <c:pt idx="249" formatCode="#\ ##0.0">
                  <c:v>3.5217662999999999</c:v>
                </c:pt>
                <c:pt idx="250" formatCode="#\ ##0.0">
                  <c:v>3.3972525999999998</c:v>
                </c:pt>
                <c:pt idx="251" formatCode="#\ ##0.0">
                  <c:v>3.2867253999999999</c:v>
                </c:pt>
                <c:pt idx="252" formatCode="#\ ##0.0">
                  <c:v>3.2158541999999999</c:v>
                </c:pt>
                <c:pt idx="253" formatCode="#\ ##0.0">
                  <c:v>3.0440024999999999</c:v>
                </c:pt>
                <c:pt idx="254" formatCode="#\ ##0.0">
                  <c:v>2.9866107</c:v>
                </c:pt>
                <c:pt idx="255" formatCode="#\ ##0.0">
                  <c:v>2.9267794</c:v>
                </c:pt>
                <c:pt idx="256" formatCode="#\ ##0.0">
                  <c:v>2.7752984000000001</c:v>
                </c:pt>
                <c:pt idx="257" formatCode="#\ ##0.0">
                  <c:v>2.5468845999999998</c:v>
                </c:pt>
                <c:pt idx="258" formatCode="#\ ##0.0">
                  <c:v>2.3573906</c:v>
                </c:pt>
                <c:pt idx="259" formatCode="#\ ##0.0">
                  <c:v>2.0920226999999998</c:v>
                </c:pt>
                <c:pt idx="260" formatCode="#\ ##0.0">
                  <c:v>2.0051377000000001</c:v>
                </c:pt>
                <c:pt idx="261" formatCode="#\ ##0.0">
                  <c:v>1.8288437</c:v>
                </c:pt>
                <c:pt idx="262" formatCode="#\ ##0.0">
                  <c:v>1.6775472</c:v>
                </c:pt>
                <c:pt idx="263" formatCode="#\ ##0.0">
                  <c:v>1.6907383</c:v>
                </c:pt>
                <c:pt idx="264" formatCode="#\ ##0.0">
                  <c:v>1.5757059</c:v>
                </c:pt>
                <c:pt idx="265" formatCode="#\ ##0.0">
                  <c:v>1.5002323</c:v>
                </c:pt>
                <c:pt idx="266" formatCode="#\ ##0.0">
                  <c:v>1.2965393000000001</c:v>
                </c:pt>
                <c:pt idx="267" formatCode="#\ ##0.0">
                  <c:v>1.2080953999999999</c:v>
                </c:pt>
                <c:pt idx="268" formatCode="#\ ##0.0">
                  <c:v>1.1451851</c:v>
                </c:pt>
                <c:pt idx="269" formatCode="#\ ##0.0">
                  <c:v>0.96601349999999997</c:v>
                </c:pt>
                <c:pt idx="270" formatCode="#\ ##0.0">
                  <c:v>0.81168819999999997</c:v>
                </c:pt>
                <c:pt idx="271" formatCode="#\ ##0.0">
                  <c:v>0.79893550000000002</c:v>
                </c:pt>
                <c:pt idx="272" formatCode="#\ ##0.0">
                  <c:v>0.760938</c:v>
                </c:pt>
                <c:pt idx="273" formatCode="#\ ##0.0">
                  <c:v>0.72346869999999996</c:v>
                </c:pt>
                <c:pt idx="274" formatCode="#\ ##0.0">
                  <c:v>0.60838840000000005</c:v>
                </c:pt>
                <c:pt idx="275" formatCode="#\ ##0.0">
                  <c:v>0.63650629999999997</c:v>
                </c:pt>
                <c:pt idx="276" formatCode="#\ ##0.0">
                  <c:v>0.67792289999999999</c:v>
                </c:pt>
                <c:pt idx="277" formatCode="#\ ##0.0">
                  <c:v>0.62669149999999996</c:v>
                </c:pt>
                <c:pt idx="278" formatCode="#\ ##0.0">
                  <c:v>0.5751463</c:v>
                </c:pt>
                <c:pt idx="279" formatCode="#\ ##0.0">
                  <c:v>0.48578369999999998</c:v>
                </c:pt>
                <c:pt idx="280" formatCode="#\ ##0.0">
                  <c:v>0.51446230000000004</c:v>
                </c:pt>
                <c:pt idx="281" formatCode="#\ ##0.0">
                  <c:v>0.47725210000000001</c:v>
                </c:pt>
                <c:pt idx="282" formatCode="#\ ##0.0">
                  <c:v>0.40022249999999998</c:v>
                </c:pt>
                <c:pt idx="283" formatCode="#\ ##0.0">
                  <c:v>0.29533209999999999</c:v>
                </c:pt>
                <c:pt idx="284" formatCode="#\ ##0.0">
                  <c:v>0.3363775</c:v>
                </c:pt>
                <c:pt idx="285" formatCode="#\ ##0.0">
                  <c:v>0.29658899999999999</c:v>
                </c:pt>
                <c:pt idx="286" formatCode="#\ ##0.0">
                  <c:v>0.27136510000000003</c:v>
                </c:pt>
                <c:pt idx="287" formatCode="#\ ##0.0">
                  <c:v>0.20488239999999999</c:v>
                </c:pt>
                <c:pt idx="288" formatCode="#\ ##0.0">
                  <c:v>0.1926445</c:v>
                </c:pt>
                <c:pt idx="289" formatCode="#\ ##0.0">
                  <c:v>0.19425429999999999</c:v>
                </c:pt>
                <c:pt idx="290" formatCode="#\ ##0.0">
                  <c:v>0.25176150000000003</c:v>
                </c:pt>
                <c:pt idx="291" formatCode="#\ ##0.0">
                  <c:v>0.19633310000000001</c:v>
                </c:pt>
                <c:pt idx="292" formatCode="#\ ##0.0">
                  <c:v>0.21080499999999999</c:v>
                </c:pt>
                <c:pt idx="293" formatCode="#\ ##0.0">
                  <c:v>0.18413769999999999</c:v>
                </c:pt>
                <c:pt idx="294" formatCode="#\ ##0.0">
                  <c:v>0.17130790000000001</c:v>
                </c:pt>
                <c:pt idx="295" formatCode="#\ ##0.0">
                  <c:v>0.12967790000000001</c:v>
                </c:pt>
                <c:pt idx="296" formatCode="#\ ##0.0">
                  <c:v>0.1164655</c:v>
                </c:pt>
                <c:pt idx="297" formatCode="#\ ##0.0">
                  <c:v>0.13236880000000001</c:v>
                </c:pt>
                <c:pt idx="298" formatCode="#\ ##0.0">
                  <c:v>0.1180224</c:v>
                </c:pt>
                <c:pt idx="299" formatCode="#\ ##0.0">
                  <c:v>0.103551</c:v>
                </c:pt>
                <c:pt idx="300" formatCode="#\ ##0.0">
                  <c:v>0.14957619999999999</c:v>
                </c:pt>
                <c:pt idx="301" formatCode="#\ ##0.0">
                  <c:v>0.19657769999999999</c:v>
                </c:pt>
                <c:pt idx="302" formatCode="#\ ##0.0">
                  <c:v>0.2295362</c:v>
                </c:pt>
                <c:pt idx="303" formatCode="#\ ##0.0">
                  <c:v>0.2479923</c:v>
                </c:pt>
                <c:pt idx="304" formatCode="#\ ##0.0">
                  <c:v>0.17265050000000001</c:v>
                </c:pt>
                <c:pt idx="305" formatCode="#\ ##0.0">
                  <c:v>0.17344860000000001</c:v>
                </c:pt>
                <c:pt idx="306" formatCode="#\ ##0.0">
                  <c:v>0.18993119999999999</c:v>
                </c:pt>
                <c:pt idx="307" formatCode="#\ ##0.0">
                  <c:v>0.17629719999999999</c:v>
                </c:pt>
                <c:pt idx="308" formatCode="#\ ##0.0">
                  <c:v>0.12992999999999999</c:v>
                </c:pt>
                <c:pt idx="309" formatCode="#\ ##0.0">
                  <c:v>0.1152846</c:v>
                </c:pt>
                <c:pt idx="310" formatCode="#\ ##0.0">
                  <c:v>8.3585499999999993E-2</c:v>
                </c:pt>
                <c:pt idx="311" formatCode="#\ ##0.0">
                  <c:v>0.1017689</c:v>
                </c:pt>
                <c:pt idx="312" formatCode="#\ ##0.0">
                  <c:v>0.1194365</c:v>
                </c:pt>
                <c:pt idx="313" formatCode="#\ ##0.0">
                  <c:v>0.1199828</c:v>
                </c:pt>
                <c:pt idx="314" formatCode="#\ ##0.0">
                  <c:v>0.1217613</c:v>
                </c:pt>
                <c:pt idx="315" formatCode="#\ ##0.0">
                  <c:v>0.12362140000000001</c:v>
                </c:pt>
                <c:pt idx="316" formatCode="#\ ##0.0">
                  <c:v>0.16153819999999999</c:v>
                </c:pt>
                <c:pt idx="317" formatCode="#\ ##0.0">
                  <c:v>0.1641928</c:v>
                </c:pt>
                <c:pt idx="318" formatCode="#\ ##0.0">
                  <c:v>0.16680639999999999</c:v>
                </c:pt>
                <c:pt idx="319" formatCode="#\ ##0.0">
                  <c:v>0.16778680000000001</c:v>
                </c:pt>
                <c:pt idx="320" formatCode="#\ ##0.0">
                  <c:v>0.1684716</c:v>
                </c:pt>
                <c:pt idx="321" formatCode="#\ ##0.0">
                  <c:v>0.1692758</c:v>
                </c:pt>
                <c:pt idx="322" formatCode="#\ ##0.0">
                  <c:v>0.1890686</c:v>
                </c:pt>
                <c:pt idx="323" formatCode="#\ ##0.0">
                  <c:v>0.1727417</c:v>
                </c:pt>
                <c:pt idx="324" formatCode="#\ ##0.0">
                  <c:v>0.25292979999999998</c:v>
                </c:pt>
                <c:pt idx="325" formatCode="#\ ##0.0">
                  <c:v>0.23666509999999999</c:v>
                </c:pt>
                <c:pt idx="326" formatCode="#\ ##0.0">
                  <c:v>0.21817600000000001</c:v>
                </c:pt>
                <c:pt idx="327" formatCode="#\ ##0.0">
                  <c:v>0.2191708</c:v>
                </c:pt>
                <c:pt idx="328" formatCode="#\ ##0.0">
                  <c:v>0.20202690000000001</c:v>
                </c:pt>
                <c:pt idx="329" formatCode="#\ ##0.0">
                  <c:v>0.20491909999999999</c:v>
                </c:pt>
                <c:pt idx="330" formatCode="#\ ##0.0">
                  <c:v>0.1871882</c:v>
                </c:pt>
                <c:pt idx="331" formatCode="#\ ##0.0">
                  <c:v>0.1054408</c:v>
                </c:pt>
                <c:pt idx="332" formatCode="#\ ##0.0">
                  <c:v>0.14991599999999999</c:v>
                </c:pt>
                <c:pt idx="333" formatCode="#\ ##0.0">
                  <c:v>0.15093210000000001</c:v>
                </c:pt>
                <c:pt idx="334" formatCode="#\ ##0.0">
                  <c:v>0.15178259999999999</c:v>
                </c:pt>
                <c:pt idx="335" formatCode="#\ ##0.0">
                  <c:v>0.1760235</c:v>
                </c:pt>
                <c:pt idx="336" formatCode="#\ ##0.0">
                  <c:v>0.22332299999999999</c:v>
                </c:pt>
                <c:pt idx="337" formatCode="#\ ##0.0">
                  <c:v>0.2265327</c:v>
                </c:pt>
                <c:pt idx="338" formatCode="#\ ##0.0">
                  <c:v>0.20661869999999999</c:v>
                </c:pt>
                <c:pt idx="339" formatCode="#\ ##0.0">
                  <c:v>0.20923639999999999</c:v>
                </c:pt>
                <c:pt idx="340" formatCode="#\ ##0.0">
                  <c:v>0.25738640000000002</c:v>
                </c:pt>
                <c:pt idx="341" formatCode="#\ ##0.0">
                  <c:v>0.28224300000000002</c:v>
                </c:pt>
                <c:pt idx="342" formatCode="#\ ##0.0">
                  <c:v>0.2855028</c:v>
                </c:pt>
                <c:pt idx="343" formatCode="#\ ##0.0">
                  <c:v>0.26464110000000002</c:v>
                </c:pt>
                <c:pt idx="344" formatCode="#\ ##0.0">
                  <c:v>0.31620169999999997</c:v>
                </c:pt>
                <c:pt idx="345" formatCode="#\ ##0.0">
                  <c:v>0.34397090000000002</c:v>
                </c:pt>
                <c:pt idx="346" formatCode="#\ ##0.0">
                  <c:v>0.32268760000000002</c:v>
                </c:pt>
                <c:pt idx="347" formatCode="#\ ##0.0">
                  <c:v>0.32425140000000002</c:v>
                </c:pt>
                <c:pt idx="348" formatCode="#\ ##0.0">
                  <c:v>0.30051430000000001</c:v>
                </c:pt>
                <c:pt idx="349" formatCode="#\ ##0.0">
                  <c:v>0.32859070000000001</c:v>
                </c:pt>
                <c:pt idx="350" formatCode="#\ ##0.0">
                  <c:v>0.35717470000000001</c:v>
                </c:pt>
                <c:pt idx="351" formatCode="#\ ##0.0">
                  <c:v>0.38611430000000002</c:v>
                </c:pt>
                <c:pt idx="352" formatCode="#\ ##0.0">
                  <c:v>0.41589219999999999</c:v>
                </c:pt>
                <c:pt idx="353" formatCode="#\ ##0.0">
                  <c:v>0.44656059999999997</c:v>
                </c:pt>
                <c:pt idx="354" formatCode="#\ ##0.0">
                  <c:v>0.42228310000000002</c:v>
                </c:pt>
                <c:pt idx="355" formatCode="#\ ##0.0">
                  <c:v>0.4240042</c:v>
                </c:pt>
                <c:pt idx="356" formatCode="#\ ##0.0">
                  <c:v>0.401976</c:v>
                </c:pt>
                <c:pt idx="357" formatCode="#\ ##0.0">
                  <c:v>0.35184009999999999</c:v>
                </c:pt>
                <c:pt idx="358" formatCode="#\ ##0.0">
                  <c:v>0.30093120000000001</c:v>
                </c:pt>
                <c:pt idx="359" formatCode="#\ ##0.0">
                  <c:v>0.27604709999999999</c:v>
                </c:pt>
                <c:pt idx="360" formatCode="#\ ##0.0">
                  <c:v>0.27887099999999998</c:v>
                </c:pt>
                <c:pt idx="361" formatCode="#\ ##0.0">
                  <c:v>0.27963739999999998</c:v>
                </c:pt>
                <c:pt idx="362" formatCode="#\ ##0.0">
                  <c:v>0.25234190000000001</c:v>
                </c:pt>
                <c:pt idx="363" formatCode="#\ ##0.0">
                  <c:v>0.19792209999999999</c:v>
                </c:pt>
                <c:pt idx="364" formatCode="#\ ##0.0">
                  <c:v>0.2276946</c:v>
                </c:pt>
                <c:pt idx="365" formatCode="#\ ##0.0">
                  <c:v>0.25866289999999997</c:v>
                </c:pt>
                <c:pt idx="366" formatCode="#\ ##0.0">
                  <c:v>0.26108720000000002</c:v>
                </c:pt>
                <c:pt idx="367" formatCode="#\ ##0.0">
                  <c:v>0.3223782</c:v>
                </c:pt>
                <c:pt idx="368" formatCode="#\ ##0.0">
                  <c:v>0.38233109999999998</c:v>
                </c:pt>
                <c:pt idx="369" formatCode="#\ ##0.0">
                  <c:v>0.44244139999999998</c:v>
                </c:pt>
                <c:pt idx="370" formatCode="#\ ##0.0">
                  <c:v>0.56612949999999995</c:v>
                </c:pt>
                <c:pt idx="371" formatCode="#\ ##0.0">
                  <c:v>0.60092429999999997</c:v>
                </c:pt>
                <c:pt idx="372" formatCode="#\ ##0.0">
                  <c:v>0.54483570000000003</c:v>
                </c:pt>
                <c:pt idx="373" formatCode="#\ ##0.0">
                  <c:v>0.5483884</c:v>
                </c:pt>
                <c:pt idx="374" formatCode="#\ ##0.0">
                  <c:v>0.55219119999999999</c:v>
                </c:pt>
                <c:pt idx="375" formatCode="#\ ##0.0">
                  <c:v>0.55321750000000003</c:v>
                </c:pt>
                <c:pt idx="376" formatCode="#\ ##0.0">
                  <c:v>0.58488739999999995</c:v>
                </c:pt>
                <c:pt idx="377" formatCode="#\ ##0.0">
                  <c:v>0.61897670000000005</c:v>
                </c:pt>
                <c:pt idx="378" formatCode="#\ ##0.0">
                  <c:v>0.7461352</c:v>
                </c:pt>
                <c:pt idx="379" formatCode="#\ ##0.0">
                  <c:v>0.77980930000000004</c:v>
                </c:pt>
                <c:pt idx="380" formatCode="#\ ##0.0">
                  <c:v>0.93905640000000001</c:v>
                </c:pt>
                <c:pt idx="381" formatCode="#\ ##0.0">
                  <c:v>0.84864019999999996</c:v>
                </c:pt>
                <c:pt idx="382" formatCode="#\ ##0.0">
                  <c:v>0.81803499999999996</c:v>
                </c:pt>
                <c:pt idx="383" formatCode="#\ ##0.0">
                  <c:v>0.81868540000000001</c:v>
                </c:pt>
                <c:pt idx="384" formatCode="#\ ##0.0">
                  <c:v>0.75821280000000002</c:v>
                </c:pt>
                <c:pt idx="385" formatCode="#\ ##0.0">
                  <c:v>0.6337083</c:v>
                </c:pt>
                <c:pt idx="386" formatCode="#\ ##0.0">
                  <c:v>0.60359689999999999</c:v>
                </c:pt>
                <c:pt idx="387" formatCode="#\ ##0.0">
                  <c:v>0.54143479999999999</c:v>
                </c:pt>
                <c:pt idx="388" formatCode="#\ ##0.0">
                  <c:v>0.70293280000000002</c:v>
                </c:pt>
                <c:pt idx="389" formatCode="#\ ##0.0">
                  <c:v>0.79935409999999996</c:v>
                </c:pt>
                <c:pt idx="390" formatCode="#\ ##0.0">
                  <c:v>0.73573960000000005</c:v>
                </c:pt>
                <c:pt idx="391" formatCode="#\ ##0.0">
                  <c:v>0.73777839999999995</c:v>
                </c:pt>
                <c:pt idx="392" formatCode="#\ ##0.0">
                  <c:v>0.83592759999999999</c:v>
                </c:pt>
                <c:pt idx="393" formatCode="#\ ##0.0">
                  <c:v>0.90220250000000002</c:v>
                </c:pt>
                <c:pt idx="394" formatCode="#\ ##0.0">
                  <c:v>0.90415089999999998</c:v>
                </c:pt>
                <c:pt idx="395" formatCode="#\ ##0.0">
                  <c:v>0.87427469999999996</c:v>
                </c:pt>
                <c:pt idx="396" formatCode="#\ ##0.0">
                  <c:v>0.84243670000000004</c:v>
                </c:pt>
                <c:pt idx="397" formatCode="#\ ##0.0">
                  <c:v>1.004883</c:v>
                </c:pt>
                <c:pt idx="398" formatCode="#\ ##0.0">
                  <c:v>1.0720063</c:v>
                </c:pt>
                <c:pt idx="399" formatCode="#\ ##0.0">
                  <c:v>1.2692759</c:v>
                </c:pt>
                <c:pt idx="400" formatCode="#\ ##0.0">
                  <c:v>1.6622535000000001</c:v>
                </c:pt>
                <c:pt idx="401" formatCode="#\ ##0.0">
                  <c:v>1.6651309999999999</c:v>
                </c:pt>
                <c:pt idx="402" formatCode="#\ ##0.0">
                  <c:v>1.7349017</c:v>
                </c:pt>
                <c:pt idx="403" formatCode="#\ ##0.0">
                  <c:v>1.8341478</c:v>
                </c:pt>
                <c:pt idx="404" formatCode="#\ ##0.0">
                  <c:v>1.7694578999999999</c:v>
                </c:pt>
                <c:pt idx="405" formatCode="#\ ##0.0">
                  <c:v>2.1338263</c:v>
                </c:pt>
                <c:pt idx="406" formatCode="#\ ##0.0">
                  <c:v>2.2326660999999999</c:v>
                </c:pt>
                <c:pt idx="407" formatCode="#\ ##0.0">
                  <c:v>1.8753287000000001</c:v>
                </c:pt>
                <c:pt idx="408" formatCode="#\ ##0.0">
                  <c:v>2.0438868000000001</c:v>
                </c:pt>
                <c:pt idx="409" formatCode="#\ ##0.0">
                  <c:v>2.1473724999999999</c:v>
                </c:pt>
                <c:pt idx="410" formatCode="#\ ##0.0">
                  <c:v>2.2144404</c:v>
                </c:pt>
                <c:pt idx="411" formatCode="#\ ##0.0">
                  <c:v>2.3141856999999999</c:v>
                </c:pt>
                <c:pt idx="412" formatCode="#\ ##0.0">
                  <c:v>2.2847499999999998</c:v>
                </c:pt>
                <c:pt idx="413" formatCode="#\ ##0.0">
                  <c:v>2.3543245000000002</c:v>
                </c:pt>
                <c:pt idx="414" formatCode="#\ ##0.0">
                  <c:v>2.7229136</c:v>
                </c:pt>
                <c:pt idx="415" formatCode="#\ ##0.0">
                  <c:v>2.8599866</c:v>
                </c:pt>
                <c:pt idx="416" formatCode="#\ ##0.0">
                  <c:v>3.2652570999999999</c:v>
                </c:pt>
                <c:pt idx="417" formatCode="#\ ##0.0">
                  <c:v>3.5668793999999999</c:v>
                </c:pt>
                <c:pt idx="418" formatCode="#\ ##0.0">
                  <c:v>3.8011365000000001</c:v>
                </c:pt>
                <c:pt idx="419" formatCode="#\ ##0.0">
                  <c:v>3.9729412000000002</c:v>
                </c:pt>
                <c:pt idx="420" formatCode="#\ ##0.0">
                  <c:v>4.1113102000000001</c:v>
                </c:pt>
                <c:pt idx="421" formatCode="#\ ##0.0">
                  <c:v>4.4843289000000004</c:v>
                </c:pt>
                <c:pt idx="422" formatCode="#\ ##0.0">
                  <c:v>4.6249826000000001</c:v>
                </c:pt>
                <c:pt idx="423" formatCode="#\ ##0.0">
                  <c:v>4.8682695999999996</c:v>
                </c:pt>
                <c:pt idx="424" formatCode="#\ ##0.0">
                  <c:v>5.1728487000000003</c:v>
                </c:pt>
                <c:pt idx="425" formatCode="#\ ##0.0">
                  <c:v>5.7793619999999999</c:v>
                </c:pt>
                <c:pt idx="426" formatCode="#\ ##0.0">
                  <c:v>6.5940291000000002</c:v>
                </c:pt>
                <c:pt idx="427" formatCode="#\ ##0.0">
                  <c:v>6.9685940999999998</c:v>
                </c:pt>
                <c:pt idx="428" formatCode="#\ ##0.0">
                  <c:v>7.5508103000000002</c:v>
                </c:pt>
                <c:pt idx="429" formatCode="#\ ##0.0">
                  <c:v>8.2728094999999993</c:v>
                </c:pt>
                <c:pt idx="430" formatCode="#\ ##0.0">
                  <c:v>9.2703930000000003</c:v>
                </c:pt>
                <c:pt idx="431" formatCode="#\ ##0.0">
                  <c:v>9.4463459000000007</c:v>
                </c:pt>
                <c:pt idx="432" formatCode="#\ ##0.0">
                  <c:v>9.9261534000000005</c:v>
                </c:pt>
                <c:pt idx="433" formatCode="#\ ##0.0">
                  <c:v>10.759030900000001</c:v>
                </c:pt>
                <c:pt idx="434" formatCode="#\ ##0.0">
                  <c:v>11.428050499999999</c:v>
                </c:pt>
                <c:pt idx="435" formatCode="#\ ##0.0">
                  <c:v>11.659426099999999</c:v>
                </c:pt>
                <c:pt idx="436" formatCode="#\ ##0.0">
                  <c:v>12.0070295</c:v>
                </c:pt>
                <c:pt idx="437" formatCode="#\ ##0.0">
                  <c:v>11.6270957</c:v>
                </c:pt>
                <c:pt idx="438" formatCode="#\ ##0.0">
                  <c:v>12.391522800000001</c:v>
                </c:pt>
                <c:pt idx="439" formatCode="#\ ##0.0">
                  <c:v>12.504140899999999</c:v>
                </c:pt>
                <c:pt idx="440" formatCode="#\ ##0.0">
                  <c:v>12.5009744</c:v>
                </c:pt>
                <c:pt idx="441" formatCode="#\ ##0.0">
                  <c:v>12.565581999999999</c:v>
                </c:pt>
                <c:pt idx="442" formatCode="#\ ##0.0">
                  <c:v>12.9056479</c:v>
                </c:pt>
                <c:pt idx="443" formatCode="#\ ##0.0">
                  <c:v>13.735712400000001</c:v>
                </c:pt>
                <c:pt idx="444" formatCode="#\ ##0.0">
                  <c:v>15.175128600000001</c:v>
                </c:pt>
                <c:pt idx="445" formatCode="#\ ##0.0">
                  <c:v>15.3991401</c:v>
                </c:pt>
                <c:pt idx="446" formatCode="#\ ##0.0">
                  <c:v>15.828944399999999</c:v>
                </c:pt>
                <c:pt idx="447" formatCode="#\ ##0.0">
                  <c:v>16.322732500000001</c:v>
                </c:pt>
                <c:pt idx="448" formatCode="#\ ##0.0">
                  <c:v>17.9352129</c:v>
                </c:pt>
                <c:pt idx="449" formatCode="#\ ##0.0">
                  <c:v>18.678874400000002</c:v>
                </c:pt>
                <c:pt idx="450" formatCode="#\ ##0.0">
                  <c:v>19.1559569</c:v>
                </c:pt>
                <c:pt idx="451" formatCode="#\ ##0.0">
                  <c:v>19.410924300000001</c:v>
                </c:pt>
                <c:pt idx="452" formatCode="#\ ##0.0">
                  <c:v>19.6483232</c:v>
                </c:pt>
                <c:pt idx="453" formatCode="#\ ##0.0">
                  <c:v>19.455947999999999</c:v>
                </c:pt>
                <c:pt idx="454" formatCode="#\ ##0.0">
                  <c:v>20.0216119</c:v>
                </c:pt>
                <c:pt idx="455" formatCode="#\ ##0.0">
                  <c:v>19.850497499999999</c:v>
                </c:pt>
                <c:pt idx="456" formatCode="#\ ##0.0">
                  <c:v>20.231423199999998</c:v>
                </c:pt>
                <c:pt idx="457" formatCode="#\ ##0.0">
                  <c:v>19.808796699999998</c:v>
                </c:pt>
                <c:pt idx="458" formatCode="#\ ##0.0">
                  <c:v>19.847501999999999</c:v>
                </c:pt>
                <c:pt idx="459" formatCode="#\ ##0.0">
                  <c:v>19.412732299999998</c:v>
                </c:pt>
                <c:pt idx="460" formatCode="#\ ##0.0">
                  <c:v>19.509833400000002</c:v>
                </c:pt>
                <c:pt idx="461" formatCode="#\ ##0.0">
                  <c:v>18.6233462</c:v>
                </c:pt>
                <c:pt idx="462" formatCode="#\ ##0.0">
                  <c:v>18.4149706</c:v>
                </c:pt>
                <c:pt idx="463" formatCode="#\ ##0.0">
                  <c:v>18.2201314</c:v>
                </c:pt>
                <c:pt idx="464" formatCode="#\ ##0.0">
                  <c:v>18.019737599999999</c:v>
                </c:pt>
                <c:pt idx="465" formatCode="#\ ##0.0">
                  <c:v>17.764116999999999</c:v>
                </c:pt>
                <c:pt idx="466" formatCode="#\ ##0.0">
                  <c:v>18.170879800000002</c:v>
                </c:pt>
                <c:pt idx="467" formatCode="#\ ##0.0">
                  <c:v>18.153113999999999</c:v>
                </c:pt>
                <c:pt idx="468" formatCode="#\ ##0.0">
                  <c:v>17.939760499999998</c:v>
                </c:pt>
                <c:pt idx="469" formatCode="#\ ##0.0">
                  <c:v>17.257841500000001</c:v>
                </c:pt>
                <c:pt idx="470" formatCode="#\ ##0.0">
                  <c:v>16.651133099999999</c:v>
                </c:pt>
                <c:pt idx="471" formatCode="#\ ##0.0">
                  <c:v>16.381261899999998</c:v>
                </c:pt>
                <c:pt idx="472" formatCode="#\ ##0.0">
                  <c:v>16.010648400000001</c:v>
                </c:pt>
                <c:pt idx="473" formatCode="#\ ##0.0">
                  <c:v>15.118510799999999</c:v>
                </c:pt>
                <c:pt idx="474" formatCode="#\ ##0.0">
                  <c:v>15.0163197</c:v>
                </c:pt>
                <c:pt idx="475" formatCode="#\ ##0.0">
                  <c:v>15.8401234</c:v>
                </c:pt>
                <c:pt idx="476" formatCode="#\ ##0.0">
                  <c:v>15.673625899999999</c:v>
                </c:pt>
                <c:pt idx="477" formatCode="#\ ##0.0">
                  <c:v>15.2446477</c:v>
                </c:pt>
                <c:pt idx="478" formatCode="#\ ##0.0">
                  <c:v>15.118496499999999</c:v>
                </c:pt>
                <c:pt idx="479" formatCode="#\ ##0.0">
                  <c:v>13.9646604</c:v>
                </c:pt>
                <c:pt idx="480" formatCode="#\ ##0.0">
                  <c:v>13.445873300000001</c:v>
                </c:pt>
                <c:pt idx="481" formatCode="#\ ##0.0">
                  <c:v>13.350410399999999</c:v>
                </c:pt>
                <c:pt idx="482" formatCode="#\ ##0.0">
                  <c:v>12.8240675</c:v>
                </c:pt>
                <c:pt idx="483" formatCode="#\ ##0.0">
                  <c:v>12.6878001</c:v>
                </c:pt>
                <c:pt idx="484" formatCode="#\ ##0.0">
                  <c:v>12.7488651</c:v>
                </c:pt>
                <c:pt idx="485" formatCode="#\ ##0.0">
                  <c:v>12.3775823</c:v>
                </c:pt>
                <c:pt idx="486" formatCode="#\ ##0.0">
                  <c:v>12.652601900000001</c:v>
                </c:pt>
                <c:pt idx="487" formatCode="#\ ##0.0">
                  <c:v>12.9189376</c:v>
                </c:pt>
                <c:pt idx="488" formatCode="#\ ##0.0">
                  <c:v>12.006199799999999</c:v>
                </c:pt>
                <c:pt idx="489" formatCode="#\ ##0.0">
                  <c:v>10.7747096</c:v>
                </c:pt>
                <c:pt idx="490" formatCode="#\ ##0.0">
                  <c:v>10.253463099999999</c:v>
                </c:pt>
                <c:pt idx="491" formatCode="#\ ##0.0">
                  <c:v>9.6893741000000002</c:v>
                </c:pt>
                <c:pt idx="492" formatCode="#\ ##0.0">
                  <c:v>9.9522130000000004</c:v>
                </c:pt>
                <c:pt idx="493" formatCode="#\ ##0.0">
                  <c:v>9.5854946000000005</c:v>
                </c:pt>
                <c:pt idx="494" formatCode="#\ ##0.0">
                  <c:v>9.8302586999999999</c:v>
                </c:pt>
                <c:pt idx="495" formatCode="#\ ##0.0">
                  <c:v>9.4635704999999994</c:v>
                </c:pt>
                <c:pt idx="496" formatCode="#\ ##0.0">
                  <c:v>9.3322220999999992</c:v>
                </c:pt>
                <c:pt idx="497" formatCode="#\ ##0.0">
                  <c:v>9.3180998000000006</c:v>
                </c:pt>
                <c:pt idx="498" formatCode="#\ ##0.0">
                  <c:v>8.8908608999999998</c:v>
                </c:pt>
                <c:pt idx="499" formatCode="#\ ##0.0">
                  <c:v>7.8351192999999997</c:v>
                </c:pt>
                <c:pt idx="500" formatCode="#\ ##0.0">
                  <c:v>7.1370931999999998</c:v>
                </c:pt>
                <c:pt idx="501" formatCode="#\ ##0.0">
                  <c:v>6.0645115000000001</c:v>
                </c:pt>
                <c:pt idx="502" formatCode="#\ ##0.0">
                  <c:v>5.5718607000000002</c:v>
                </c:pt>
                <c:pt idx="503" formatCode="#\ ##0.0">
                  <c:v>4.4306564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OCK_novych_JIP_7dni_100_000_nyni</c:v>
          </c:tx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#\ ##0.0">
                  <c:v>2.7888090000000001</c:v>
                </c:pt>
                <c:pt idx="182" formatCode="#\ ##0.0">
                  <c:v>2.1234690999999999</c:v>
                </c:pt>
                <c:pt idx="183" formatCode="#\ ##0.0">
                  <c:v>2.5422392999999999</c:v>
                </c:pt>
                <c:pt idx="184" formatCode="#\ ##0.0">
                  <c:v>1.953516</c:v>
                </c:pt>
                <c:pt idx="185" formatCode="#\ ##0.0">
                  <c:v>1.4141804</c:v>
                </c:pt>
                <c:pt idx="186" formatCode="#\ ##0.0">
                  <c:v>0.93754539999999997</c:v>
                </c:pt>
                <c:pt idx="187" formatCode="#\ ##0.0">
                  <c:v>0.93306639999999996</c:v>
                </c:pt>
                <c:pt idx="188" formatCode="#\ ##0.0">
                  <c:v>1.3612725999999999</c:v>
                </c:pt>
                <c:pt idx="189" formatCode="#\ ##0.0">
                  <c:v>0.8796351</c:v>
                </c:pt>
                <c:pt idx="190" formatCode="#\ ##0.0">
                  <c:v>0.85687959999999996</c:v>
                </c:pt>
                <c:pt idx="191" formatCode="#\ ##0.0">
                  <c:v>0.83697060000000001</c:v>
                </c:pt>
                <c:pt idx="192" formatCode="#\ ##0.0">
                  <c:v>1.6372574</c:v>
                </c:pt>
                <c:pt idx="193" formatCode="#\ ##0.0">
                  <c:v>2.4502796999999998</c:v>
                </c:pt>
                <c:pt idx="194" formatCode="#\ ##0.0">
                  <c:v>2.4447686000000002</c:v>
                </c:pt>
                <c:pt idx="195" formatCode="#\ ##0.0">
                  <c:v>2.0090568000000002</c:v>
                </c:pt>
                <c:pt idx="196" formatCode="#\ ##0.0">
                  <c:v>1.9808177</c:v>
                </c:pt>
                <c:pt idx="197" formatCode="#\ ##0.0">
                  <c:v>2.3353027000000002</c:v>
                </c:pt>
                <c:pt idx="198" formatCode="#\ ##0.0">
                  <c:v>2.2934551999999999</c:v>
                </c:pt>
                <c:pt idx="199" formatCode="#\ ##0.0">
                  <c:v>1.4979141</c:v>
                </c:pt>
                <c:pt idx="200" formatCode="#\ ##0.0">
                  <c:v>0.74655000000000005</c:v>
                </c:pt>
                <c:pt idx="201" formatCode="#\ ##0.0">
                  <c:v>1.4884219000000001</c:v>
                </c:pt>
                <c:pt idx="202" formatCode="#\ ##0.0">
                  <c:v>1.4619989</c:v>
                </c:pt>
                <c:pt idx="203" formatCode="#\ ##0.0">
                  <c:v>2.5001517</c:v>
                </c:pt>
                <c:pt idx="204" formatCode="#\ ##0.0">
                  <c:v>1.7425063000000001</c:v>
                </c:pt>
                <c:pt idx="205" formatCode="#\ ##0.0">
                  <c:v>2.3703503000000001</c:v>
                </c:pt>
                <c:pt idx="206" formatCode="#\ ##0.0">
                  <c:v>2.6332247</c:v>
                </c:pt>
                <c:pt idx="207" formatCode="#\ ##0.0">
                  <c:v>2.621902</c:v>
                </c:pt>
                <c:pt idx="208" formatCode="#\ ##0.0">
                  <c:v>1.9590173</c:v>
                </c:pt>
                <c:pt idx="209" formatCode="#\ ##0.0">
                  <c:v>1.9044232999999999</c:v>
                </c:pt>
                <c:pt idx="210" formatCode="#\ ##0.0">
                  <c:v>1.8427800999999999</c:v>
                </c:pt>
                <c:pt idx="211" formatCode="#\ ##0.0">
                  <c:v>2.0826886</c:v>
                </c:pt>
                <c:pt idx="212" formatCode="#\ ##0.0">
                  <c:v>1.7215555</c:v>
                </c:pt>
                <c:pt idx="213" formatCode="#\ ##0.0">
                  <c:v>1.6568498</c:v>
                </c:pt>
                <c:pt idx="214" formatCode="#\ ##0.0">
                  <c:v>1.6476093000000001</c:v>
                </c:pt>
                <c:pt idx="215" formatCode="#\ ##0.0">
                  <c:v>1.9140168</c:v>
                </c:pt>
                <c:pt idx="216" formatCode="#\ ##0.0">
                  <c:v>1.8507355000000001</c:v>
                </c:pt>
                <c:pt idx="217" formatCode="#\ ##0.0">
                  <c:v>1.0214791000000001</c:v>
                </c:pt>
                <c:pt idx="218" formatCode="#\ ##0.0">
                  <c:v>0.73649629999999999</c:v>
                </c:pt>
                <c:pt idx="219" formatCode="#\ ##0.0">
                  <c:v>0.70557190000000003</c:v>
                </c:pt>
                <c:pt idx="220" formatCode="#\ ##0.0">
                  <c:v>0.45178030000000002</c:v>
                </c:pt>
                <c:pt idx="221" formatCode="#\ ##0.0">
                  <c:v>1.3406651999999999</c:v>
                </c:pt>
                <c:pt idx="222" formatCode="#\ ##0.0">
                  <c:v>1.1069636</c:v>
                </c:pt>
                <c:pt idx="223" formatCode="#\ ##0.0">
                  <c:v>1.0583689999999999</c:v>
                </c:pt>
                <c:pt idx="224" formatCode="#\ ##0.0">
                  <c:v>1.0109036</c:v>
                </c:pt>
                <c:pt idx="225" formatCode="#\ ##0.0">
                  <c:v>1.1501435</c:v>
                </c:pt>
                <c:pt idx="226" formatCode="#\ ##0.0">
                  <c:v>1.0835507</c:v>
                </c:pt>
                <c:pt idx="227" formatCode="#\ ##0.0">
                  <c:v>1.2355986000000001</c:v>
                </c:pt>
                <c:pt idx="228" formatCode="#\ ##0.0">
                  <c:v>0.51952279999999995</c:v>
                </c:pt>
                <c:pt idx="229" formatCode="#\ ##0.0">
                  <c:v>0.85269810000000001</c:v>
                </c:pt>
                <c:pt idx="230" formatCode="#\ ##0.0">
                  <c:v>1.1793068</c:v>
                </c:pt>
                <c:pt idx="231" formatCode="#\ ##0.0">
                  <c:v>1.1238967</c:v>
                </c:pt>
                <c:pt idx="232" formatCode="#\ ##0.0">
                  <c:v>0.93013590000000002</c:v>
                </c:pt>
                <c:pt idx="233" formatCode="#\ ##0.0">
                  <c:v>1.331162</c:v>
                </c:pt>
                <c:pt idx="234" formatCode="#\ ##0.0">
                  <c:v>1.4158489999999999</c:v>
                </c:pt>
                <c:pt idx="235" formatCode="#\ ##0.0">
                  <c:v>1.5244092</c:v>
                </c:pt>
                <c:pt idx="236" formatCode="#\ ##0.0">
                  <c:v>1.7768252</c:v>
                </c:pt>
                <c:pt idx="237" formatCode="#\ ##0.0">
                  <c:v>1.8499308999999999</c:v>
                </c:pt>
                <c:pt idx="238" formatCode="#\ ##0.0">
                  <c:v>1.7883876999999999</c:v>
                </c:pt>
                <c:pt idx="239" formatCode="#\ ##0.0">
                  <c:v>1.8514060999999999</c:v>
                </c:pt>
                <c:pt idx="240" formatCode="#\ ##0.0">
                  <c:v>1.3158491999999999</c:v>
                </c:pt>
                <c:pt idx="241" formatCode="#\ ##0.0">
                  <c:v>1.3927042999999999</c:v>
                </c:pt>
                <c:pt idx="242" formatCode="#\ ##0.0">
                  <c:v>1.2634079</c:v>
                </c:pt>
                <c:pt idx="243" formatCode="#\ ##0.0">
                  <c:v>1.0278137000000001</c:v>
                </c:pt>
                <c:pt idx="244" formatCode="#\ ##0.0">
                  <c:v>0.78556000000000004</c:v>
                </c:pt>
                <c:pt idx="245" formatCode="#\ ##0.0">
                  <c:v>0.99232920000000002</c:v>
                </c:pt>
                <c:pt idx="246" formatCode="#\ ##0.0">
                  <c:v>0.9768656</c:v>
                </c:pt>
                <c:pt idx="247" formatCode="#\ ##0.0">
                  <c:v>1.2783541</c:v>
                </c:pt>
                <c:pt idx="248" formatCode="#\ ##0.0">
                  <c:v>1.0517835</c:v>
                </c:pt>
                <c:pt idx="249" formatCode="#\ ##0.0">
                  <c:v>1.0459999</c:v>
                </c:pt>
                <c:pt idx="250" formatCode="#\ ##0.0">
                  <c:v>0.93747939999999996</c:v>
                </c:pt>
                <c:pt idx="251" formatCode="#\ ##0.0">
                  <c:v>1.1368627</c:v>
                </c:pt>
                <c:pt idx="252" formatCode="#\ ##0.0">
                  <c:v>1.0205997</c:v>
                </c:pt>
                <c:pt idx="253" formatCode="#\ ##0.0">
                  <c:v>0.90558919999999998</c:v>
                </c:pt>
                <c:pt idx="254" formatCode="#\ ##0.0">
                  <c:v>0.59421639999999998</c:v>
                </c:pt>
                <c:pt idx="255" formatCode="#\ ##0.0">
                  <c:v>0.58839850000000005</c:v>
                </c:pt>
                <c:pt idx="256" formatCode="#\ ##0.0">
                  <c:v>0.58641100000000002</c:v>
                </c:pt>
                <c:pt idx="257" formatCode="#\ ##0.0">
                  <c:v>0.4875893</c:v>
                </c:pt>
                <c:pt idx="258" formatCode="#\ ##0.0">
                  <c:v>0.29111399999999998</c:v>
                </c:pt>
                <c:pt idx="259" formatCode="#\ ##0.0">
                  <c:v>0.19251480000000001</c:v>
                </c:pt>
                <c:pt idx="260" formatCode="#\ ##0.0">
                  <c:v>0.19078539999999999</c:v>
                </c:pt>
                <c:pt idx="261" formatCode="#\ ##0.0">
                  <c:v>0.18885089999999999</c:v>
                </c:pt>
                <c:pt idx="262" formatCode="#\ ##0.0">
                  <c:v>0.18706200000000001</c:v>
                </c:pt>
                <c:pt idx="263" formatCode="#\ ##0.0">
                  <c:v>0.2801266</c:v>
                </c:pt>
                <c:pt idx="264" formatCode="#\ ##0.0">
                  <c:v>0.37307889999999999</c:v>
                </c:pt>
                <c:pt idx="265" formatCode="#\ ##0.0">
                  <c:v>0.27793420000000002</c:v>
                </c:pt>
                <c:pt idx="266" formatCode="#\ ##0.0">
                  <c:v>0.36757400000000001</c:v>
                </c:pt>
                <c:pt idx="267" formatCode="#\ ##0.0">
                  <c:v>0.36451709999999998</c:v>
                </c:pt>
                <c:pt idx="268" formatCode="#\ ##0.0">
                  <c:v>0.54224289999999997</c:v>
                </c:pt>
                <c:pt idx="269" formatCode="#\ ##0.0">
                  <c:v>0.44870490000000002</c:v>
                </c:pt>
                <c:pt idx="270" formatCode="#\ ##0.0">
                  <c:v>0.35823569999999999</c:v>
                </c:pt>
                <c:pt idx="271" formatCode="#\ ##0.0">
                  <c:v>0.44728400000000001</c:v>
                </c:pt>
                <c:pt idx="272" formatCode="#\ ##0.0">
                  <c:v>0.4446041</c:v>
                </c:pt>
                <c:pt idx="273" formatCode="#\ ##0.0">
                  <c:v>0.35158709999999999</c:v>
                </c:pt>
                <c:pt idx="274" formatCode="#\ ##0.0">
                  <c:v>0.43370550000000002</c:v>
                </c:pt>
                <c:pt idx="275" formatCode="#\ ##0.0">
                  <c:v>0.33900859999999999</c:v>
                </c:pt>
                <c:pt idx="276" formatCode="#\ ##0.0">
                  <c:v>0.33120909999999998</c:v>
                </c:pt>
                <c:pt idx="277" formatCode="#\ ##0.0">
                  <c:v>0.32816089999999998</c:v>
                </c:pt>
                <c:pt idx="278" formatCode="#\ ##0.0">
                  <c:v>0.16287209999999999</c:v>
                </c:pt>
                <c:pt idx="279" formatCode="#\ ##0.0">
                  <c:v>0.23778830000000001</c:v>
                </c:pt>
                <c:pt idx="280" formatCode="#\ ##0.0">
                  <c:v>0.23122200000000001</c:v>
                </c:pt>
                <c:pt idx="281" formatCode="#\ ##0.0">
                  <c:v>0.14981249999999999</c:v>
                </c:pt>
                <c:pt idx="282" formatCode="#\ ##0.0">
                  <c:v>0.14468059999999999</c:v>
                </c:pt>
                <c:pt idx="283" formatCode="#\ ##0.0">
                  <c:v>0.13996349999999999</c:v>
                </c:pt>
                <c:pt idx="284" formatCode="#\ ##0.0">
                  <c:v>0.13830690000000001</c:v>
                </c:pt>
                <c:pt idx="285" formatCode="#\ ##0.0">
                  <c:v>0.13693820000000001</c:v>
                </c:pt>
                <c:pt idx="286" formatCode="#\ ##0.0">
                  <c:v>6.6311200000000001E-2</c:v>
                </c:pt>
                <c:pt idx="287" formatCode="#\ ##0.0">
                  <c:v>6.4229599999999998E-2</c:v>
                </c:pt>
                <c:pt idx="288" formatCode="#\ ##0.0">
                  <c:v>6.20765E-2</c:v>
                </c:pt>
                <c:pt idx="289" formatCode="#\ ##0.0">
                  <c:v>0</c:v>
                </c:pt>
                <c:pt idx="290" formatCode="#\ ##0.0">
                  <c:v>0</c:v>
                </c:pt>
                <c:pt idx="291" formatCode="#\ ##0.0">
                  <c:v>0</c:v>
                </c:pt>
                <c:pt idx="292" formatCode="#\ ##0.0">
                  <c:v>5.6734199999999999E-2</c:v>
                </c:pt>
                <c:pt idx="293" formatCode="#\ ##0.0">
                  <c:v>5.4997799999999999E-2</c:v>
                </c:pt>
                <c:pt idx="294" formatCode="#\ ##0.0">
                  <c:v>5.3382899999999997E-2</c:v>
                </c:pt>
                <c:pt idx="295" formatCode="#\ ##0.0">
                  <c:v>5.1601800000000003E-2</c:v>
                </c:pt>
                <c:pt idx="296" formatCode="#\ ##0.0">
                  <c:v>4.9771000000000003E-2</c:v>
                </c:pt>
                <c:pt idx="297" formatCode="#\ ##0.0">
                  <c:v>4.8099999999999997E-2</c:v>
                </c:pt>
                <c:pt idx="298" formatCode="#\ ##0.0">
                  <c:v>4.76233E-2</c:v>
                </c:pt>
                <c:pt idx="299" formatCode="#\ ##0.0">
                  <c:v>0</c:v>
                </c:pt>
                <c:pt idx="300" formatCode="#\ ##0.0">
                  <c:v>0</c:v>
                </c:pt>
                <c:pt idx="301" formatCode="#\ ##0.0">
                  <c:v>0</c:v>
                </c:pt>
                <c:pt idx="302" formatCode="#\ ##0.0">
                  <c:v>0</c:v>
                </c:pt>
                <c:pt idx="303" formatCode="#\ ##0.0">
                  <c:v>0</c:v>
                </c:pt>
                <c:pt idx="304" formatCode="#\ ##0.0">
                  <c:v>0</c:v>
                </c:pt>
                <c:pt idx="305" formatCode="#\ ##0.0">
                  <c:v>0</c:v>
                </c:pt>
                <c:pt idx="306" formatCode="#\ ##0.0">
                  <c:v>0</c:v>
                </c:pt>
                <c:pt idx="307" formatCode="#\ ##0.0">
                  <c:v>0</c:v>
                </c:pt>
                <c:pt idx="308" formatCode="#\ ##0.0">
                  <c:v>0</c:v>
                </c:pt>
                <c:pt idx="309" formatCode="#\ ##0.0">
                  <c:v>0</c:v>
                </c:pt>
                <c:pt idx="310" formatCode="#\ ##0.0">
                  <c:v>0</c:v>
                </c:pt>
                <c:pt idx="311" formatCode="#\ ##0.0">
                  <c:v>0</c:v>
                </c:pt>
                <c:pt idx="312" formatCode="#\ ##0.0">
                  <c:v>0</c:v>
                </c:pt>
                <c:pt idx="313" formatCode="#\ ##0.0">
                  <c:v>0</c:v>
                </c:pt>
                <c:pt idx="314" formatCode="#\ ##0.0">
                  <c:v>0</c:v>
                </c:pt>
                <c:pt idx="315" formatCode="#\ ##0.0">
                  <c:v>3.1097E-2</c:v>
                </c:pt>
                <c:pt idx="316" formatCode="#\ ##0.0">
                  <c:v>6.0482300000000003E-2</c:v>
                </c:pt>
                <c:pt idx="317" formatCode="#\ ##0.0">
                  <c:v>5.8878399999999997E-2</c:v>
                </c:pt>
                <c:pt idx="318" formatCode="#\ ##0.0">
                  <c:v>8.6139800000000002E-2</c:v>
                </c:pt>
                <c:pt idx="319" formatCode="#\ ##0.0">
                  <c:v>8.5366999999999998E-2</c:v>
                </c:pt>
                <c:pt idx="320" formatCode="#\ ##0.0">
                  <c:v>8.4840600000000002E-2</c:v>
                </c:pt>
                <c:pt idx="321" formatCode="#\ ##0.0">
                  <c:v>8.4236000000000005E-2</c:v>
                </c:pt>
                <c:pt idx="322" formatCode="#\ ##0.0">
                  <c:v>5.5724200000000002E-2</c:v>
                </c:pt>
                <c:pt idx="323" formatCode="#\ ##0.0">
                  <c:v>5.4524200000000002E-2</c:v>
                </c:pt>
                <c:pt idx="324" formatCode="#\ ##0.0">
                  <c:v>5.3498499999999997E-2</c:v>
                </c:pt>
                <c:pt idx="325" formatCode="#\ ##0.0">
                  <c:v>5.2524700000000001E-2</c:v>
                </c:pt>
                <c:pt idx="326" formatCode="#\ ##0.0">
                  <c:v>5.2132400000000002E-2</c:v>
                </c:pt>
                <c:pt idx="327" formatCode="#\ ##0.0">
                  <c:v>5.18232E-2</c:v>
                </c:pt>
                <c:pt idx="328" formatCode="#\ ##0.0">
                  <c:v>5.0911900000000003E-2</c:v>
                </c:pt>
                <c:pt idx="329" formatCode="#\ ##0.0">
                  <c:v>5.0022299999999999E-2</c:v>
                </c:pt>
                <c:pt idx="330" formatCode="#\ ##0.0">
                  <c:v>2.4568799999999998E-2</c:v>
                </c:pt>
                <c:pt idx="331" formatCode="#\ ##0.0">
                  <c:v>9.6707299999999996E-2</c:v>
                </c:pt>
                <c:pt idx="332" formatCode="#\ ##0.0">
                  <c:v>7.1277400000000005E-2</c:v>
                </c:pt>
                <c:pt idx="333" formatCode="#\ ##0.0">
                  <c:v>0.11791509999999999</c:v>
                </c:pt>
                <c:pt idx="334" formatCode="#\ ##0.0">
                  <c:v>0.1171968</c:v>
                </c:pt>
                <c:pt idx="335" formatCode="#\ ##0.0">
                  <c:v>0.1153844</c:v>
                </c:pt>
                <c:pt idx="336" formatCode="#\ ##0.0">
                  <c:v>0.1136269</c:v>
                </c:pt>
                <c:pt idx="337" formatCode="#\ ##0.0">
                  <c:v>0.1120119</c:v>
                </c:pt>
                <c:pt idx="338" formatCode="#\ ##0.0">
                  <c:v>4.4224899999999998E-2</c:v>
                </c:pt>
                <c:pt idx="339" formatCode="#\ ##0.0">
                  <c:v>6.5547499999999995E-2</c:v>
                </c:pt>
                <c:pt idx="340" formatCode="#\ ##0.0">
                  <c:v>2.1718100000000001E-2</c:v>
                </c:pt>
                <c:pt idx="341" formatCode="#\ ##0.0">
                  <c:v>4.3228900000000001E-2</c:v>
                </c:pt>
                <c:pt idx="342" formatCode="#\ ##0.0">
                  <c:v>4.2779999999999999E-2</c:v>
                </c:pt>
                <c:pt idx="343" formatCode="#\ ##0.0">
                  <c:v>6.35376E-2</c:v>
                </c:pt>
                <c:pt idx="344" formatCode="#\ ##0.0">
                  <c:v>6.2934100000000007E-2</c:v>
                </c:pt>
                <c:pt idx="345" formatCode="#\ ##0.0">
                  <c:v>8.3193400000000001E-2</c:v>
                </c:pt>
                <c:pt idx="346" formatCode="#\ ##0.0">
                  <c:v>6.1861800000000002E-2</c:v>
                </c:pt>
                <c:pt idx="347" formatCode="#\ ##0.0">
                  <c:v>6.16149E-2</c:v>
                </c:pt>
                <c:pt idx="348" formatCode="#\ ##0.0">
                  <c:v>4.0941400000000003E-2</c:v>
                </c:pt>
                <c:pt idx="349" formatCode="#\ ##0.0">
                  <c:v>4.0634700000000003E-2</c:v>
                </c:pt>
                <c:pt idx="350" formatCode="#\ ##0.0">
                  <c:v>4.0334500000000002E-2</c:v>
                </c:pt>
                <c:pt idx="351" formatCode="#\ ##0.0">
                  <c:v>4.0053400000000003E-2</c:v>
                </c:pt>
                <c:pt idx="352" formatCode="#\ ##0.0">
                  <c:v>7.9506499999999994E-2</c:v>
                </c:pt>
                <c:pt idx="353" formatCode="#\ ##0.0">
                  <c:v>0.1183126</c:v>
                </c:pt>
                <c:pt idx="354" formatCode="#\ ##0.0">
                  <c:v>0.1178954</c:v>
                </c:pt>
                <c:pt idx="355" formatCode="#\ ##0.0">
                  <c:v>0.1175402</c:v>
                </c:pt>
                <c:pt idx="356" formatCode="#\ ##0.0">
                  <c:v>0.1165814</c:v>
                </c:pt>
                <c:pt idx="357" formatCode="#\ ##0.0">
                  <c:v>0.11575589999999999</c:v>
                </c:pt>
                <c:pt idx="358" formatCode="#\ ##0.0">
                  <c:v>0.1148795</c:v>
                </c:pt>
                <c:pt idx="359" formatCode="#\ ##0.0">
                  <c:v>5.7081800000000002E-2</c:v>
                </c:pt>
                <c:pt idx="360" formatCode="#\ ##0.0">
                  <c:v>3.7790700000000003E-2</c:v>
                </c:pt>
                <c:pt idx="361" formatCode="#\ ##0.0">
                  <c:v>3.7720700000000003E-2</c:v>
                </c:pt>
                <c:pt idx="362" formatCode="#\ ##0.0">
                  <c:v>3.7653399999999997E-2</c:v>
                </c:pt>
                <c:pt idx="363" formatCode="#\ ##0.0">
                  <c:v>3.74431E-2</c:v>
                </c:pt>
                <c:pt idx="364" formatCode="#\ ##0.0">
                  <c:v>1.8640299999999999E-2</c:v>
                </c:pt>
                <c:pt idx="365" formatCode="#\ ##0.0">
                  <c:v>1.8522799999999999E-2</c:v>
                </c:pt>
                <c:pt idx="366" formatCode="#\ ##0.0">
                  <c:v>3.6825200000000002E-2</c:v>
                </c:pt>
                <c:pt idx="367" formatCode="#\ ##0.0">
                  <c:v>3.6589499999999997E-2</c:v>
                </c:pt>
                <c:pt idx="368" formatCode="#\ ##0.0">
                  <c:v>3.6509699999999999E-2</c:v>
                </c:pt>
                <c:pt idx="369" formatCode="#\ ##0.0">
                  <c:v>3.6443700000000002E-2</c:v>
                </c:pt>
                <c:pt idx="370" formatCode="#\ ##0.0">
                  <c:v>7.2436700000000007E-2</c:v>
                </c:pt>
                <c:pt idx="371" formatCode="#\ ##0.0">
                  <c:v>9.0090500000000004E-2</c:v>
                </c:pt>
                <c:pt idx="372" formatCode="#\ ##0.0">
                  <c:v>8.9695200000000003E-2</c:v>
                </c:pt>
                <c:pt idx="373" formatCode="#\ ##0.0">
                  <c:v>8.9352200000000007E-2</c:v>
                </c:pt>
                <c:pt idx="374" formatCode="#\ ##0.0">
                  <c:v>8.8992699999999994E-2</c:v>
                </c:pt>
                <c:pt idx="375" formatCode="#\ ##0.0">
                  <c:v>0.1066764</c:v>
                </c:pt>
                <c:pt idx="376" formatCode="#\ ##0.0">
                  <c:v>0.1243408</c:v>
                </c:pt>
                <c:pt idx="377" formatCode="#\ ##0.0">
                  <c:v>0.14166719999999999</c:v>
                </c:pt>
                <c:pt idx="378" formatCode="#\ ##0.0">
                  <c:v>0.15896560000000001</c:v>
                </c:pt>
                <c:pt idx="379" formatCode="#\ ##0.0">
                  <c:v>0.17629639999999999</c:v>
                </c:pt>
                <c:pt idx="380" formatCode="#\ ##0.0">
                  <c:v>0.17594850000000001</c:v>
                </c:pt>
                <c:pt idx="381" formatCode="#\ ##0.0">
                  <c:v>0.21065130000000001</c:v>
                </c:pt>
                <c:pt idx="382" formatCode="#\ ##0.0">
                  <c:v>0.21053259999999999</c:v>
                </c:pt>
                <c:pt idx="383" formatCode="#\ ##0.0">
                  <c:v>0.2104394</c:v>
                </c:pt>
                <c:pt idx="384" formatCode="#\ ##0.0">
                  <c:v>0.17504430000000001</c:v>
                </c:pt>
                <c:pt idx="385" formatCode="#\ ##0.0">
                  <c:v>0.17475940000000001</c:v>
                </c:pt>
                <c:pt idx="386" formatCode="#\ ##0.0">
                  <c:v>0.17450850000000001</c:v>
                </c:pt>
                <c:pt idx="387" formatCode="#\ ##0.0">
                  <c:v>0.191692</c:v>
                </c:pt>
                <c:pt idx="388" formatCode="#\ ##0.0">
                  <c:v>0.1565645</c:v>
                </c:pt>
                <c:pt idx="389" formatCode="#\ ##0.0">
                  <c:v>0.1738934</c:v>
                </c:pt>
                <c:pt idx="390" formatCode="#\ ##0.0">
                  <c:v>0.15646550000000001</c:v>
                </c:pt>
                <c:pt idx="391" formatCode="#\ ##0.0">
                  <c:v>0.13887179999999999</c:v>
                </c:pt>
                <c:pt idx="392" formatCode="#\ ##0.0">
                  <c:v>0.1040248</c:v>
                </c:pt>
                <c:pt idx="393" formatCode="#\ ##0.0">
                  <c:v>0.10390240000000001</c:v>
                </c:pt>
                <c:pt idx="394" formatCode="#\ ##0.0">
                  <c:v>0.1210792</c:v>
                </c:pt>
                <c:pt idx="395" formatCode="#\ ##0.0">
                  <c:v>0.1036289</c:v>
                </c:pt>
                <c:pt idx="396" formatCode="#\ ##0.0">
                  <c:v>8.6327799999999996E-2</c:v>
                </c:pt>
                <c:pt idx="397" formatCode="#\ ##0.0">
                  <c:v>0.1380923</c:v>
                </c:pt>
                <c:pt idx="398" formatCode="#\ ##0.0">
                  <c:v>0.172432</c:v>
                </c:pt>
                <c:pt idx="399" formatCode="#\ ##0.0">
                  <c:v>0.27564050000000001</c:v>
                </c:pt>
                <c:pt idx="400" formatCode="#\ ##0.0">
                  <c:v>0.37874190000000002</c:v>
                </c:pt>
                <c:pt idx="401" formatCode="#\ ##0.0">
                  <c:v>0.32685249999999999</c:v>
                </c:pt>
                <c:pt idx="402" formatCode="#\ ##0.0">
                  <c:v>0.34361710000000001</c:v>
                </c:pt>
                <c:pt idx="403" formatCode="#\ ##0.0">
                  <c:v>0.36069519999999999</c:v>
                </c:pt>
                <c:pt idx="404" formatCode="#\ ##0.0">
                  <c:v>0.3606125</c:v>
                </c:pt>
                <c:pt idx="405" formatCode="#\ ##0.0">
                  <c:v>0.48041539999999999</c:v>
                </c:pt>
                <c:pt idx="406" formatCode="#\ ##0.0">
                  <c:v>0.394598</c:v>
                </c:pt>
                <c:pt idx="407" formatCode="#\ ##0.0">
                  <c:v>0.32568150000000001</c:v>
                </c:pt>
                <c:pt idx="408" formatCode="#\ ##0.0">
                  <c:v>0.44529780000000002</c:v>
                </c:pt>
                <c:pt idx="409" formatCode="#\ ##0.0">
                  <c:v>0.47917209999999999</c:v>
                </c:pt>
                <c:pt idx="410" formatCode="#\ ##0.0">
                  <c:v>0.49617860000000003</c:v>
                </c:pt>
                <c:pt idx="411" formatCode="#\ ##0.0">
                  <c:v>0.51322760000000001</c:v>
                </c:pt>
                <c:pt idx="412" formatCode="#\ ##0.0">
                  <c:v>0.56425429999999999</c:v>
                </c:pt>
                <c:pt idx="413" formatCode="#\ ##0.0">
                  <c:v>0.59823029999999999</c:v>
                </c:pt>
                <c:pt idx="414" formatCode="#\ ##0.0">
                  <c:v>0.66641510000000004</c:v>
                </c:pt>
                <c:pt idx="415" formatCode="#\ ##0.0">
                  <c:v>0.66617970000000004</c:v>
                </c:pt>
                <c:pt idx="416" formatCode="#\ ##0.0">
                  <c:v>0.80258790000000002</c:v>
                </c:pt>
                <c:pt idx="417" formatCode="#\ ##0.0">
                  <c:v>0.88781620000000006</c:v>
                </c:pt>
                <c:pt idx="418" formatCode="#\ ##0.0">
                  <c:v>0.95603170000000004</c:v>
                </c:pt>
                <c:pt idx="419" formatCode="#\ ##0.0">
                  <c:v>0.83635970000000004</c:v>
                </c:pt>
                <c:pt idx="420" formatCode="#\ ##0.0">
                  <c:v>1.0753083999999999</c:v>
                </c:pt>
                <c:pt idx="421" formatCode="#\ ##0.0">
                  <c:v>1.2803078000000001</c:v>
                </c:pt>
                <c:pt idx="422" formatCode="#\ ##0.0">
                  <c:v>1.3145359999999999</c:v>
                </c:pt>
                <c:pt idx="423" formatCode="#\ ##0.0">
                  <c:v>1.4339827000000001</c:v>
                </c:pt>
                <c:pt idx="424" formatCode="#\ ##0.0">
                  <c:v>1.5363301</c:v>
                </c:pt>
                <c:pt idx="425" formatCode="#\ ##0.0">
                  <c:v>1.6386365000000001</c:v>
                </c:pt>
                <c:pt idx="426" formatCode="#\ ##0.0">
                  <c:v>1.912876</c:v>
                </c:pt>
                <c:pt idx="427" formatCode="#\ ##0.0">
                  <c:v>1.9158307000000001</c:v>
                </c:pt>
                <c:pt idx="428" formatCode="#\ ##0.0">
                  <c:v>1.8680635999999999</c:v>
                </c:pt>
                <c:pt idx="429" formatCode="#\ ##0.0">
                  <c:v>1.9751352</c:v>
                </c:pt>
                <c:pt idx="430" formatCode="#\ ##0.0">
                  <c:v>1.9795514000000001</c:v>
                </c:pt>
                <c:pt idx="431" formatCode="#\ ##0.0">
                  <c:v>2.1350406</c:v>
                </c:pt>
                <c:pt idx="432" formatCode="#\ ##0.0">
                  <c:v>2.2214269999999998</c:v>
                </c:pt>
                <c:pt idx="433" formatCode="#\ ##0.0">
                  <c:v>2.3478072000000001</c:v>
                </c:pt>
                <c:pt idx="434" formatCode="#\ ##0.0">
                  <c:v>2.4409877999999998</c:v>
                </c:pt>
                <c:pt idx="435" formatCode="#\ ##0.0">
                  <c:v>2.5361144000000002</c:v>
                </c:pt>
                <c:pt idx="436" formatCode="#\ ##0.0">
                  <c:v>2.6067806</c:v>
                </c:pt>
                <c:pt idx="437" formatCode="#\ ##0.0">
                  <c:v>2.7688038000000001</c:v>
                </c:pt>
                <c:pt idx="438" formatCode="#\ ##0.0">
                  <c:v>2.8563695</c:v>
                </c:pt>
                <c:pt idx="439" formatCode="#\ ##0.0">
                  <c:v>2.9615841999999999</c:v>
                </c:pt>
                <c:pt idx="440" formatCode="#\ ##0.0">
                  <c:v>2.8643850999999998</c:v>
                </c:pt>
                <c:pt idx="441" formatCode="#\ ##0.0">
                  <c:v>2.9788000000000001</c:v>
                </c:pt>
                <c:pt idx="442" formatCode="#\ ##0.0">
                  <c:v>3.3429981</c:v>
                </c:pt>
                <c:pt idx="443" formatCode="#\ ##0.0">
                  <c:v>3.5335494999999999</c:v>
                </c:pt>
                <c:pt idx="444" formatCode="#\ ##0.0">
                  <c:v>3.6704457000000001</c:v>
                </c:pt>
                <c:pt idx="445" formatCode="#\ ##0.0">
                  <c:v>3.8149253000000001</c:v>
                </c:pt>
                <c:pt idx="446" formatCode="#\ ##0.0">
                  <c:v>4.0117889</c:v>
                </c:pt>
                <c:pt idx="447" formatCode="#\ ##0.0">
                  <c:v>4.4163845000000004</c:v>
                </c:pt>
                <c:pt idx="448" formatCode="#\ ##0.0">
                  <c:v>4.4511038000000003</c:v>
                </c:pt>
                <c:pt idx="449" formatCode="#\ ##0.0">
                  <c:v>4.4686304000000003</c:v>
                </c:pt>
                <c:pt idx="450" formatCode="#\ ##0.0">
                  <c:v>4.5561540000000003</c:v>
                </c:pt>
                <c:pt idx="451" formatCode="#\ ##0.0">
                  <c:v>4.6234254999999997</c:v>
                </c:pt>
                <c:pt idx="452" formatCode="#\ ##0.0">
                  <c:v>4.6251338000000004</c:v>
                </c:pt>
                <c:pt idx="453" formatCode="#\ ##0.0">
                  <c:v>4.3547482000000004</c:v>
                </c:pt>
                <c:pt idx="454" formatCode="#\ ##0.0">
                  <c:v>4.2560351000000001</c:v>
                </c:pt>
                <c:pt idx="455" formatCode="#\ ##0.0">
                  <c:v>4.2684812000000001</c:v>
                </c:pt>
                <c:pt idx="456" formatCode="#\ ##0.0">
                  <c:v>4.3420062000000001</c:v>
                </c:pt>
                <c:pt idx="457" formatCode="#\ ##0.0">
                  <c:v>4.3719612999999997</c:v>
                </c:pt>
                <c:pt idx="458" formatCode="#\ ##0.0">
                  <c:v>4.1426638000000002</c:v>
                </c:pt>
                <c:pt idx="459" formatCode="#\ ##0.0">
                  <c:v>4.0702455000000004</c:v>
                </c:pt>
                <c:pt idx="460" formatCode="#\ ##0.0">
                  <c:v>4.1610873000000002</c:v>
                </c:pt>
                <c:pt idx="461" formatCode="#\ ##0.0">
                  <c:v>4.2230639999999999</c:v>
                </c:pt>
                <c:pt idx="462" formatCode="#\ ##0.0">
                  <c:v>4.5291531999999997</c:v>
                </c:pt>
                <c:pt idx="463" formatCode="#\ ##0.0">
                  <c:v>4.4125036</c:v>
                </c:pt>
                <c:pt idx="464" formatCode="#\ ##0.0">
                  <c:v>4.5390316999999998</c:v>
                </c:pt>
                <c:pt idx="465" formatCode="#\ ##0.0">
                  <c:v>4.683376</c:v>
                </c:pt>
                <c:pt idx="466" formatCode="#\ ##0.0">
                  <c:v>4.5930399</c:v>
                </c:pt>
                <c:pt idx="467" formatCode="#\ ##0.0">
                  <c:v>4.5224143999999997</c:v>
                </c:pt>
                <c:pt idx="468" formatCode="#\ ##0.0">
                  <c:v>4.3584436000000002</c:v>
                </c:pt>
                <c:pt idx="469" formatCode="#\ ##0.0">
                  <c:v>4.0729863999999996</c:v>
                </c:pt>
                <c:pt idx="470" formatCode="#\ ##0.0">
                  <c:v>3.7538661000000002</c:v>
                </c:pt>
                <c:pt idx="471" formatCode="#\ ##0.0">
                  <c:v>3.4723627000000001</c:v>
                </c:pt>
                <c:pt idx="472" formatCode="#\ ##0.0">
                  <c:v>3.3783474999999998</c:v>
                </c:pt>
                <c:pt idx="473" formatCode="#\ ##0.0">
                  <c:v>3.2179373999999998</c:v>
                </c:pt>
                <c:pt idx="474" formatCode="#\ ##0.0">
                  <c:v>2.9742359999999999</c:v>
                </c:pt>
                <c:pt idx="475" formatCode="#\ ##0.0">
                  <c:v>3.0669279999999999</c:v>
                </c:pt>
                <c:pt idx="476" formatCode="#\ ##0.0">
                  <c:v>3.0483408000000001</c:v>
                </c:pt>
                <c:pt idx="477" formatCode="#\ ##0.0">
                  <c:v>3.1976523000000001</c:v>
                </c:pt>
                <c:pt idx="478" formatCode="#\ ##0.0">
                  <c:v>3.2023402999999999</c:v>
                </c:pt>
                <c:pt idx="479" formatCode="#\ ##0.0">
                  <c:v>2.8875228000000002</c:v>
                </c:pt>
                <c:pt idx="480" formatCode="#\ ##0.0">
                  <c:v>2.9213458000000001</c:v>
                </c:pt>
                <c:pt idx="481" formatCode="#\ ##0.0">
                  <c:v>2.9708139</c:v>
                </c:pt>
                <c:pt idx="482" formatCode="#\ ##0.0">
                  <c:v>2.746238</c:v>
                </c:pt>
                <c:pt idx="483" formatCode="#\ ##0.0">
                  <c:v>2.5453415000000001</c:v>
                </c:pt>
                <c:pt idx="484" formatCode="#\ ##0.0">
                  <c:v>2.4265827</c:v>
                </c:pt>
                <c:pt idx="485" formatCode="#\ ##0.0">
                  <c:v>2.2825099999999998</c:v>
                </c:pt>
                <c:pt idx="486" formatCode="#\ ##0.0">
                  <c:v>2.4474361999999998</c:v>
                </c:pt>
                <c:pt idx="487" formatCode="#\ ##0.0">
                  <c:v>2.4362393</c:v>
                </c:pt>
                <c:pt idx="488" formatCode="#\ ##0.0">
                  <c:v>2.3998004000000002</c:v>
                </c:pt>
                <c:pt idx="489" formatCode="#\ ##0.0">
                  <c:v>2.2913926999999998</c:v>
                </c:pt>
                <c:pt idx="490" formatCode="#\ ##0.0">
                  <c:v>2.2994479999999999</c:v>
                </c:pt>
                <c:pt idx="491" formatCode="#\ ##0.0">
                  <c:v>2.0898037999999999</c:v>
                </c:pt>
                <c:pt idx="492" formatCode="#\ ##0.0">
                  <c:v>2.0538848999999999</c:v>
                </c:pt>
                <c:pt idx="493" formatCode="#\ ##0.0">
                  <c:v>1.9123817000000001</c:v>
                </c:pt>
                <c:pt idx="494" formatCode="#\ ##0.0">
                  <c:v>1.6762907</c:v>
                </c:pt>
                <c:pt idx="495" formatCode="#\ ##0.0">
                  <c:v>1.6294090000000001</c:v>
                </c:pt>
                <c:pt idx="496" formatCode="#\ ##0.0">
                  <c:v>1.383078</c:v>
                </c:pt>
                <c:pt idx="497" formatCode="#\ ##0.0">
                  <c:v>1.3519493</c:v>
                </c:pt>
                <c:pt idx="498" formatCode="#\ ##0.0">
                  <c:v>1.3440094</c:v>
                </c:pt>
                <c:pt idx="499" formatCode="#\ ##0.0">
                  <c:v>1.2582930000000001</c:v>
                </c:pt>
                <c:pt idx="500" formatCode="#\ ##0.0">
                  <c:v>1.2607851999999999</c:v>
                </c:pt>
                <c:pt idx="501" formatCode="#\ ##0.0">
                  <c:v>1.1371822</c:v>
                </c:pt>
                <c:pt idx="502" formatCode="#\ ##0.0">
                  <c:v>1.0166021000000001</c:v>
                </c:pt>
                <c:pt idx="503" formatCode="#\ ##0.0">
                  <c:v>0.90412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OCK_s_posil_novych_JIP_7dni_100_000_nyni</c:v>
          </c:tx>
          <c:spPr>
            <a:ln>
              <a:solidFill>
                <a:srgbClr val="70AD47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">
                  <c:v>1.9708315999999999</c:v>
                </c:pt>
                <c:pt idx="427" formatCode="0.00">
                  <c:v>1.6211133</c:v>
                </c:pt>
                <c:pt idx="428" formatCode="0.00">
                  <c:v>2.6076978999999998</c:v>
                </c:pt>
                <c:pt idx="429" formatCode="0.00">
                  <c:v>2.1211381999999999</c:v>
                </c:pt>
                <c:pt idx="430" formatCode="0.00">
                  <c:v>0.88385279999999999</c:v>
                </c:pt>
                <c:pt idx="431" formatCode="0.00">
                  <c:v>0.85609840000000004</c:v>
                </c:pt>
                <c:pt idx="432" formatCode="0.00">
                  <c:v>0.83816670000000004</c:v>
                </c:pt>
                <c:pt idx="433" formatCode="0.00">
                  <c:v>0.71847850000000002</c:v>
                </c:pt>
                <c:pt idx="434" formatCode="0.00">
                  <c:v>1.2368583</c:v>
                </c:pt>
                <c:pt idx="435" formatCode="0.00">
                  <c:v>0.53164049999999996</c:v>
                </c:pt>
                <c:pt idx="436" formatCode="0.00">
                  <c:v>1.0398035999999999</c:v>
                </c:pt>
                <c:pt idx="437" formatCode="0.00">
                  <c:v>1.4189227</c:v>
                </c:pt>
                <c:pt idx="438" formatCode="0.00">
                  <c:v>1.8580625</c:v>
                </c:pt>
                <c:pt idx="439" formatCode="0.00">
                  <c:v>1.8266507999999999</c:v>
                </c:pt>
                <c:pt idx="440" formatCode="0.00">
                  <c:v>1.6602745999999999</c:v>
                </c:pt>
                <c:pt idx="441" formatCode="0.00">
                  <c:v>1.5013437000000001</c:v>
                </c:pt>
                <c:pt idx="442" formatCode="0.00">
                  <c:v>1.6851640999999999</c:v>
                </c:pt>
                <c:pt idx="443" formatCode="0.00">
                  <c:v>1.5249621</c:v>
                </c:pt>
                <c:pt idx="444" formatCode="0.00">
                  <c:v>1.3934173999999999</c:v>
                </c:pt>
                <c:pt idx="445" formatCode="0.00">
                  <c:v>1.6409537999999999</c:v>
                </c:pt>
                <c:pt idx="446" formatCode="0.00">
                  <c:v>1.8903285000000001</c:v>
                </c:pt>
                <c:pt idx="447" formatCode="0.00">
                  <c:v>2.0224286999999999</c:v>
                </c:pt>
                <c:pt idx="448" formatCode="0.00">
                  <c:v>1.887812</c:v>
                </c:pt>
                <c:pt idx="449" formatCode="0.00">
                  <c:v>1.7678932000000001</c:v>
                </c:pt>
                <c:pt idx="450" formatCode="0.00">
                  <c:v>1.6660176</c:v>
                </c:pt>
                <c:pt idx="451" formatCode="0.00">
                  <c:v>1.3787452</c:v>
                </c:pt>
                <c:pt idx="452" formatCode="0.00">
                  <c:v>0.97380270000000002</c:v>
                </c:pt>
                <c:pt idx="453" formatCode="0.00">
                  <c:v>0.96693839999999998</c:v>
                </c:pt>
                <c:pt idx="454" formatCode="0.00">
                  <c:v>0.92651439999999996</c:v>
                </c:pt>
                <c:pt idx="455" formatCode="0.00">
                  <c:v>1.0586902</c:v>
                </c:pt>
                <c:pt idx="456" formatCode="0.00">
                  <c:v>0.87528110000000003</c:v>
                </c:pt>
                <c:pt idx="457" formatCode="0.00">
                  <c:v>0.83756580000000003</c:v>
                </c:pt>
                <c:pt idx="458" formatCode="0.00">
                  <c:v>0.80327729999999997</c:v>
                </c:pt>
                <c:pt idx="459" formatCode="0.00">
                  <c:v>0.79615040000000004</c:v>
                </c:pt>
                <c:pt idx="460" formatCode="0.00">
                  <c:v>1.1093291000000001</c:v>
                </c:pt>
                <c:pt idx="461" formatCode="0.00">
                  <c:v>1.2239621000000001</c:v>
                </c:pt>
                <c:pt idx="462" formatCode="0.00">
                  <c:v>0.87938879999999997</c:v>
                </c:pt>
                <c:pt idx="463" formatCode="0.00">
                  <c:v>0.84347490000000003</c:v>
                </c:pt>
                <c:pt idx="464" formatCode="0.00">
                  <c:v>0.93980540000000001</c:v>
                </c:pt>
                <c:pt idx="465" formatCode="0.00">
                  <c:v>0.89783760000000001</c:v>
                </c:pt>
                <c:pt idx="466" formatCode="0.00">
                  <c:v>1.142725</c:v>
                </c:pt>
                <c:pt idx="467" formatCode="0.00">
                  <c:v>0.75510449999999996</c:v>
                </c:pt>
                <c:pt idx="468" formatCode="0.00">
                  <c:v>0.59975480000000003</c:v>
                </c:pt>
                <c:pt idx="469" formatCode="0.00">
                  <c:v>0.67800970000000005</c:v>
                </c:pt>
                <c:pt idx="470" formatCode="0.00">
                  <c:v>0.63214579999999998</c:v>
                </c:pt>
                <c:pt idx="471" formatCode="0.00">
                  <c:v>0.58689400000000003</c:v>
                </c:pt>
                <c:pt idx="472" formatCode="0.00">
                  <c:v>0.91055019999999998</c:v>
                </c:pt>
                <c:pt idx="473" formatCode="0.00">
                  <c:v>0.80017349999999998</c:v>
                </c:pt>
                <c:pt idx="474" formatCode="0.00">
                  <c:v>0.96169309999999997</c:v>
                </c:pt>
                <c:pt idx="475" formatCode="0.00">
                  <c:v>1.4868033</c:v>
                </c:pt>
                <c:pt idx="476" formatCode="0.00">
                  <c:v>1.5518721</c:v>
                </c:pt>
                <c:pt idx="477" formatCode="0.00">
                  <c:v>1.532065</c:v>
                </c:pt>
                <c:pt idx="478" formatCode="0.00">
                  <c:v>1.446542</c:v>
                </c:pt>
                <c:pt idx="479" formatCode="0.00">
                  <c:v>1.2432715999999999</c:v>
                </c:pt>
                <c:pt idx="480" formatCode="0.00">
                  <c:v>1.2224466</c:v>
                </c:pt>
                <c:pt idx="481" formatCode="0.00">
                  <c:v>1.2736491999999999</c:v>
                </c:pt>
                <c:pt idx="482" formatCode="0.00">
                  <c:v>0.79707850000000002</c:v>
                </c:pt>
                <c:pt idx="483" formatCode="0.00">
                  <c:v>0.76273480000000005</c:v>
                </c:pt>
                <c:pt idx="484" formatCode="0.00">
                  <c:v>0.84358040000000001</c:v>
                </c:pt>
                <c:pt idx="485" formatCode="0.00">
                  <c:v>0.75553110000000001</c:v>
                </c:pt>
                <c:pt idx="486" formatCode="0.00">
                  <c:v>0.62271860000000001</c:v>
                </c:pt>
                <c:pt idx="487" formatCode="0.00">
                  <c:v>0.56333489999999997</c:v>
                </c:pt>
                <c:pt idx="488" formatCode="0.00">
                  <c:v>0.50741579999999997</c:v>
                </c:pt>
                <c:pt idx="489" formatCode="0.00">
                  <c:v>0.5402747</c:v>
                </c:pt>
                <c:pt idx="490" formatCode="0.00">
                  <c:v>0.66497439999999997</c:v>
                </c:pt>
                <c:pt idx="491" formatCode="0.00">
                  <c:v>0.6472156</c:v>
                </c:pt>
                <c:pt idx="492" formatCode="0.00">
                  <c:v>0.63909629999999995</c:v>
                </c:pt>
                <c:pt idx="493" formatCode="0.00">
                  <c:v>0.73025779999999996</c:v>
                </c:pt>
                <c:pt idx="494" formatCode="0.00">
                  <c:v>0.82153209999999999</c:v>
                </c:pt>
                <c:pt idx="495" formatCode="0.00">
                  <c:v>0.72992230000000002</c:v>
                </c:pt>
                <c:pt idx="496" formatCode="0.00">
                  <c:v>0.89226320000000003</c:v>
                </c:pt>
                <c:pt idx="497" formatCode="0.00">
                  <c:v>0.69568300000000005</c:v>
                </c:pt>
                <c:pt idx="498" formatCode="0.00">
                  <c:v>0.63653990000000005</c:v>
                </c:pt>
                <c:pt idx="499" formatCode="0.00">
                  <c:v>0.62497519999999995</c:v>
                </c:pt>
                <c:pt idx="500" formatCode="0.00">
                  <c:v>0.62263139999999995</c:v>
                </c:pt>
                <c:pt idx="501" formatCode="0.00">
                  <c:v>0.58111539999999995</c:v>
                </c:pt>
                <c:pt idx="502" formatCode="0.00">
                  <c:v>0.61925839999999999</c:v>
                </c:pt>
                <c:pt idx="503" formatCode="0.00">
                  <c:v>0.3626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EOCK_Na_JIP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16" formatCode="#\ ##0.0">
                  <c:v>9.0671695000000003</c:v>
                </c:pt>
                <c:pt idx="117" formatCode="#\ ##0.0">
                  <c:v>9.5177121000000007</c:v>
                </c:pt>
                <c:pt idx="118" formatCode="#\ ##0.0">
                  <c:v>10.170998900000001</c:v>
                </c:pt>
                <c:pt idx="119" formatCode="#\ ##0.0">
                  <c:v>10.565223599999999</c:v>
                </c:pt>
                <c:pt idx="120" formatCode="#\ ##0.0">
                  <c:v>10.7229136</c:v>
                </c:pt>
                <c:pt idx="121" formatCode="#\ ##0.0">
                  <c:v>10.9481848</c:v>
                </c:pt>
                <c:pt idx="122" formatCode="#\ ##0.0">
                  <c:v>10.6665957</c:v>
                </c:pt>
                <c:pt idx="123" formatCode="#\ ##0.0">
                  <c:v>10.7792314</c:v>
                </c:pt>
                <c:pt idx="124" formatCode="#\ ##0.0">
                  <c:v>11.308618900000001</c:v>
                </c:pt>
                <c:pt idx="125" formatCode="#\ ##0.0">
                  <c:v>12.2772855</c:v>
                </c:pt>
                <c:pt idx="126" formatCode="#\ ##0.0">
                  <c:v>12.513820300000001</c:v>
                </c:pt>
                <c:pt idx="127" formatCode="#\ ##0.0">
                  <c:v>12.953099399999999</c:v>
                </c:pt>
                <c:pt idx="128" formatCode="#\ ##0.0">
                  <c:v>12.9305722</c:v>
                </c:pt>
                <c:pt idx="129" formatCode="#\ ##0.0">
                  <c:v>12.840463700000001</c:v>
                </c:pt>
                <c:pt idx="130" formatCode="#\ ##0.0">
                  <c:v>12.9193087</c:v>
                </c:pt>
                <c:pt idx="131" formatCode="#\ ##0.0">
                  <c:v>13.223424899999999</c:v>
                </c:pt>
                <c:pt idx="132" formatCode="#\ ##0.0">
                  <c:v>13.381114800000001</c:v>
                </c:pt>
                <c:pt idx="133" formatCode="#\ ##0.0">
                  <c:v>13.2572171</c:v>
                </c:pt>
                <c:pt idx="134" formatCode="#\ ##0.0">
                  <c:v>13.1896357</c:v>
                </c:pt>
                <c:pt idx="135" formatCode="#\ ##0.0">
                  <c:v>13.313534900000001</c:v>
                </c:pt>
                <c:pt idx="136" formatCode="#\ ##0.0">
                  <c:v>13.2008993</c:v>
                </c:pt>
                <c:pt idx="137" formatCode="#\ ##0.0">
                  <c:v>13.1220543</c:v>
                </c:pt>
                <c:pt idx="138" formatCode="#\ ##0.0">
                  <c:v>12.817938</c:v>
                </c:pt>
                <c:pt idx="139" formatCode="#\ ##0.0">
                  <c:v>13.088263599999999</c:v>
                </c:pt>
                <c:pt idx="140" formatCode="#\ ##0.0">
                  <c:v>12.8742588</c:v>
                </c:pt>
                <c:pt idx="141" formatCode="#\ ##0.0">
                  <c:v>12.5814074</c:v>
                </c:pt>
                <c:pt idx="142" formatCode="#\ ##0.0">
                  <c:v>12.5025624</c:v>
                </c:pt>
                <c:pt idx="143" formatCode="#\ ##0.0">
                  <c:v>12.525091</c:v>
                </c:pt>
                <c:pt idx="144" formatCode="#\ ##0.0">
                  <c:v>12.3110845</c:v>
                </c:pt>
                <c:pt idx="145" formatCode="#\ ##0.0">
                  <c:v>11.883070099999999</c:v>
                </c:pt>
                <c:pt idx="146" formatCode="#\ ##0.0">
                  <c:v>12.1646622</c:v>
                </c:pt>
                <c:pt idx="147" formatCode="#\ ##0.0">
                  <c:v>11.7479125</c:v>
                </c:pt>
                <c:pt idx="148" formatCode="#\ ##0.0">
                  <c:v>11.669067399999999</c:v>
                </c:pt>
                <c:pt idx="149" formatCode="#\ ##0.0">
                  <c:v>11.432537399999999</c:v>
                </c:pt>
                <c:pt idx="150" formatCode="#\ ##0.0">
                  <c:v>11.455065899999999</c:v>
                </c:pt>
                <c:pt idx="151" formatCode="#\ ##0.0">
                  <c:v>11.466334700000001</c:v>
                </c:pt>
                <c:pt idx="152" formatCode="#\ ##0.0">
                  <c:v>11.681179699999999</c:v>
                </c:pt>
                <c:pt idx="153" formatCode="#\ ##0.0">
                  <c:v>12.1117194</c:v>
                </c:pt>
                <c:pt idx="154" formatCode="#\ ##0.0">
                  <c:v>12.2619527</c:v>
                </c:pt>
                <c:pt idx="155" formatCode="#\ ##0.0">
                  <c:v>12.0852556</c:v>
                </c:pt>
                <c:pt idx="156" formatCode="#\ ##0.0">
                  <c:v>12.3808051</c:v>
                </c:pt>
                <c:pt idx="157" formatCode="#\ ##0.0">
                  <c:v>12.201831800000001</c:v>
                </c:pt>
                <c:pt idx="158" formatCode="#\ ##0.0">
                  <c:v>12.0338707</c:v>
                </c:pt>
                <c:pt idx="159" formatCode="#\ ##0.0">
                  <c:v>12.339590899999999</c:v>
                </c:pt>
                <c:pt idx="160" formatCode="#\ ##0.0">
                  <c:v>12.456557099999999</c:v>
                </c:pt>
                <c:pt idx="161" formatCode="#\ ##0.0">
                  <c:v>12.3154266</c:v>
                </c:pt>
                <c:pt idx="162" formatCode="#\ ##0.0">
                  <c:v>12.5137348</c:v>
                </c:pt>
                <c:pt idx="163" formatCode="#\ ##0.0">
                  <c:v>12.5902238</c:v>
                </c:pt>
                <c:pt idx="164" formatCode="#\ ##0.0">
                  <c:v>12.578866700000001</c:v>
                </c:pt>
                <c:pt idx="165" formatCode="#\ ##0.0">
                  <c:v>12.512535099999999</c:v>
                </c:pt>
                <c:pt idx="166" formatCode="#\ ##0.0">
                  <c:v>12.989431700000001</c:v>
                </c:pt>
                <c:pt idx="167" formatCode="#\ ##0.0">
                  <c:v>13.295602799999999</c:v>
                </c:pt>
                <c:pt idx="168" formatCode="#\ ##0.0">
                  <c:v>13.798580100000001</c:v>
                </c:pt>
                <c:pt idx="169" formatCode="#\ ##0.0">
                  <c:v>14.122351999999999</c:v>
                </c:pt>
                <c:pt idx="170" formatCode="#\ ##0.0">
                  <c:v>14.4160728</c:v>
                </c:pt>
                <c:pt idx="171" formatCode="#\ ##0.0">
                  <c:v>14.456347900000001</c:v>
                </c:pt>
                <c:pt idx="172" formatCode="#\ ##0.0">
                  <c:v>14.414701600000001</c:v>
                </c:pt>
                <c:pt idx="173" formatCode="#\ ##0.0">
                  <c:v>14.5782556</c:v>
                </c:pt>
                <c:pt idx="174" formatCode="#\ ##0.0">
                  <c:v>15.486782099999999</c:v>
                </c:pt>
                <c:pt idx="175" formatCode="#\ ##0.0">
                  <c:v>15.8047609</c:v>
                </c:pt>
                <c:pt idx="176" formatCode="#\ ##0.0">
                  <c:v>16.046023999999999</c:v>
                </c:pt>
                <c:pt idx="177" formatCode="#\ ##0.0">
                  <c:v>16.694588299999999</c:v>
                </c:pt>
                <c:pt idx="178" formatCode="#\ ##0.0">
                  <c:v>16.412939399999999</c:v>
                </c:pt>
                <c:pt idx="179" formatCode="#\ ##0.0">
                  <c:v>16.751536099999999</c:v>
                </c:pt>
                <c:pt idx="180" formatCode="#\ ##0.0">
                  <c:v>17.2135341</c:v>
                </c:pt>
                <c:pt idx="181" formatCode="#\ ##0.0">
                  <c:v>18.151728599999998</c:v>
                </c:pt>
                <c:pt idx="182" formatCode="#\ ##0.0">
                  <c:v>18.297286700000001</c:v>
                </c:pt>
                <c:pt idx="183" formatCode="#\ ##0.0">
                  <c:v>18.660354699999999</c:v>
                </c:pt>
                <c:pt idx="184" formatCode="#\ ##0.0">
                  <c:v>19.000567799999999</c:v>
                </c:pt>
                <c:pt idx="185" formatCode="#\ ##0.0">
                  <c:v>19.2244514</c:v>
                </c:pt>
                <c:pt idx="186" formatCode="#\ ##0.0">
                  <c:v>19.2501645</c:v>
                </c:pt>
                <c:pt idx="187" formatCode="#\ ##0.0">
                  <c:v>19.3101509</c:v>
                </c:pt>
                <c:pt idx="188" formatCode="#\ ##0.0">
                  <c:v>20.455538199999999</c:v>
                </c:pt>
                <c:pt idx="189" formatCode="#\ ##0.0">
                  <c:v>20.772604399999999</c:v>
                </c:pt>
                <c:pt idx="190" formatCode="#\ ##0.0">
                  <c:v>21.1225758</c:v>
                </c:pt>
                <c:pt idx="191" formatCode="#\ ##0.0">
                  <c:v>21.0551244</c:v>
                </c:pt>
                <c:pt idx="192" formatCode="#\ ##0.0">
                  <c:v>21.1608394</c:v>
                </c:pt>
                <c:pt idx="193" formatCode="#\ ##0.0">
                  <c:v>20.5598916</c:v>
                </c:pt>
                <c:pt idx="194" formatCode="#\ ##0.0">
                  <c:v>21.094059999999999</c:v>
                </c:pt>
                <c:pt idx="195" formatCode="#\ ##0.0">
                  <c:v>21.774623699999999</c:v>
                </c:pt>
                <c:pt idx="196" formatCode="#\ ##0.0">
                  <c:v>21.8879187</c:v>
                </c:pt>
                <c:pt idx="197" formatCode="#\ ##0.0">
                  <c:v>21.470184499999998</c:v>
                </c:pt>
                <c:pt idx="198" formatCode="#\ ##0.0">
                  <c:v>21.458654599999999</c:v>
                </c:pt>
                <c:pt idx="199" formatCode="#\ ##0.0">
                  <c:v>21.042495299999999</c:v>
                </c:pt>
                <c:pt idx="200" formatCode="#\ ##0.0">
                  <c:v>20.614880899999999</c:v>
                </c:pt>
                <c:pt idx="201" formatCode="#\ ##0.0">
                  <c:v>20.872430399999999</c:v>
                </c:pt>
                <c:pt idx="202" formatCode="#\ ##0.0">
                  <c:v>21.1166464</c:v>
                </c:pt>
                <c:pt idx="203" formatCode="#\ ##0.0">
                  <c:v>20.539180200000001</c:v>
                </c:pt>
                <c:pt idx="204" formatCode="#\ ##0.0">
                  <c:v>20.1949869</c:v>
                </c:pt>
                <c:pt idx="205" formatCode="#\ ##0.0">
                  <c:v>20.191383500000001</c:v>
                </c:pt>
                <c:pt idx="206" formatCode="#\ ##0.0">
                  <c:v>19.4883031</c:v>
                </c:pt>
                <c:pt idx="207" formatCode="#\ ##0.0">
                  <c:v>19.094694499999999</c:v>
                </c:pt>
                <c:pt idx="208" formatCode="#\ ##0.0">
                  <c:v>19.2372573</c:v>
                </c:pt>
                <c:pt idx="209" formatCode="#\ ##0.0">
                  <c:v>19.373761500000001</c:v>
                </c:pt>
                <c:pt idx="210" formatCode="#\ ##0.0">
                  <c:v>18.766247199999999</c:v>
                </c:pt>
                <c:pt idx="211" formatCode="#\ ##0.0">
                  <c:v>18.063516100000001</c:v>
                </c:pt>
                <c:pt idx="212" formatCode="#\ ##0.0">
                  <c:v>17.538795700000001</c:v>
                </c:pt>
                <c:pt idx="213" formatCode="#\ ##0.0">
                  <c:v>16.5921974</c:v>
                </c:pt>
                <c:pt idx="214" formatCode="#\ ##0.0">
                  <c:v>16.3142675</c:v>
                </c:pt>
                <c:pt idx="215" formatCode="#\ ##0.0">
                  <c:v>16.0470632</c:v>
                </c:pt>
                <c:pt idx="216" formatCode="#\ ##0.0">
                  <c:v>15.7177284</c:v>
                </c:pt>
                <c:pt idx="217" formatCode="#\ ##0.0">
                  <c:v>16.284505100000001</c:v>
                </c:pt>
                <c:pt idx="218" formatCode="#\ ##0.0">
                  <c:v>15.9488126</c:v>
                </c:pt>
                <c:pt idx="219" formatCode="#\ ##0.0">
                  <c:v>15.473801699999999</c:v>
                </c:pt>
                <c:pt idx="220" formatCode="#\ ##0.0">
                  <c:v>14.5575402</c:v>
                </c:pt>
                <c:pt idx="221" formatCode="#\ ##0.0">
                  <c:v>14.293093799999999</c:v>
                </c:pt>
                <c:pt idx="222" formatCode="#\ ##0.0">
                  <c:v>14.086516100000001</c:v>
                </c:pt>
                <c:pt idx="223" formatCode="#\ ##0.0">
                  <c:v>14.002304799999999</c:v>
                </c:pt>
                <c:pt idx="224" formatCode="#\ ##0.0">
                  <c:v>13.6934389</c:v>
                </c:pt>
                <c:pt idx="225" formatCode="#\ ##0.0">
                  <c:v>13.199290100000001</c:v>
                </c:pt>
                <c:pt idx="226" formatCode="#\ ##0.0">
                  <c:v>12.349165599999999</c:v>
                </c:pt>
                <c:pt idx="227" formatCode="#\ ##0.0">
                  <c:v>12.103483000000001</c:v>
                </c:pt>
                <c:pt idx="228" formatCode="#\ ##0.0">
                  <c:v>11.685717800000001</c:v>
                </c:pt>
                <c:pt idx="229" formatCode="#\ ##0.0">
                  <c:v>11.6862301</c:v>
                </c:pt>
                <c:pt idx="230" formatCode="#\ ##0.0">
                  <c:v>11.8895084</c:v>
                </c:pt>
                <c:pt idx="231" formatCode="#\ ##0.0">
                  <c:v>11.3502139</c:v>
                </c:pt>
                <c:pt idx="232" formatCode="#\ ##0.0">
                  <c:v>10.955753400000001</c:v>
                </c:pt>
                <c:pt idx="233" formatCode="#\ ##0.0">
                  <c:v>10.1193806</c:v>
                </c:pt>
                <c:pt idx="234" formatCode="#\ ##0.0">
                  <c:v>9.6305703000000005</c:v>
                </c:pt>
                <c:pt idx="235" formatCode="#\ ##0.0">
                  <c:v>9.1704954999999995</c:v>
                </c:pt>
                <c:pt idx="236" formatCode="#\ ##0.0">
                  <c:v>9.2309104000000008</c:v>
                </c:pt>
                <c:pt idx="237" formatCode="#\ ##0.0">
                  <c:v>8.9639728000000005</c:v>
                </c:pt>
                <c:pt idx="238" formatCode="#\ ##0.0">
                  <c:v>8.6839911000000001</c:v>
                </c:pt>
                <c:pt idx="239" formatCode="#\ ##0.0">
                  <c:v>8.3911864000000005</c:v>
                </c:pt>
                <c:pt idx="240" formatCode="#\ ##0.0">
                  <c:v>7.8212215</c:v>
                </c:pt>
                <c:pt idx="241" formatCode="#\ ##0.0">
                  <c:v>7.1102895999999998</c:v>
                </c:pt>
                <c:pt idx="242" formatCode="#\ ##0.0">
                  <c:v>6.8310762</c:v>
                </c:pt>
                <c:pt idx="243" formatCode="#\ ##0.0">
                  <c:v>6.8978108000000002</c:v>
                </c:pt>
                <c:pt idx="244" formatCode="#\ ##0.0">
                  <c:v>6.9612249000000004</c:v>
                </c:pt>
                <c:pt idx="245" formatCode="#\ ##0.0">
                  <c:v>6.7367293999999998</c:v>
                </c:pt>
                <c:pt idx="246" formatCode="#\ ##0.0">
                  <c:v>6.2210390999999996</c:v>
                </c:pt>
                <c:pt idx="247" formatCode="#\ ##0.0">
                  <c:v>5.7056654</c:v>
                </c:pt>
                <c:pt idx="248" formatCode="#\ ##0.0">
                  <c:v>5.4115979999999997</c:v>
                </c:pt>
                <c:pt idx="249" formatCode="#\ ##0.0">
                  <c:v>5.0996186000000003</c:v>
                </c:pt>
                <c:pt idx="250" formatCode="#\ ##0.0">
                  <c:v>5.1527101999999996</c:v>
                </c:pt>
                <c:pt idx="251" formatCode="#\ ##0.0">
                  <c:v>5.2208369000000001</c:v>
                </c:pt>
                <c:pt idx="252" formatCode="#\ ##0.0">
                  <c:v>4.9377288999999998</c:v>
                </c:pt>
                <c:pt idx="253" formatCode="#\ ##0.0">
                  <c:v>4.6928372999999999</c:v>
                </c:pt>
                <c:pt idx="254" formatCode="#\ ##0.0">
                  <c:v>4.5752334000000001</c:v>
                </c:pt>
                <c:pt idx="255" formatCode="#\ ##0.0">
                  <c:v>4.2629178999999997</c:v>
                </c:pt>
                <c:pt idx="256" formatCode="#\ ##0.0">
                  <c:v>3.8446794999999998</c:v>
                </c:pt>
                <c:pt idx="257" formatCode="#\ ##0.0">
                  <c:v>3.8075925000000002</c:v>
                </c:pt>
                <c:pt idx="258" formatCode="#\ ##0.0">
                  <c:v>3.6826264000000002</c:v>
                </c:pt>
                <c:pt idx="259" formatCode="#\ ##0.0">
                  <c:v>3.4696962</c:v>
                </c:pt>
                <c:pt idx="260" formatCode="#\ ##0.0">
                  <c:v>3.1290366000000001</c:v>
                </c:pt>
                <c:pt idx="261" formatCode="#\ ##0.0">
                  <c:v>2.7496600999999998</c:v>
                </c:pt>
                <c:pt idx="262" formatCode="#\ ##0.0">
                  <c:v>2.4202780000000002</c:v>
                </c:pt>
                <c:pt idx="263" formatCode="#\ ##0.0">
                  <c:v>2.3567866999999998</c:v>
                </c:pt>
                <c:pt idx="264" formatCode="#\ ##0.0">
                  <c:v>2.3187217000000002</c:v>
                </c:pt>
                <c:pt idx="265" formatCode="#\ ##0.0">
                  <c:v>2.2952271999999998</c:v>
                </c:pt>
                <c:pt idx="266" formatCode="#\ ##0.0">
                  <c:v>2.0410865999999999</c:v>
                </c:pt>
                <c:pt idx="267" formatCode="#\ ##0.0">
                  <c:v>1.953516</c:v>
                </c:pt>
                <c:pt idx="268" formatCode="#\ ##0.0">
                  <c:v>1.8142821</c:v>
                </c:pt>
                <c:pt idx="269" formatCode="#\ ##0.0">
                  <c:v>1.5713820000000001</c:v>
                </c:pt>
                <c:pt idx="270" formatCode="#\ ##0.0">
                  <c:v>1.4301173</c:v>
                </c:pt>
                <c:pt idx="271" formatCode="#\ ##0.0">
                  <c:v>1.4045801</c:v>
                </c:pt>
                <c:pt idx="272" formatCode="#\ ##0.0">
                  <c:v>1.4831843</c:v>
                </c:pt>
                <c:pt idx="273" formatCode="#\ ##0.0">
                  <c:v>1.2273130999999999</c:v>
                </c:pt>
                <c:pt idx="274" formatCode="#\ ##0.0">
                  <c:v>1.1261657</c:v>
                </c:pt>
                <c:pt idx="275" formatCode="#\ ##0.0">
                  <c:v>1.0651739</c:v>
                </c:pt>
                <c:pt idx="276" formatCode="#\ ##0.0">
                  <c:v>0.89955160000000001</c:v>
                </c:pt>
                <c:pt idx="277" formatCode="#\ ##0.0">
                  <c:v>0.75725229999999999</c:v>
                </c:pt>
                <c:pt idx="278" formatCode="#\ ##0.0">
                  <c:v>0.77121890000000004</c:v>
                </c:pt>
                <c:pt idx="279" formatCode="#\ ##0.0">
                  <c:v>0.7221109</c:v>
                </c:pt>
                <c:pt idx="280" formatCode="#\ ##0.0">
                  <c:v>0.75190639999999997</c:v>
                </c:pt>
                <c:pt idx="281" formatCode="#\ ##0.0">
                  <c:v>0.72913519999999998</c:v>
                </c:pt>
                <c:pt idx="282" formatCode="#\ ##0.0">
                  <c:v>0.68037829999999999</c:v>
                </c:pt>
                <c:pt idx="283" formatCode="#\ ##0.0">
                  <c:v>0.4832707</c:v>
                </c:pt>
                <c:pt idx="284" formatCode="#\ ##0.0">
                  <c:v>0.48438360000000003</c:v>
                </c:pt>
                <c:pt idx="285" formatCode="#\ ##0.0">
                  <c:v>0.44488349999999999</c:v>
                </c:pt>
                <c:pt idx="286" formatCode="#\ ##0.0">
                  <c:v>0.4748889</c:v>
                </c:pt>
                <c:pt idx="287" formatCode="#\ ##0.0">
                  <c:v>0.34147070000000002</c:v>
                </c:pt>
                <c:pt idx="288" formatCode="#\ ##0.0">
                  <c:v>0.31648749999999998</c:v>
                </c:pt>
                <c:pt idx="289" formatCode="#\ ##0.0">
                  <c:v>0.30525679999999999</c:v>
                </c:pt>
                <c:pt idx="290" formatCode="#\ ##0.0">
                  <c:v>0.27973510000000001</c:v>
                </c:pt>
                <c:pt idx="291" formatCode="#\ ##0.0">
                  <c:v>0.22438069999999999</c:v>
                </c:pt>
                <c:pt idx="292" formatCode="#\ ##0.0">
                  <c:v>0.23891229999999999</c:v>
                </c:pt>
                <c:pt idx="293" formatCode="#\ ##0.0">
                  <c:v>0.21246660000000001</c:v>
                </c:pt>
                <c:pt idx="294" formatCode="#\ ##0.0">
                  <c:v>0.19985919999999999</c:v>
                </c:pt>
                <c:pt idx="295" formatCode="#\ ##0.0">
                  <c:v>0.15849530000000001</c:v>
                </c:pt>
                <c:pt idx="296" formatCode="#\ ##0.0">
                  <c:v>0.18925649999999999</c:v>
                </c:pt>
                <c:pt idx="297" formatCode="#\ ##0.0">
                  <c:v>0.19119939999999999</c:v>
                </c:pt>
                <c:pt idx="298" formatCode="#\ ##0.0">
                  <c:v>0.14752799999999999</c:v>
                </c:pt>
                <c:pt idx="299" formatCode="#\ ##0.0">
                  <c:v>0.13313700000000001</c:v>
                </c:pt>
                <c:pt idx="300" formatCode="#\ ##0.0">
                  <c:v>0.16453380000000001</c:v>
                </c:pt>
                <c:pt idx="301" formatCode="#\ ##0.0">
                  <c:v>0.18145629999999999</c:v>
                </c:pt>
                <c:pt idx="302" formatCode="#\ ##0.0">
                  <c:v>0.1530241</c:v>
                </c:pt>
                <c:pt idx="303" formatCode="#\ ##0.0">
                  <c:v>0.1704947</c:v>
                </c:pt>
                <c:pt idx="304" formatCode="#\ ##0.0">
                  <c:v>6.2782000000000004E-2</c:v>
                </c:pt>
                <c:pt idx="305" formatCode="#\ ##0.0">
                  <c:v>6.3072199999999995E-2</c:v>
                </c:pt>
                <c:pt idx="306" formatCode="#\ ##0.0">
                  <c:v>7.9138E-2</c:v>
                </c:pt>
                <c:pt idx="307" formatCode="#\ ##0.0">
                  <c:v>0.1602702</c:v>
                </c:pt>
                <c:pt idx="308" formatCode="#\ ##0.0">
                  <c:v>0.16241249999999999</c:v>
                </c:pt>
                <c:pt idx="309" formatCode="#\ ##0.0">
                  <c:v>0.18116160000000001</c:v>
                </c:pt>
                <c:pt idx="310" formatCode="#\ ##0.0">
                  <c:v>0.16717109999999999</c:v>
                </c:pt>
                <c:pt idx="311" formatCode="#\ ##0.0">
                  <c:v>0.1187304</c:v>
                </c:pt>
                <c:pt idx="312" formatCode="#\ ##0.0">
                  <c:v>0.1194365</c:v>
                </c:pt>
                <c:pt idx="313" formatCode="#\ ##0.0">
                  <c:v>0.1371232</c:v>
                </c:pt>
                <c:pt idx="314" formatCode="#\ ##0.0">
                  <c:v>0.1565502</c:v>
                </c:pt>
                <c:pt idx="315" formatCode="#\ ##0.0">
                  <c:v>0.12362140000000001</c:v>
                </c:pt>
                <c:pt idx="316" formatCode="#\ ##0.0">
                  <c:v>0.14358950000000001</c:v>
                </c:pt>
                <c:pt idx="317" formatCode="#\ ##0.0">
                  <c:v>0.1459492</c:v>
                </c:pt>
                <c:pt idx="318" formatCode="#\ ##0.0">
                  <c:v>0.1297383</c:v>
                </c:pt>
                <c:pt idx="319" formatCode="#\ ##0.0">
                  <c:v>0.1305008</c:v>
                </c:pt>
                <c:pt idx="320" formatCode="#\ ##0.0">
                  <c:v>0.14975250000000001</c:v>
                </c:pt>
                <c:pt idx="321" formatCode="#\ ##0.0">
                  <c:v>0.1692758</c:v>
                </c:pt>
                <c:pt idx="322" formatCode="#\ ##0.0">
                  <c:v>7.5627399999999997E-2</c:v>
                </c:pt>
                <c:pt idx="323" formatCode="#\ ##0.0">
                  <c:v>0.1151611</c:v>
                </c:pt>
                <c:pt idx="324" formatCode="#\ ##0.0">
                  <c:v>0.2140175</c:v>
                </c:pt>
                <c:pt idx="325" formatCode="#\ ##0.0">
                  <c:v>0.15777669999999999</c:v>
                </c:pt>
                <c:pt idx="326" formatCode="#\ ##0.0">
                  <c:v>0.1190051</c:v>
                </c:pt>
                <c:pt idx="327" formatCode="#\ ##0.0">
                  <c:v>0.13947229999999999</c:v>
                </c:pt>
                <c:pt idx="328" formatCode="#\ ##0.0">
                  <c:v>0.12121609999999999</c:v>
                </c:pt>
                <c:pt idx="329" formatCode="#\ ##0.0">
                  <c:v>0.1434434</c:v>
                </c:pt>
                <c:pt idx="330" formatCode="#\ ##0.0">
                  <c:v>0.1663895</c:v>
                </c:pt>
                <c:pt idx="331" formatCode="#\ ##0.0">
                  <c:v>0.16870540000000001</c:v>
                </c:pt>
                <c:pt idx="332" formatCode="#\ ##0.0">
                  <c:v>0.21416569999999999</c:v>
                </c:pt>
                <c:pt idx="333" formatCode="#\ ##0.0">
                  <c:v>0.21561720000000001</c:v>
                </c:pt>
                <c:pt idx="334" formatCode="#\ ##0.0">
                  <c:v>0.19514909999999999</c:v>
                </c:pt>
                <c:pt idx="335" formatCode="#\ ##0.0">
                  <c:v>0.22002940000000001</c:v>
                </c:pt>
                <c:pt idx="336" formatCode="#\ ##0.0">
                  <c:v>0.26798759999999999</c:v>
                </c:pt>
                <c:pt idx="337" formatCode="#\ ##0.0">
                  <c:v>0.29449259999999999</c:v>
                </c:pt>
                <c:pt idx="338" formatCode="#\ ##0.0">
                  <c:v>0.2754916</c:v>
                </c:pt>
                <c:pt idx="339" formatCode="#\ ##0.0">
                  <c:v>0.2789819</c:v>
                </c:pt>
                <c:pt idx="340" formatCode="#\ ##0.0">
                  <c:v>0.28078510000000001</c:v>
                </c:pt>
                <c:pt idx="341" formatCode="#\ ##0.0">
                  <c:v>0.32928360000000001</c:v>
                </c:pt>
                <c:pt idx="342" formatCode="#\ ##0.0">
                  <c:v>0.35687849999999999</c:v>
                </c:pt>
                <c:pt idx="343" formatCode="#\ ##0.0">
                  <c:v>0.36087419999999998</c:v>
                </c:pt>
                <c:pt idx="344" formatCode="#\ ##0.0">
                  <c:v>0.41349459999999999</c:v>
                </c:pt>
                <c:pt idx="345" formatCode="#\ ##0.0">
                  <c:v>0.41767900000000002</c:v>
                </c:pt>
                <c:pt idx="346" formatCode="#\ ##0.0">
                  <c:v>0.3971539</c:v>
                </c:pt>
                <c:pt idx="347" formatCode="#\ ##0.0">
                  <c:v>0.42402109999999998</c:v>
                </c:pt>
                <c:pt idx="348" formatCode="#\ ##0.0">
                  <c:v>0.3756429</c:v>
                </c:pt>
                <c:pt idx="349" formatCode="#\ ##0.0">
                  <c:v>0.40441929999999998</c:v>
                </c:pt>
                <c:pt idx="350" formatCode="#\ ##0.0">
                  <c:v>0.4081997</c:v>
                </c:pt>
                <c:pt idx="351" formatCode="#\ ##0.0">
                  <c:v>0.43759619999999999</c:v>
                </c:pt>
                <c:pt idx="352" formatCode="#\ ##0.0">
                  <c:v>0.389899</c:v>
                </c:pt>
                <c:pt idx="353" formatCode="#\ ##0.0">
                  <c:v>0.31521919999999998</c:v>
                </c:pt>
                <c:pt idx="354" formatCode="#\ ##0.0">
                  <c:v>0.29031960000000001</c:v>
                </c:pt>
                <c:pt idx="355" formatCode="#\ ##0.0">
                  <c:v>0.31800309999999998</c:v>
                </c:pt>
                <c:pt idx="356" formatCode="#\ ##0.0">
                  <c:v>0.3751776</c:v>
                </c:pt>
                <c:pt idx="357" formatCode="#\ ##0.0">
                  <c:v>0.2706462</c:v>
                </c:pt>
                <c:pt idx="358" formatCode="#\ ##0.0">
                  <c:v>0.30093120000000001</c:v>
                </c:pt>
                <c:pt idx="359" formatCode="#\ ##0.0">
                  <c:v>0.27604709999999999</c:v>
                </c:pt>
                <c:pt idx="360" formatCode="#\ ##0.0">
                  <c:v>0.25098389999999998</c:v>
                </c:pt>
                <c:pt idx="361" formatCode="#\ ##0.0">
                  <c:v>0.22370989999999999</c:v>
                </c:pt>
                <c:pt idx="362" formatCode="#\ ##0.0">
                  <c:v>0.16822790000000001</c:v>
                </c:pt>
                <c:pt idx="363" formatCode="#\ ##0.0">
                  <c:v>0.16964750000000001</c:v>
                </c:pt>
                <c:pt idx="364" formatCode="#\ ##0.0">
                  <c:v>0.19923279999999999</c:v>
                </c:pt>
                <c:pt idx="365" formatCode="#\ ##0.0">
                  <c:v>0.25866289999999997</c:v>
                </c:pt>
                <c:pt idx="366" formatCode="#\ ##0.0">
                  <c:v>0.29009689999999999</c:v>
                </c:pt>
                <c:pt idx="367" formatCode="#\ ##0.0">
                  <c:v>0.35168529999999998</c:v>
                </c:pt>
                <c:pt idx="368" formatCode="#\ ##0.0">
                  <c:v>0.41174119999999997</c:v>
                </c:pt>
                <c:pt idx="369" formatCode="#\ ##0.0">
                  <c:v>0.41294530000000002</c:v>
                </c:pt>
                <c:pt idx="370" formatCode="#\ ##0.0">
                  <c:v>0.53633330000000001</c:v>
                </c:pt>
                <c:pt idx="371" formatCode="#\ ##0.0">
                  <c:v>0.60092429999999997</c:v>
                </c:pt>
                <c:pt idx="372" formatCode="#\ ##0.0">
                  <c:v>0.54483570000000003</c:v>
                </c:pt>
                <c:pt idx="373" formatCode="#\ ##0.0">
                  <c:v>0.45699030000000002</c:v>
                </c:pt>
                <c:pt idx="374" formatCode="#\ ##0.0">
                  <c:v>0.52151389999999997</c:v>
                </c:pt>
                <c:pt idx="375" formatCode="#\ ##0.0">
                  <c:v>0.58395180000000002</c:v>
                </c:pt>
                <c:pt idx="376" formatCode="#\ ##0.0">
                  <c:v>0.67723809999999995</c:v>
                </c:pt>
                <c:pt idx="377" formatCode="#\ ##0.0">
                  <c:v>0.71182319999999999</c:v>
                </c:pt>
                <c:pt idx="378" formatCode="#\ ##0.0">
                  <c:v>0.83940210000000004</c:v>
                </c:pt>
                <c:pt idx="379" formatCode="#\ ##0.0">
                  <c:v>0.81100159999999999</c:v>
                </c:pt>
                <c:pt idx="380" formatCode="#\ ##0.0">
                  <c:v>0.97035830000000001</c:v>
                </c:pt>
                <c:pt idx="381" formatCode="#\ ##0.0">
                  <c:v>0.97436469999999997</c:v>
                </c:pt>
                <c:pt idx="382" formatCode="#\ ##0.0">
                  <c:v>0.88096079999999999</c:v>
                </c:pt>
                <c:pt idx="383" formatCode="#\ ##0.0">
                  <c:v>0.88166120000000003</c:v>
                </c:pt>
                <c:pt idx="384" formatCode="#\ ##0.0">
                  <c:v>0.88458159999999997</c:v>
                </c:pt>
                <c:pt idx="385" formatCode="#\ ##0.0">
                  <c:v>0.88719159999999997</c:v>
                </c:pt>
                <c:pt idx="386" formatCode="#\ ##0.0">
                  <c:v>0.85774300000000003</c:v>
                </c:pt>
                <c:pt idx="387" formatCode="#\ ##0.0">
                  <c:v>0.89177510000000004</c:v>
                </c:pt>
                <c:pt idx="388" formatCode="#\ ##0.0">
                  <c:v>1.0224477999999999</c:v>
                </c:pt>
                <c:pt idx="389" formatCode="#\ ##0.0">
                  <c:v>1.0871215999999999</c:v>
                </c:pt>
                <c:pt idx="390" formatCode="#\ ##0.0">
                  <c:v>1.087615</c:v>
                </c:pt>
                <c:pt idx="391" formatCode="#\ ##0.0">
                  <c:v>1.2189383</c:v>
                </c:pt>
                <c:pt idx="392" formatCode="#\ ##0.0">
                  <c:v>1.3503445999999999</c:v>
                </c:pt>
                <c:pt idx="393" formatCode="#\ ##0.0">
                  <c:v>1.3210822</c:v>
                </c:pt>
                <c:pt idx="394" formatCode="#\ ##0.0">
                  <c:v>1.2916441999999999</c:v>
                </c:pt>
                <c:pt idx="395" formatCode="#\ ##0.0">
                  <c:v>1.1656995999999999</c:v>
                </c:pt>
                <c:pt idx="396" formatCode="#\ ##0.0">
                  <c:v>1.101648</c:v>
                </c:pt>
                <c:pt idx="397" formatCode="#\ ##0.0">
                  <c:v>1.2642077</c:v>
                </c:pt>
                <c:pt idx="398" formatCode="#\ ##0.0">
                  <c:v>1.4293416999999999</c:v>
                </c:pt>
                <c:pt idx="399" formatCode="#\ ##0.0">
                  <c:v>1.6923678</c:v>
                </c:pt>
                <c:pt idx="400" formatCode="#\ ##0.0">
                  <c:v>1.9881856</c:v>
                </c:pt>
                <c:pt idx="401" formatCode="#\ ##0.0">
                  <c:v>1.6977806</c:v>
                </c:pt>
                <c:pt idx="402" formatCode="#\ ##0.0">
                  <c:v>1.8331036999999999</c:v>
                </c:pt>
                <c:pt idx="403" formatCode="#\ ##0.0">
                  <c:v>1.8013950999999999</c:v>
                </c:pt>
                <c:pt idx="404" formatCode="#\ ##0.0">
                  <c:v>1.7366902</c:v>
                </c:pt>
                <c:pt idx="405" formatCode="#\ ##0.0">
                  <c:v>2.1666544000000001</c:v>
                </c:pt>
                <c:pt idx="406" formatCode="#\ ##0.0">
                  <c:v>2.6266660000000002</c:v>
                </c:pt>
                <c:pt idx="407" formatCode="#\ ##0.0">
                  <c:v>2.6320404000000002</c:v>
                </c:pt>
                <c:pt idx="408" formatCode="#\ ##0.0">
                  <c:v>2.6702392000000001</c:v>
                </c:pt>
                <c:pt idx="409" formatCode="#\ ##0.0">
                  <c:v>2.6759564999999998</c:v>
                </c:pt>
                <c:pt idx="410" formatCode="#\ ##0.0">
                  <c:v>2.6771593</c:v>
                </c:pt>
                <c:pt idx="411" formatCode="#\ ##0.0">
                  <c:v>2.7439631000000002</c:v>
                </c:pt>
                <c:pt idx="412" formatCode="#\ ##0.0">
                  <c:v>2.9138841000000002</c:v>
                </c:pt>
                <c:pt idx="413" formatCode="#\ ##0.0">
                  <c:v>3.31595</c:v>
                </c:pt>
                <c:pt idx="414" formatCode="#\ ##0.0">
                  <c:v>3.3538326000000001</c:v>
                </c:pt>
                <c:pt idx="415" formatCode="#\ ##0.0">
                  <c:v>3.4918442000000001</c:v>
                </c:pt>
                <c:pt idx="416" formatCode="#\ ##0.0">
                  <c:v>3.5984465999999999</c:v>
                </c:pt>
                <c:pt idx="417" formatCode="#\ ##0.0">
                  <c:v>3.4335382000000001</c:v>
                </c:pt>
                <c:pt idx="418" formatCode="#\ ##0.0">
                  <c:v>3.63442</c:v>
                </c:pt>
                <c:pt idx="419" formatCode="#\ ##0.0">
                  <c:v>4.0397132999999998</c:v>
                </c:pt>
                <c:pt idx="420" formatCode="#\ ##0.0">
                  <c:v>4.5124136000000004</c:v>
                </c:pt>
                <c:pt idx="421" formatCode="#\ ##0.0">
                  <c:v>4.7520499999999997</c:v>
                </c:pt>
                <c:pt idx="422" formatCode="#\ ##0.0">
                  <c:v>4.5579537999999999</c:v>
                </c:pt>
                <c:pt idx="423" formatCode="#\ ##0.0">
                  <c:v>5.0025667</c:v>
                </c:pt>
                <c:pt idx="424" formatCode="#\ ##0.0">
                  <c:v>5.004899</c:v>
                </c:pt>
                <c:pt idx="425" formatCode="#\ ##0.0">
                  <c:v>5.7793619999999999</c:v>
                </c:pt>
                <c:pt idx="426" formatCode="#\ ##0.0">
                  <c:v>6.8631732000000003</c:v>
                </c:pt>
                <c:pt idx="427" formatCode="#\ ##0.0">
                  <c:v>7.0359236000000003</c:v>
                </c:pt>
                <c:pt idx="428" formatCode="#\ ##0.0">
                  <c:v>7.8204821000000004</c:v>
                </c:pt>
                <c:pt idx="429" formatCode="#\ ##0.0">
                  <c:v>7.8676107000000002</c:v>
                </c:pt>
                <c:pt idx="430" formatCode="#\ ##0.0">
                  <c:v>9.2365594000000009</c:v>
                </c:pt>
                <c:pt idx="431" formatCode="#\ ##0.0">
                  <c:v>9.2431987000000007</c:v>
                </c:pt>
                <c:pt idx="432" formatCode="#\ ##0.0">
                  <c:v>10.0616641</c:v>
                </c:pt>
                <c:pt idx="433" formatCode="#\ ##0.0">
                  <c:v>11.4378341</c:v>
                </c:pt>
                <c:pt idx="434" formatCode="#\ ##0.0">
                  <c:v>11.870207199999999</c:v>
                </c:pt>
                <c:pt idx="435" formatCode="#\ ##0.0">
                  <c:v>12.5117233</c:v>
                </c:pt>
                <c:pt idx="436" formatCode="#\ ##0.0">
                  <c:v>12.757468899999999</c:v>
                </c:pt>
                <c:pt idx="437" formatCode="#\ ##0.0">
                  <c:v>12.8582</c:v>
                </c:pt>
                <c:pt idx="438" formatCode="#\ ##0.0">
                  <c:v>13.726521099999999</c:v>
                </c:pt>
                <c:pt idx="439" formatCode="#\ ##0.0">
                  <c:v>14.662389900000001</c:v>
                </c:pt>
                <c:pt idx="440" formatCode="#\ ##0.0">
                  <c:v>15.7292481</c:v>
                </c:pt>
                <c:pt idx="441" formatCode="#\ ##0.0">
                  <c:v>15.7327972</c:v>
                </c:pt>
                <c:pt idx="442" formatCode="#\ ##0.0">
                  <c:v>16.321848899999999</c:v>
                </c:pt>
                <c:pt idx="443" formatCode="#\ ##0.0">
                  <c:v>17.091793299999999</c:v>
                </c:pt>
                <c:pt idx="444" formatCode="#\ ##0.0">
                  <c:v>18.057361199999999</c:v>
                </c:pt>
                <c:pt idx="445" formatCode="#\ ##0.0">
                  <c:v>18.284306300000001</c:v>
                </c:pt>
                <c:pt idx="446" formatCode="#\ ##0.0">
                  <c:v>18.8903666</c:v>
                </c:pt>
                <c:pt idx="447" formatCode="#\ ##0.0">
                  <c:v>19.636107599999999</c:v>
                </c:pt>
                <c:pt idx="448" formatCode="#\ ##0.0">
                  <c:v>21.046780099999999</c:v>
                </c:pt>
                <c:pt idx="449" formatCode="#\ ##0.0">
                  <c:v>21.447413000000001</c:v>
                </c:pt>
                <c:pt idx="450" formatCode="#\ ##0.0">
                  <c:v>22.249028800000001</c:v>
                </c:pt>
                <c:pt idx="451" formatCode="#\ ##0.0">
                  <c:v>22.869598100000001</c:v>
                </c:pt>
                <c:pt idx="452" formatCode="#\ ##0.0">
                  <c:v>23.182194299999999</c:v>
                </c:pt>
                <c:pt idx="453" formatCode="#\ ##0.0">
                  <c:v>23.665507600000002</c:v>
                </c:pt>
                <c:pt idx="454" formatCode="#\ ##0.0">
                  <c:v>24.9915156</c:v>
                </c:pt>
                <c:pt idx="455" formatCode="#\ ##0.0">
                  <c:v>25.7308065</c:v>
                </c:pt>
                <c:pt idx="456" formatCode="#\ ##0.0">
                  <c:v>25.3695624</c:v>
                </c:pt>
                <c:pt idx="457" formatCode="#\ ##0.0">
                  <c:v>24.823682000000002</c:v>
                </c:pt>
                <c:pt idx="458" formatCode="#\ ##0.0">
                  <c:v>25.178591399999998</c:v>
                </c:pt>
                <c:pt idx="459" formatCode="#\ ##0.0">
                  <c:v>24.3200401</c:v>
                </c:pt>
                <c:pt idx="460" formatCode="#\ ##0.0">
                  <c:v>24.965361000000001</c:v>
                </c:pt>
                <c:pt idx="461" formatCode="#\ ##0.0">
                  <c:v>25.194156499999998</c:v>
                </c:pt>
                <c:pt idx="462" formatCode="#\ ##0.0">
                  <c:v>25.124583600000001</c:v>
                </c:pt>
                <c:pt idx="463" formatCode="#\ ##0.0">
                  <c:v>25.442195600000002</c:v>
                </c:pt>
                <c:pt idx="464" formatCode="#\ ##0.0">
                  <c:v>25.4634739</c:v>
                </c:pt>
                <c:pt idx="465" formatCode="#\ ##0.0">
                  <c:v>25.440885699999999</c:v>
                </c:pt>
                <c:pt idx="466" formatCode="#\ ##0.0">
                  <c:v>25.0081843</c:v>
                </c:pt>
                <c:pt idx="467" formatCode="#\ ##0.0">
                  <c:v>25.481317900000001</c:v>
                </c:pt>
                <c:pt idx="468" formatCode="#\ ##0.0">
                  <c:v>26.0126527</c:v>
                </c:pt>
                <c:pt idx="469" formatCode="#\ ##0.0">
                  <c:v>25.699176999999999</c:v>
                </c:pt>
                <c:pt idx="470" formatCode="#\ ##0.0">
                  <c:v>24.939027400000001</c:v>
                </c:pt>
                <c:pt idx="471" formatCode="#\ ##0.0">
                  <c:v>23.758504599999998</c:v>
                </c:pt>
                <c:pt idx="472" formatCode="#\ ##0.0">
                  <c:v>23.084236499999999</c:v>
                </c:pt>
                <c:pt idx="473" formatCode="#\ ##0.0">
                  <c:v>21.554350400000001</c:v>
                </c:pt>
                <c:pt idx="474" formatCode="#\ ##0.0">
                  <c:v>22.1814672</c:v>
                </c:pt>
                <c:pt idx="475" formatCode="#\ ##0.0">
                  <c:v>23.6454016</c:v>
                </c:pt>
                <c:pt idx="476" formatCode="#\ ##0.0">
                  <c:v>23.0110341</c:v>
                </c:pt>
                <c:pt idx="477" formatCode="#\ ##0.0">
                  <c:v>21.904556899999999</c:v>
                </c:pt>
                <c:pt idx="478" formatCode="#\ ##0.0">
                  <c:v>21.034429899999999</c:v>
                </c:pt>
                <c:pt idx="479" formatCode="#\ ##0.0">
                  <c:v>19.6049829</c:v>
                </c:pt>
                <c:pt idx="480" formatCode="#\ ##0.0">
                  <c:v>18.9411433</c:v>
                </c:pt>
                <c:pt idx="481" formatCode="#\ ##0.0">
                  <c:v>19.596216399999999</c:v>
                </c:pt>
                <c:pt idx="482" formatCode="#\ ##0.0">
                  <c:v>20.5890992</c:v>
                </c:pt>
                <c:pt idx="483" formatCode="#\ ##0.0">
                  <c:v>20.410808899999999</c:v>
                </c:pt>
                <c:pt idx="484" formatCode="#\ ##0.0">
                  <c:v>19.875559899999999</c:v>
                </c:pt>
                <c:pt idx="485" formatCode="#\ ##0.0">
                  <c:v>18.785269599999999</c:v>
                </c:pt>
                <c:pt idx="486" formatCode="#\ ##0.0">
                  <c:v>18.0980256</c:v>
                </c:pt>
                <c:pt idx="487" formatCode="#\ ##0.0">
                  <c:v>17.412481199999998</c:v>
                </c:pt>
                <c:pt idx="488" formatCode="#\ ##0.0">
                  <c:v>17.306595699999999</c:v>
                </c:pt>
                <c:pt idx="489" formatCode="#\ ##0.0">
                  <c:v>17.070045700000001</c:v>
                </c:pt>
                <c:pt idx="490" formatCode="#\ ##0.0">
                  <c:v>16.535229099999999</c:v>
                </c:pt>
                <c:pt idx="491" formatCode="#\ ##0.0">
                  <c:v>16.040392400000002</c:v>
                </c:pt>
                <c:pt idx="492" formatCode="#\ ##0.0">
                  <c:v>16.233527800000001</c:v>
                </c:pt>
                <c:pt idx="493" formatCode="#\ ##0.0">
                  <c:v>15.418370100000001</c:v>
                </c:pt>
                <c:pt idx="494" formatCode="#\ ##0.0">
                  <c:v>14.6434145</c:v>
                </c:pt>
                <c:pt idx="495" formatCode="#\ ##0.0">
                  <c:v>14.1137733</c:v>
                </c:pt>
                <c:pt idx="496" formatCode="#\ ##0.0">
                  <c:v>14.653226</c:v>
                </c:pt>
                <c:pt idx="497" formatCode="#\ ##0.0">
                  <c:v>13.5050873</c:v>
                </c:pt>
                <c:pt idx="498" formatCode="#\ ##0.0">
                  <c:v>12.513063499999999</c:v>
                </c:pt>
                <c:pt idx="499" formatCode="#\ ##0.0">
                  <c:v>11.4640168</c:v>
                </c:pt>
                <c:pt idx="500" formatCode="#\ ##0.0">
                  <c:v>9.9836794999999992</c:v>
                </c:pt>
                <c:pt idx="501" formatCode="#\ ##0.0">
                  <c:v>9.2411604000000001</c:v>
                </c:pt>
                <c:pt idx="502" formatCode="#\ ##0.0">
                  <c:v>9.2864345000000004</c:v>
                </c:pt>
                <c:pt idx="503" formatCode="#\ ##0.0">
                  <c:v>9.151168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OCK_Na_JIP_100_000_nyni</c:v>
          </c:tx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#\ ##0.0">
                  <c:v>2.7888090000000001</c:v>
                </c:pt>
                <c:pt idx="182" formatCode="#\ ##0.0">
                  <c:v>2.6543363000000002</c:v>
                </c:pt>
                <c:pt idx="183" formatCode="#\ ##0.0">
                  <c:v>2.5422392999999999</c:v>
                </c:pt>
                <c:pt idx="184" formatCode="#\ ##0.0">
                  <c:v>1.953516</c:v>
                </c:pt>
                <c:pt idx="185" formatCode="#\ ##0.0">
                  <c:v>0.94278689999999998</c:v>
                </c:pt>
                <c:pt idx="186" formatCode="#\ ##0.0">
                  <c:v>0.93754539999999997</c:v>
                </c:pt>
                <c:pt idx="187" formatCode="#\ ##0.0">
                  <c:v>0.93306639999999996</c:v>
                </c:pt>
                <c:pt idx="188" formatCode="#\ ##0.0">
                  <c:v>0.90751510000000002</c:v>
                </c:pt>
                <c:pt idx="189" formatCode="#\ ##0.0">
                  <c:v>0.8796351</c:v>
                </c:pt>
                <c:pt idx="190" formatCode="#\ ##0.0">
                  <c:v>0.85687959999999996</c:v>
                </c:pt>
                <c:pt idx="191" formatCode="#\ ##0.0">
                  <c:v>0.4184853</c:v>
                </c:pt>
                <c:pt idx="192" formatCode="#\ ##0.0">
                  <c:v>1.227943</c:v>
                </c:pt>
                <c:pt idx="193" formatCode="#\ ##0.0">
                  <c:v>1.6335198</c:v>
                </c:pt>
                <c:pt idx="194" formatCode="#\ ##0.0">
                  <c:v>1.6298457</c:v>
                </c:pt>
                <c:pt idx="195" formatCode="#\ ##0.0">
                  <c:v>1.2054339999999999</c:v>
                </c:pt>
                <c:pt idx="196" formatCode="#\ ##0.0">
                  <c:v>1.1884906</c:v>
                </c:pt>
                <c:pt idx="197" formatCode="#\ ##0.0">
                  <c:v>1.9460856</c:v>
                </c:pt>
                <c:pt idx="198" formatCode="#\ ##0.0">
                  <c:v>1.5289701</c:v>
                </c:pt>
                <c:pt idx="199" formatCode="#\ ##0.0">
                  <c:v>1.1234356000000001</c:v>
                </c:pt>
                <c:pt idx="200" formatCode="#\ ##0.0">
                  <c:v>1.1198250000000001</c:v>
                </c:pt>
                <c:pt idx="201" formatCode="#\ ##0.0">
                  <c:v>1.8605274000000001</c:v>
                </c:pt>
                <c:pt idx="202" formatCode="#\ ##0.0">
                  <c:v>1.4619989</c:v>
                </c:pt>
                <c:pt idx="203" formatCode="#\ ##0.0">
                  <c:v>2.5001517</c:v>
                </c:pt>
                <c:pt idx="204" formatCode="#\ ##0.0">
                  <c:v>2.0910076000000002</c:v>
                </c:pt>
                <c:pt idx="205" formatCode="#\ ##0.0">
                  <c:v>2.7089717000000002</c:v>
                </c:pt>
                <c:pt idx="206" formatCode="#\ ##0.0">
                  <c:v>1.9749185</c:v>
                </c:pt>
                <c:pt idx="207" formatCode="#\ ##0.0">
                  <c:v>1.6386887000000001</c:v>
                </c:pt>
                <c:pt idx="208" formatCode="#\ ##0.0">
                  <c:v>1.3060115000000001</c:v>
                </c:pt>
                <c:pt idx="209" formatCode="#\ ##0.0">
                  <c:v>0.95221160000000005</c:v>
                </c:pt>
                <c:pt idx="210" formatCode="#\ ##0.0">
                  <c:v>1.8427800999999999</c:v>
                </c:pt>
                <c:pt idx="211" formatCode="#\ ##0.0">
                  <c:v>2.0826886</c:v>
                </c:pt>
                <c:pt idx="212" formatCode="#\ ##0.0">
                  <c:v>2.0084814999999998</c:v>
                </c:pt>
                <c:pt idx="213" formatCode="#\ ##0.0">
                  <c:v>1.3807081000000001</c:v>
                </c:pt>
                <c:pt idx="214" formatCode="#\ ##0.0">
                  <c:v>1.0984062000000001</c:v>
                </c:pt>
                <c:pt idx="215" formatCode="#\ ##0.0">
                  <c:v>1.3671549000000001</c:v>
                </c:pt>
                <c:pt idx="216" formatCode="#\ ##0.0">
                  <c:v>1.0575631000000001</c:v>
                </c:pt>
                <c:pt idx="217" formatCode="#\ ##0.0">
                  <c:v>1.0214791000000001</c:v>
                </c:pt>
                <c:pt idx="218" formatCode="#\ ##0.0">
                  <c:v>0.98199510000000001</c:v>
                </c:pt>
                <c:pt idx="219" formatCode="#\ ##0.0">
                  <c:v>0.70557190000000003</c:v>
                </c:pt>
                <c:pt idx="220" formatCode="#\ ##0.0">
                  <c:v>0.67767049999999995</c:v>
                </c:pt>
                <c:pt idx="221" formatCode="#\ ##0.0">
                  <c:v>1.3406651999999999</c:v>
                </c:pt>
                <c:pt idx="222" formatCode="#\ ##0.0">
                  <c:v>1.3283564000000001</c:v>
                </c:pt>
                <c:pt idx="223" formatCode="#\ ##0.0">
                  <c:v>0.84669519999999998</c:v>
                </c:pt>
                <c:pt idx="224" formatCode="#\ ##0.0">
                  <c:v>0.40436139999999998</c:v>
                </c:pt>
                <c:pt idx="225" formatCode="#\ ##0.0">
                  <c:v>0.57507169999999996</c:v>
                </c:pt>
                <c:pt idx="226" formatCode="#\ ##0.0">
                  <c:v>0.54177529999999996</c:v>
                </c:pt>
                <c:pt idx="227" formatCode="#\ ##0.0">
                  <c:v>0.35302810000000001</c:v>
                </c:pt>
                <c:pt idx="228" formatCode="#\ ##0.0">
                  <c:v>0.3463485</c:v>
                </c:pt>
                <c:pt idx="229" formatCode="#\ ##0.0">
                  <c:v>0.51161880000000004</c:v>
                </c:pt>
                <c:pt idx="230" formatCode="#\ ##0.0">
                  <c:v>0.84236200000000006</c:v>
                </c:pt>
                <c:pt idx="231" formatCode="#\ ##0.0">
                  <c:v>0.48166999999999999</c:v>
                </c:pt>
                <c:pt idx="232" formatCode="#\ ##0.0">
                  <c:v>0.46506789999999998</c:v>
                </c:pt>
                <c:pt idx="233" formatCode="#\ ##0.0">
                  <c:v>1.0353482000000001</c:v>
                </c:pt>
                <c:pt idx="234" formatCode="#\ ##0.0">
                  <c:v>0.70792449999999996</c:v>
                </c:pt>
                <c:pt idx="235" formatCode="#\ ##0.0">
                  <c:v>0.83149589999999995</c:v>
                </c:pt>
                <c:pt idx="236" formatCode="#\ ##0.0">
                  <c:v>1.3667886</c:v>
                </c:pt>
                <c:pt idx="237" formatCode="#\ ##0.0">
                  <c:v>1.5856551000000001</c:v>
                </c:pt>
                <c:pt idx="238" formatCode="#\ ##0.0">
                  <c:v>1.5329037000000001</c:v>
                </c:pt>
                <c:pt idx="239" formatCode="#\ ##0.0">
                  <c:v>1.3576978</c:v>
                </c:pt>
                <c:pt idx="240" formatCode="#\ ##0.0">
                  <c:v>1.0766039000000001</c:v>
                </c:pt>
                <c:pt idx="241" formatCode="#\ ##0.0">
                  <c:v>1.0445282</c:v>
                </c:pt>
                <c:pt idx="242" formatCode="#\ ##0.0">
                  <c:v>0.91884209999999999</c:v>
                </c:pt>
                <c:pt idx="243" formatCode="#\ ##0.0">
                  <c:v>0.79941070000000003</c:v>
                </c:pt>
                <c:pt idx="244" formatCode="#\ ##0.0">
                  <c:v>0.89778290000000005</c:v>
                </c:pt>
                <c:pt idx="245" formatCode="#\ ##0.0">
                  <c:v>0.88207040000000003</c:v>
                </c:pt>
                <c:pt idx="246" formatCode="#\ ##0.0">
                  <c:v>0.86832500000000001</c:v>
                </c:pt>
                <c:pt idx="247" formatCode="#\ ##0.0">
                  <c:v>1.0652950999999999</c:v>
                </c:pt>
                <c:pt idx="248" formatCode="#\ ##0.0">
                  <c:v>0.94660509999999998</c:v>
                </c:pt>
                <c:pt idx="249" formatCode="#\ ##0.0">
                  <c:v>0.73219990000000001</c:v>
                </c:pt>
                <c:pt idx="250" formatCode="#\ ##0.0">
                  <c:v>0.72915070000000004</c:v>
                </c:pt>
                <c:pt idx="251" formatCode="#\ ##0.0">
                  <c:v>1.0335116</c:v>
                </c:pt>
                <c:pt idx="252" formatCode="#\ ##0.0">
                  <c:v>1.0205997</c:v>
                </c:pt>
                <c:pt idx="253" formatCode="#\ ##0.0">
                  <c:v>0.80496820000000002</c:v>
                </c:pt>
                <c:pt idx="254" formatCode="#\ ##0.0">
                  <c:v>0.79228860000000001</c:v>
                </c:pt>
                <c:pt idx="255" formatCode="#\ ##0.0">
                  <c:v>0.78453130000000004</c:v>
                </c:pt>
                <c:pt idx="256" formatCode="#\ ##0.0">
                  <c:v>0.68414620000000004</c:v>
                </c:pt>
                <c:pt idx="257" formatCode="#\ ##0.0">
                  <c:v>0.68262509999999998</c:v>
                </c:pt>
                <c:pt idx="258" formatCode="#\ ##0.0">
                  <c:v>0.67926600000000004</c:v>
                </c:pt>
                <c:pt idx="259" formatCode="#\ ##0.0">
                  <c:v>0.57754439999999996</c:v>
                </c:pt>
                <c:pt idx="260" formatCode="#\ ##0.0">
                  <c:v>0.47696359999999999</c:v>
                </c:pt>
                <c:pt idx="261" formatCode="#\ ##0.0">
                  <c:v>0.47212739999999997</c:v>
                </c:pt>
                <c:pt idx="262" formatCode="#\ ##0.0">
                  <c:v>0.46765509999999999</c:v>
                </c:pt>
                <c:pt idx="263" formatCode="#\ ##0.0">
                  <c:v>0.56025329999999995</c:v>
                </c:pt>
                <c:pt idx="264" formatCode="#\ ##0.0">
                  <c:v>0.65288820000000003</c:v>
                </c:pt>
                <c:pt idx="265" formatCode="#\ ##0.0">
                  <c:v>0.46322370000000002</c:v>
                </c:pt>
                <c:pt idx="266" formatCode="#\ ##0.0">
                  <c:v>0.36757400000000001</c:v>
                </c:pt>
                <c:pt idx="267" formatCode="#\ ##0.0">
                  <c:v>0.27338780000000001</c:v>
                </c:pt>
                <c:pt idx="268" formatCode="#\ ##0.0">
                  <c:v>0.45186910000000002</c:v>
                </c:pt>
                <c:pt idx="269" formatCode="#\ ##0.0">
                  <c:v>0.3589639</c:v>
                </c:pt>
                <c:pt idx="270" formatCode="#\ ##0.0">
                  <c:v>0.17911779999999999</c:v>
                </c:pt>
                <c:pt idx="271" formatCode="#\ ##0.0">
                  <c:v>0.35782720000000001</c:v>
                </c:pt>
                <c:pt idx="272" formatCode="#\ ##0.0">
                  <c:v>0.26676240000000001</c:v>
                </c:pt>
                <c:pt idx="273" formatCode="#\ ##0.0">
                  <c:v>0.26369029999999999</c:v>
                </c:pt>
                <c:pt idx="274" formatCode="#\ ##0.0">
                  <c:v>0.34696440000000001</c:v>
                </c:pt>
                <c:pt idx="275" formatCode="#\ ##0.0">
                  <c:v>0.33900859999999999</c:v>
                </c:pt>
                <c:pt idx="276" formatCode="#\ ##0.0">
                  <c:v>0.24840680000000001</c:v>
                </c:pt>
                <c:pt idx="277" formatCode="#\ ##0.0">
                  <c:v>0.16408039999999999</c:v>
                </c:pt>
                <c:pt idx="278" formatCode="#\ ##0.0">
                  <c:v>0.16287209999999999</c:v>
                </c:pt>
                <c:pt idx="279" formatCode="#\ ##0.0">
                  <c:v>0.23778830000000001</c:v>
                </c:pt>
                <c:pt idx="280" formatCode="#\ ##0.0">
                  <c:v>0.15414800000000001</c:v>
                </c:pt>
                <c:pt idx="281" formatCode="#\ ##0.0">
                  <c:v>7.4906200000000006E-2</c:v>
                </c:pt>
                <c:pt idx="282" formatCode="#\ ##0.0">
                  <c:v>0.14468059999999999</c:v>
                </c:pt>
                <c:pt idx="283" formatCode="#\ ##0.0">
                  <c:v>0.13996349999999999</c:v>
                </c:pt>
                <c:pt idx="284" formatCode="#\ ##0.0">
                  <c:v>0.13830690000000001</c:v>
                </c:pt>
                <c:pt idx="285" formatCode="#\ ##0.0">
                  <c:v>0.13693820000000001</c:v>
                </c:pt>
                <c:pt idx="286" formatCode="#\ ##0.0">
                  <c:v>0.1326224</c:v>
                </c:pt>
                <c:pt idx="287" formatCode="#\ ##0.0">
                  <c:v>0.1284593</c:v>
                </c:pt>
                <c:pt idx="288" formatCode="#\ ##0.0">
                  <c:v>0.124153</c:v>
                </c:pt>
                <c:pt idx="289" formatCode="#\ ##0.0">
                  <c:v>5.9839400000000001E-2</c:v>
                </c:pt>
                <c:pt idx="290" formatCode="#\ ##0.0">
                  <c:v>5.78515E-2</c:v>
                </c:pt>
                <c:pt idx="291" formatCode="#\ ##0.0">
                  <c:v>5.7226300000000001E-2</c:v>
                </c:pt>
                <c:pt idx="292" formatCode="#\ ##0.0">
                  <c:v>0.1134684</c:v>
                </c:pt>
                <c:pt idx="293" formatCode="#\ ##0.0">
                  <c:v>0.1099957</c:v>
                </c:pt>
                <c:pt idx="294" formatCode="#\ ##0.0">
                  <c:v>0.1067659</c:v>
                </c:pt>
                <c:pt idx="295" formatCode="#\ ##0.0">
                  <c:v>0.10320360000000001</c:v>
                </c:pt>
                <c:pt idx="296" formatCode="#\ ##0.0">
                  <c:v>9.9542099999999994E-2</c:v>
                </c:pt>
                <c:pt idx="297" formatCode="#\ ##0.0">
                  <c:v>9.6199999999999994E-2</c:v>
                </c:pt>
                <c:pt idx="298" formatCode="#\ ##0.0">
                  <c:v>9.5246600000000001E-2</c:v>
                </c:pt>
                <c:pt idx="299" formatCode="#\ ##0.0">
                  <c:v>9.4418299999999997E-2</c:v>
                </c:pt>
                <c:pt idx="300" formatCode="#\ ##0.0">
                  <c:v>9.1214600000000007E-2</c:v>
                </c:pt>
                <c:pt idx="301" formatCode="#\ ##0.0">
                  <c:v>8.8299199999999994E-2</c:v>
                </c:pt>
                <c:pt idx="302" formatCode="#\ ##0.0">
                  <c:v>8.5350800000000004E-2</c:v>
                </c:pt>
                <c:pt idx="303" formatCode="#\ ##0.0">
                  <c:v>8.2427500000000001E-2</c:v>
                </c:pt>
                <c:pt idx="304" formatCode="#\ ##0.0">
                  <c:v>7.9778699999999994E-2</c:v>
                </c:pt>
                <c:pt idx="305" formatCode="#\ ##0.0">
                  <c:v>3.9428199999999997E-2</c:v>
                </c:pt>
                <c:pt idx="306" formatCode="#\ ##0.0">
                  <c:v>3.90608E-2</c:v>
                </c:pt>
                <c:pt idx="307" formatCode="#\ ##0.0">
                  <c:v>0</c:v>
                </c:pt>
                <c:pt idx="308" formatCode="#\ ##0.0">
                  <c:v>0</c:v>
                </c:pt>
                <c:pt idx="309" formatCode="#\ ##0.0">
                  <c:v>0</c:v>
                </c:pt>
                <c:pt idx="310" formatCode="#\ ##0.0">
                  <c:v>0</c:v>
                </c:pt>
                <c:pt idx="311" formatCode="#\ ##0.0">
                  <c:v>0</c:v>
                </c:pt>
                <c:pt idx="312" formatCode="#\ ##0.0">
                  <c:v>0</c:v>
                </c:pt>
                <c:pt idx="313" formatCode="#\ ##0.0">
                  <c:v>0</c:v>
                </c:pt>
                <c:pt idx="314" formatCode="#\ ##0.0">
                  <c:v>0</c:v>
                </c:pt>
                <c:pt idx="315" formatCode="#\ ##0.0">
                  <c:v>3.1097E-2</c:v>
                </c:pt>
                <c:pt idx="316" formatCode="#\ ##0.0">
                  <c:v>6.0482300000000003E-2</c:v>
                </c:pt>
                <c:pt idx="317" formatCode="#\ ##0.0">
                  <c:v>5.8878399999999997E-2</c:v>
                </c:pt>
                <c:pt idx="318" formatCode="#\ ##0.0">
                  <c:v>8.6139800000000002E-2</c:v>
                </c:pt>
                <c:pt idx="319" formatCode="#\ ##0.0">
                  <c:v>5.6911299999999998E-2</c:v>
                </c:pt>
                <c:pt idx="320" formatCode="#\ ##0.0">
                  <c:v>5.6560399999999997E-2</c:v>
                </c:pt>
                <c:pt idx="321" formatCode="#\ ##0.0">
                  <c:v>2.8078599999999999E-2</c:v>
                </c:pt>
                <c:pt idx="322" formatCode="#\ ##0.0">
                  <c:v>2.7862100000000001E-2</c:v>
                </c:pt>
                <c:pt idx="323" formatCode="#\ ##0.0">
                  <c:v>5.4524200000000002E-2</c:v>
                </c:pt>
                <c:pt idx="324" formatCode="#\ ##0.0">
                  <c:v>5.3498499999999997E-2</c:v>
                </c:pt>
                <c:pt idx="325" formatCode="#\ ##0.0">
                  <c:v>7.8787099999999999E-2</c:v>
                </c:pt>
                <c:pt idx="326" formatCode="#\ ##0.0">
                  <c:v>7.8198599999999993E-2</c:v>
                </c:pt>
                <c:pt idx="327" formatCode="#\ ##0.0">
                  <c:v>7.7734899999999996E-2</c:v>
                </c:pt>
                <c:pt idx="328" formatCode="#\ ##0.0">
                  <c:v>7.6367900000000002E-2</c:v>
                </c:pt>
                <c:pt idx="329" formatCode="#\ ##0.0">
                  <c:v>7.5033500000000003E-2</c:v>
                </c:pt>
                <c:pt idx="330" formatCode="#\ ##0.0">
                  <c:v>7.3706599999999997E-2</c:v>
                </c:pt>
                <c:pt idx="331" formatCode="#\ ##0.0">
                  <c:v>0.145061</c:v>
                </c:pt>
                <c:pt idx="332" formatCode="#\ ##0.0">
                  <c:v>0.14255490000000001</c:v>
                </c:pt>
                <c:pt idx="333" formatCode="#\ ##0.0">
                  <c:v>0.16508120000000001</c:v>
                </c:pt>
                <c:pt idx="334" formatCode="#\ ##0.0">
                  <c:v>0.16407550000000001</c:v>
                </c:pt>
                <c:pt idx="335" formatCode="#\ ##0.0">
                  <c:v>0.1153844</c:v>
                </c:pt>
                <c:pt idx="336" formatCode="#\ ##0.0">
                  <c:v>0.1136269</c:v>
                </c:pt>
                <c:pt idx="337" formatCode="#\ ##0.0">
                  <c:v>0.1120119</c:v>
                </c:pt>
                <c:pt idx="338" formatCode="#\ ##0.0">
                  <c:v>0.1105623</c:v>
                </c:pt>
                <c:pt idx="339" formatCode="#\ ##0.0">
                  <c:v>6.5547499999999995E-2</c:v>
                </c:pt>
                <c:pt idx="340" formatCode="#\ ##0.0">
                  <c:v>2.1718100000000001E-2</c:v>
                </c:pt>
                <c:pt idx="341" formatCode="#\ ##0.0">
                  <c:v>4.3228900000000001E-2</c:v>
                </c:pt>
                <c:pt idx="342" formatCode="#\ ##0.0">
                  <c:v>6.4170099999999994E-2</c:v>
                </c:pt>
                <c:pt idx="343" formatCode="#\ ##0.0">
                  <c:v>6.35376E-2</c:v>
                </c:pt>
                <c:pt idx="344" formatCode="#\ ##0.0">
                  <c:v>6.2934100000000007E-2</c:v>
                </c:pt>
                <c:pt idx="345" formatCode="#\ ##0.0">
                  <c:v>6.2394999999999999E-2</c:v>
                </c:pt>
                <c:pt idx="346" formatCode="#\ ##0.0">
                  <c:v>4.1241199999999999E-2</c:v>
                </c:pt>
                <c:pt idx="347" formatCode="#\ ##0.0">
                  <c:v>4.1076599999999998E-2</c:v>
                </c:pt>
                <c:pt idx="348" formatCode="#\ ##0.0">
                  <c:v>2.0470700000000001E-2</c:v>
                </c:pt>
                <c:pt idx="349" formatCode="#\ ##0.0">
                  <c:v>4.0634700000000003E-2</c:v>
                </c:pt>
                <c:pt idx="350" formatCode="#\ ##0.0">
                  <c:v>4.0334500000000002E-2</c:v>
                </c:pt>
                <c:pt idx="351" formatCode="#\ ##0.0">
                  <c:v>4.0053400000000003E-2</c:v>
                </c:pt>
                <c:pt idx="352" formatCode="#\ ##0.0">
                  <c:v>9.9383100000000002E-2</c:v>
                </c:pt>
                <c:pt idx="353" formatCode="#\ ##0.0">
                  <c:v>0.1183126</c:v>
                </c:pt>
                <c:pt idx="354" formatCode="#\ ##0.0">
                  <c:v>9.8246200000000006E-2</c:v>
                </c:pt>
                <c:pt idx="355" formatCode="#\ ##0.0">
                  <c:v>9.7950200000000001E-2</c:v>
                </c:pt>
                <c:pt idx="356" formatCode="#\ ##0.0">
                  <c:v>9.7151199999999993E-2</c:v>
                </c:pt>
                <c:pt idx="357" formatCode="#\ ##0.0">
                  <c:v>0.11575589999999999</c:v>
                </c:pt>
                <c:pt idx="358" formatCode="#\ ##0.0">
                  <c:v>0.13402610000000001</c:v>
                </c:pt>
                <c:pt idx="359" formatCode="#\ ##0.0">
                  <c:v>0.11416370000000001</c:v>
                </c:pt>
                <c:pt idx="360" formatCode="#\ ##0.0">
                  <c:v>9.4476900000000003E-2</c:v>
                </c:pt>
                <c:pt idx="361" formatCode="#\ ##0.0">
                  <c:v>9.4301800000000005E-2</c:v>
                </c:pt>
                <c:pt idx="362" formatCode="#\ ##0.0">
                  <c:v>5.6480200000000001E-2</c:v>
                </c:pt>
                <c:pt idx="363" formatCode="#\ ##0.0">
                  <c:v>7.48862E-2</c:v>
                </c:pt>
                <c:pt idx="364" formatCode="#\ ##0.0">
                  <c:v>5.5920999999999998E-2</c:v>
                </c:pt>
                <c:pt idx="365" formatCode="#\ ##0.0">
                  <c:v>5.5568399999999997E-2</c:v>
                </c:pt>
                <c:pt idx="366" formatCode="#\ ##0.0">
                  <c:v>7.3650400000000005E-2</c:v>
                </c:pt>
                <c:pt idx="367" formatCode="#\ ##0.0">
                  <c:v>3.6589499999999997E-2</c:v>
                </c:pt>
                <c:pt idx="368" formatCode="#\ ##0.0">
                  <c:v>3.6509699999999999E-2</c:v>
                </c:pt>
                <c:pt idx="369" formatCode="#\ ##0.0">
                  <c:v>3.6443700000000002E-2</c:v>
                </c:pt>
                <c:pt idx="370" formatCode="#\ ##0.0">
                  <c:v>9.0545899999999999E-2</c:v>
                </c:pt>
                <c:pt idx="371" formatCode="#\ ##0.0">
                  <c:v>0.1081086</c:v>
                </c:pt>
                <c:pt idx="372" formatCode="#\ ##0.0">
                  <c:v>0.1076343</c:v>
                </c:pt>
                <c:pt idx="373" formatCode="#\ ##0.0">
                  <c:v>0.12509310000000001</c:v>
                </c:pt>
                <c:pt idx="374" formatCode="#\ ##0.0">
                  <c:v>0.1245898</c:v>
                </c:pt>
                <c:pt idx="375" formatCode="#\ ##0.0">
                  <c:v>0.14223520000000001</c:v>
                </c:pt>
                <c:pt idx="376" formatCode="#\ ##0.0">
                  <c:v>0.1598667</c:v>
                </c:pt>
                <c:pt idx="377" formatCode="#\ ##0.0">
                  <c:v>0.21250079999999999</c:v>
                </c:pt>
                <c:pt idx="378" formatCode="#\ ##0.0">
                  <c:v>0.24727979999999999</c:v>
                </c:pt>
                <c:pt idx="379" formatCode="#\ ##0.0">
                  <c:v>0.21155570000000001</c:v>
                </c:pt>
                <c:pt idx="380" formatCode="#\ ##0.0">
                  <c:v>0.2111382</c:v>
                </c:pt>
                <c:pt idx="381" formatCode="#\ ##0.0">
                  <c:v>0.2457599</c:v>
                </c:pt>
                <c:pt idx="382" formatCode="#\ ##0.0">
                  <c:v>0.24562139999999999</c:v>
                </c:pt>
                <c:pt idx="383" formatCode="#\ ##0.0">
                  <c:v>0.1753662</c:v>
                </c:pt>
                <c:pt idx="384" formatCode="#\ ##0.0">
                  <c:v>0.2100532</c:v>
                </c:pt>
                <c:pt idx="385" formatCode="#\ ##0.0">
                  <c:v>0.17475940000000001</c:v>
                </c:pt>
                <c:pt idx="386" formatCode="#\ ##0.0">
                  <c:v>0.15705769999999999</c:v>
                </c:pt>
                <c:pt idx="387" formatCode="#\ ##0.0">
                  <c:v>0.1568389</c:v>
                </c:pt>
                <c:pt idx="388" formatCode="#\ ##0.0">
                  <c:v>0.1565645</c:v>
                </c:pt>
                <c:pt idx="389" formatCode="#\ ##0.0">
                  <c:v>0.1912827</c:v>
                </c:pt>
                <c:pt idx="390" formatCode="#\ ##0.0">
                  <c:v>0.17385049999999999</c:v>
                </c:pt>
                <c:pt idx="391" formatCode="#\ ##0.0">
                  <c:v>0.17358979999999999</c:v>
                </c:pt>
                <c:pt idx="392" formatCode="#\ ##0.0">
                  <c:v>0.17337459999999999</c:v>
                </c:pt>
                <c:pt idx="393" formatCode="#\ ##0.0">
                  <c:v>0.15585360000000001</c:v>
                </c:pt>
                <c:pt idx="394" formatCode="#\ ##0.0">
                  <c:v>0.17297029999999999</c:v>
                </c:pt>
                <c:pt idx="395" formatCode="#\ ##0.0">
                  <c:v>0.15544340000000001</c:v>
                </c:pt>
                <c:pt idx="396" formatCode="#\ ##0.0">
                  <c:v>0.17265559999999999</c:v>
                </c:pt>
                <c:pt idx="397" formatCode="#\ ##0.0">
                  <c:v>0.22440009999999999</c:v>
                </c:pt>
                <c:pt idx="398" formatCode="#\ ##0.0">
                  <c:v>0.24140490000000001</c:v>
                </c:pt>
                <c:pt idx="399" formatCode="#\ ##0.0">
                  <c:v>0.34455059999999998</c:v>
                </c:pt>
                <c:pt idx="400" formatCode="#\ ##0.0">
                  <c:v>0.43038850000000001</c:v>
                </c:pt>
                <c:pt idx="401" formatCode="#\ ##0.0">
                  <c:v>0.3956635</c:v>
                </c:pt>
                <c:pt idx="402" formatCode="#\ ##0.0">
                  <c:v>0.3779788</c:v>
                </c:pt>
                <c:pt idx="403" formatCode="#\ ##0.0">
                  <c:v>0.37787110000000002</c:v>
                </c:pt>
                <c:pt idx="404" formatCode="#\ ##0.0">
                  <c:v>0.41212860000000001</c:v>
                </c:pt>
                <c:pt idx="405" formatCode="#\ ##0.0">
                  <c:v>0.56620389999999998</c:v>
                </c:pt>
                <c:pt idx="406" formatCode="#\ ##0.0">
                  <c:v>0.54900590000000005</c:v>
                </c:pt>
                <c:pt idx="407" formatCode="#\ ##0.0">
                  <c:v>0.54851629999999996</c:v>
                </c:pt>
                <c:pt idx="408" formatCode="#\ ##0.0">
                  <c:v>0.58231259999999996</c:v>
                </c:pt>
                <c:pt idx="409" formatCode="#\ ##0.0">
                  <c:v>0.58185180000000003</c:v>
                </c:pt>
                <c:pt idx="410" formatCode="#\ ##0.0">
                  <c:v>0.53039780000000003</c:v>
                </c:pt>
                <c:pt idx="411" formatCode="#\ ##0.0">
                  <c:v>0.56455040000000001</c:v>
                </c:pt>
                <c:pt idx="412" formatCode="#\ ##0.0">
                  <c:v>0.75233910000000004</c:v>
                </c:pt>
                <c:pt idx="413" formatCode="#\ ##0.0">
                  <c:v>0.73496870000000003</c:v>
                </c:pt>
                <c:pt idx="414" formatCode="#\ ##0.0">
                  <c:v>0.63224000000000002</c:v>
                </c:pt>
                <c:pt idx="415" formatCode="#\ ##0.0">
                  <c:v>0.61493509999999996</c:v>
                </c:pt>
                <c:pt idx="416" formatCode="#\ ##0.0">
                  <c:v>0.73428249999999995</c:v>
                </c:pt>
                <c:pt idx="417" formatCode="#\ ##0.0">
                  <c:v>0.78537579999999996</c:v>
                </c:pt>
                <c:pt idx="418" formatCode="#\ ##0.0">
                  <c:v>0.87067170000000005</c:v>
                </c:pt>
                <c:pt idx="419" formatCode="#\ ##0.0">
                  <c:v>0.81929110000000005</c:v>
                </c:pt>
                <c:pt idx="420" formatCode="#\ ##0.0">
                  <c:v>0.98996649999999997</c:v>
                </c:pt>
                <c:pt idx="421" formatCode="#\ ##0.0">
                  <c:v>1.2120247</c:v>
                </c:pt>
                <c:pt idx="422" formatCode="#\ ##0.0">
                  <c:v>1.1950327000000001</c:v>
                </c:pt>
                <c:pt idx="423" formatCode="#\ ##0.0">
                  <c:v>1.3827689999999999</c:v>
                </c:pt>
                <c:pt idx="424" formatCode="#\ ##0.0">
                  <c:v>1.4851190999999999</c:v>
                </c:pt>
                <c:pt idx="425" formatCode="#\ ##0.0">
                  <c:v>1.57036</c:v>
                </c:pt>
                <c:pt idx="426" formatCode="#\ ##0.0">
                  <c:v>1.7762420000000001</c:v>
                </c:pt>
                <c:pt idx="427" formatCode="#\ ##0.0">
                  <c:v>1.7960912</c:v>
                </c:pt>
                <c:pt idx="428" formatCode="#\ ##0.0">
                  <c:v>1.8509253999999999</c:v>
                </c:pt>
                <c:pt idx="429" formatCode="#\ ##0.0">
                  <c:v>1.8377345</c:v>
                </c:pt>
                <c:pt idx="430" formatCode="#\ ##0.0">
                  <c:v>1.8418433999999999</c:v>
                </c:pt>
                <c:pt idx="431" formatCode="#\ ##0.0">
                  <c:v>1.9284237</c:v>
                </c:pt>
                <c:pt idx="432" formatCode="#\ ##0.0">
                  <c:v>2.1181047999999998</c:v>
                </c:pt>
                <c:pt idx="433" formatCode="#\ ##0.0">
                  <c:v>2.2614907999999998</c:v>
                </c:pt>
                <c:pt idx="434" formatCode="#\ ##0.0">
                  <c:v>2.302492</c:v>
                </c:pt>
                <c:pt idx="435" formatCode="#\ ##0.0">
                  <c:v>2.3624079</c:v>
                </c:pt>
                <c:pt idx="436" formatCode="#\ ##0.0">
                  <c:v>2.3982382000000002</c:v>
                </c:pt>
                <c:pt idx="437" formatCode="#\ ##0.0">
                  <c:v>2.4901819999999999</c:v>
                </c:pt>
                <c:pt idx="438" formatCode="#\ ##0.0">
                  <c:v>2.6647837000000001</c:v>
                </c:pt>
                <c:pt idx="439" formatCode="#\ ##0.0">
                  <c:v>2.8918998999999999</c:v>
                </c:pt>
                <c:pt idx="440" formatCode="#\ ##0.0">
                  <c:v>3.09144</c:v>
                </c:pt>
                <c:pt idx="441" formatCode="#\ ##0.0">
                  <c:v>3.1715458999999999</c:v>
                </c:pt>
                <c:pt idx="442" formatCode="#\ ##0.0">
                  <c:v>3.6597032</c:v>
                </c:pt>
                <c:pt idx="443" formatCode="#\ ##0.0">
                  <c:v>3.7278946999999998</c:v>
                </c:pt>
                <c:pt idx="444" formatCode="#\ ##0.0">
                  <c:v>3.8122986999999999</c:v>
                </c:pt>
                <c:pt idx="445" formatCode="#\ ##0.0">
                  <c:v>3.8149253000000001</c:v>
                </c:pt>
                <c:pt idx="446" formatCode="#\ ##0.0">
                  <c:v>4.0295401999999996</c:v>
                </c:pt>
                <c:pt idx="447" formatCode="#\ ##0.0">
                  <c:v>4.3451525000000002</c:v>
                </c:pt>
                <c:pt idx="448" formatCode="#\ ##0.0">
                  <c:v>4.3438483000000003</c:v>
                </c:pt>
                <c:pt idx="449" formatCode="#\ ##0.0">
                  <c:v>4.3609526000000001</c:v>
                </c:pt>
                <c:pt idx="450" formatCode="#\ ##0.0">
                  <c:v>4.4481029000000003</c:v>
                </c:pt>
                <c:pt idx="451" formatCode="#\ ##0.0">
                  <c:v>4.5331242999999999</c:v>
                </c:pt>
                <c:pt idx="452" formatCode="#\ ##0.0">
                  <c:v>4.6432007000000004</c:v>
                </c:pt>
                <c:pt idx="453" formatCode="#\ ##0.0">
                  <c:v>4.6077212000000003</c:v>
                </c:pt>
                <c:pt idx="454" formatCode="#\ ##0.0">
                  <c:v>4.7812479000000003</c:v>
                </c:pt>
                <c:pt idx="455" formatCode="#\ ##0.0">
                  <c:v>4.5954287999999996</c:v>
                </c:pt>
                <c:pt idx="456" formatCode="#\ ##0.0">
                  <c:v>4.6690192000000001</c:v>
                </c:pt>
                <c:pt idx="457" formatCode="#\ ##0.0">
                  <c:v>4.7909410000000001</c:v>
                </c:pt>
                <c:pt idx="458" formatCode="#\ ##0.0">
                  <c:v>4.6354036000000001</c:v>
                </c:pt>
                <c:pt idx="459" formatCode="#\ ##0.0">
                  <c:v>4.5813077</c:v>
                </c:pt>
                <c:pt idx="460" formatCode="#\ ##0.0">
                  <c:v>4.6903484000000004</c:v>
                </c:pt>
                <c:pt idx="461" formatCode="#\ ##0.0">
                  <c:v>4.9726122000000004</c:v>
                </c:pt>
                <c:pt idx="462" formatCode="#\ ##0.0">
                  <c:v>5.2076093999999999</c:v>
                </c:pt>
                <c:pt idx="463" formatCode="#\ ##0.0">
                  <c:v>5.2582335000000002</c:v>
                </c:pt>
                <c:pt idx="464" formatCode="#\ ##0.0">
                  <c:v>5.5354045999999997</c:v>
                </c:pt>
                <c:pt idx="465" formatCode="#\ ##0.0">
                  <c:v>5.1276488000000002</c:v>
                </c:pt>
                <c:pt idx="466" formatCode="#\ ##0.0">
                  <c:v>5.0190073999999996</c:v>
                </c:pt>
                <c:pt idx="467" formatCode="#\ ##0.0">
                  <c:v>5.0969835000000003</c:v>
                </c:pt>
                <c:pt idx="468" formatCode="#\ ##0.0">
                  <c:v>5.2711091000000003</c:v>
                </c:pt>
                <c:pt idx="469" formatCode="#\ ##0.0">
                  <c:v>5.0114625000000004</c:v>
                </c:pt>
                <c:pt idx="470" formatCode="#\ ##0.0">
                  <c:v>4.8534835000000003</c:v>
                </c:pt>
                <c:pt idx="471" formatCode="#\ ##0.0">
                  <c:v>4.5083162999999997</c:v>
                </c:pt>
                <c:pt idx="472" formatCode="#\ ##0.0">
                  <c:v>4.5432949000000002</c:v>
                </c:pt>
                <c:pt idx="473" formatCode="#\ ##0.0">
                  <c:v>4.3100858999999998</c:v>
                </c:pt>
                <c:pt idx="474" formatCode="#\ ##0.0">
                  <c:v>4.1091419</c:v>
                </c:pt>
                <c:pt idx="475" formatCode="#\ ##0.0">
                  <c:v>4.4915656000000004</c:v>
                </c:pt>
                <c:pt idx="476" formatCode="#\ ##0.0">
                  <c:v>4.5925661</c:v>
                </c:pt>
                <c:pt idx="477" formatCode="#\ ##0.0">
                  <c:v>4.4604195000000004</c:v>
                </c:pt>
                <c:pt idx="478" formatCode="#\ ##0.0">
                  <c:v>4.1940328999999998</c:v>
                </c:pt>
                <c:pt idx="479" formatCode="#\ ##0.0">
                  <c:v>3.7035618000000001</c:v>
                </c:pt>
                <c:pt idx="480" formatCode="#\ ##0.0">
                  <c:v>3.8250714000000001</c:v>
                </c:pt>
                <c:pt idx="481" formatCode="#\ ##0.0">
                  <c:v>3.7293196000000002</c:v>
                </c:pt>
                <c:pt idx="482" formatCode="#\ ##0.0">
                  <c:v>3.895826</c:v>
                </c:pt>
                <c:pt idx="483" formatCode="#\ ##0.0">
                  <c:v>3.6454468000000002</c:v>
                </c:pt>
                <c:pt idx="484" formatCode="#\ ##0.0">
                  <c:v>3.5852213000000002</c:v>
                </c:pt>
                <c:pt idx="485" formatCode="#\ ##0.0">
                  <c:v>3.3905246</c:v>
                </c:pt>
                <c:pt idx="486" formatCode="#\ ##0.0">
                  <c:v>3.3455778999999999</c:v>
                </c:pt>
                <c:pt idx="487" formatCode="#\ ##0.0">
                  <c:v>3.3611078999999999</c:v>
                </c:pt>
                <c:pt idx="488" formatCode="#\ ##0.0">
                  <c:v>3.2374665</c:v>
                </c:pt>
                <c:pt idx="489" formatCode="#\ ##0.0">
                  <c:v>3.1850358999999999</c:v>
                </c:pt>
                <c:pt idx="490" formatCode="#\ ##0.0">
                  <c:v>3.0891573999999999</c:v>
                </c:pt>
                <c:pt idx="491" formatCode="#\ ##0.0">
                  <c:v>2.7003081999999998</c:v>
                </c:pt>
                <c:pt idx="492" formatCode="#\ ##0.0">
                  <c:v>2.6912975000000001</c:v>
                </c:pt>
                <c:pt idx="493" formatCode="#\ ##0.0">
                  <c:v>2.4554037000000002</c:v>
                </c:pt>
                <c:pt idx="494" formatCode="#\ ##0.0">
                  <c:v>2.4318021000000001</c:v>
                </c:pt>
                <c:pt idx="495" formatCode="#\ ##0.0">
                  <c:v>2.3614624000000002</c:v>
                </c:pt>
                <c:pt idx="496" formatCode="#\ ##0.0">
                  <c:v>2.4084634</c:v>
                </c:pt>
                <c:pt idx="497" formatCode="#\ ##0.0">
                  <c:v>2.2934855000000001</c:v>
                </c:pt>
                <c:pt idx="498" formatCode="#\ ##0.0">
                  <c:v>2.0037959000000001</c:v>
                </c:pt>
                <c:pt idx="499" formatCode="#\ ##0.0">
                  <c:v>1.8997757</c:v>
                </c:pt>
                <c:pt idx="500" formatCode="#\ ##0.0">
                  <c:v>1.6068830999999999</c:v>
                </c:pt>
                <c:pt idx="501" formatCode="#\ ##0.0">
                  <c:v>1.5327238999999999</c:v>
                </c:pt>
                <c:pt idx="502" formatCode="#\ ##0.0">
                  <c:v>1.5125055000000001</c:v>
                </c:pt>
                <c:pt idx="503" formatCode="#\ ##0.0">
                  <c:v>1.5068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OCK_s_posil_Na_JIP_100_000_nyni</c:v>
          </c:tx>
          <c:spPr>
            <a:ln>
              <a:solidFill>
                <a:srgbClr val="70AD47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">
                  <c:v>3.9416633000000001</c:v>
                </c:pt>
                <c:pt idx="427" formatCode="0.00">
                  <c:v>3.2422266999999998</c:v>
                </c:pt>
                <c:pt idx="428" formatCode="0.00">
                  <c:v>3.9115468</c:v>
                </c:pt>
                <c:pt idx="429" formatCode="0.00">
                  <c:v>3.1817072999999998</c:v>
                </c:pt>
                <c:pt idx="430" formatCode="0.00">
                  <c:v>2.6515586</c:v>
                </c:pt>
                <c:pt idx="431" formatCode="0.00">
                  <c:v>2.5682952000000001</c:v>
                </c:pt>
                <c:pt idx="432" formatCode="0.00">
                  <c:v>2.5145002000000001</c:v>
                </c:pt>
                <c:pt idx="433" formatCode="0.00">
                  <c:v>2.1554356000000001</c:v>
                </c:pt>
                <c:pt idx="434" formatCode="0.00">
                  <c:v>2.4737167000000002</c:v>
                </c:pt>
                <c:pt idx="435" formatCode="0.00">
                  <c:v>2.1265622999999998</c:v>
                </c:pt>
                <c:pt idx="436" formatCode="0.00">
                  <c:v>2.5995092</c:v>
                </c:pt>
                <c:pt idx="437" formatCode="0.00">
                  <c:v>2.3648712000000001</c:v>
                </c:pt>
                <c:pt idx="438" formatCode="0.00">
                  <c:v>1.8580625</c:v>
                </c:pt>
                <c:pt idx="439" formatCode="0.00">
                  <c:v>1.3699881</c:v>
                </c:pt>
                <c:pt idx="440" formatCode="0.00">
                  <c:v>1.2452059</c:v>
                </c:pt>
                <c:pt idx="441" formatCode="0.00">
                  <c:v>1.5013437000000001</c:v>
                </c:pt>
                <c:pt idx="442" formatCode="0.00">
                  <c:v>1.3481312999999999</c:v>
                </c:pt>
                <c:pt idx="443" formatCode="0.00">
                  <c:v>1.2199696</c:v>
                </c:pt>
                <c:pt idx="444" formatCode="0.00">
                  <c:v>1.3934173999999999</c:v>
                </c:pt>
                <c:pt idx="445" formatCode="0.00">
                  <c:v>1.9144460999999999</c:v>
                </c:pt>
                <c:pt idx="446" formatCode="0.00">
                  <c:v>1.6202816</c:v>
                </c:pt>
                <c:pt idx="447" formatCode="0.00">
                  <c:v>1.2640179</c:v>
                </c:pt>
                <c:pt idx="448" formatCode="0.00">
                  <c:v>1.415859</c:v>
                </c:pt>
                <c:pt idx="449" formatCode="0.00">
                  <c:v>1.5469066</c:v>
                </c:pt>
                <c:pt idx="450" formatCode="0.00">
                  <c:v>1.4577654</c:v>
                </c:pt>
                <c:pt idx="451" formatCode="0.00">
                  <c:v>1.3787452</c:v>
                </c:pt>
                <c:pt idx="452" formatCode="0.00">
                  <c:v>1.1685633</c:v>
                </c:pt>
                <c:pt idx="453" formatCode="0.00">
                  <c:v>1.1603261</c:v>
                </c:pt>
                <c:pt idx="454" formatCode="0.00">
                  <c:v>1.1118173</c:v>
                </c:pt>
                <c:pt idx="455" formatCode="0.00">
                  <c:v>1.0586902</c:v>
                </c:pt>
                <c:pt idx="456" formatCode="0.00">
                  <c:v>0.87528110000000003</c:v>
                </c:pt>
                <c:pt idx="457" formatCode="0.00">
                  <c:v>1.0050789</c:v>
                </c:pt>
                <c:pt idx="458" formatCode="0.00">
                  <c:v>0.96393280000000003</c:v>
                </c:pt>
                <c:pt idx="459" formatCode="0.00">
                  <c:v>0.95538049999999997</c:v>
                </c:pt>
                <c:pt idx="460" formatCode="0.00">
                  <c:v>1.2678046999999999</c:v>
                </c:pt>
                <c:pt idx="461" formatCode="0.00">
                  <c:v>1.5299526000000001</c:v>
                </c:pt>
                <c:pt idx="462" formatCode="0.00">
                  <c:v>1.3190833</c:v>
                </c:pt>
                <c:pt idx="463" formatCode="0.00">
                  <c:v>0.98405410000000004</c:v>
                </c:pt>
                <c:pt idx="464" formatCode="0.00">
                  <c:v>0.93980540000000001</c:v>
                </c:pt>
                <c:pt idx="465" formatCode="0.00">
                  <c:v>0.89783760000000001</c:v>
                </c:pt>
                <c:pt idx="466" formatCode="0.00">
                  <c:v>1.0157556000000001</c:v>
                </c:pt>
                <c:pt idx="467" formatCode="0.00">
                  <c:v>1.0068060000000001</c:v>
                </c:pt>
                <c:pt idx="468" formatCode="0.00">
                  <c:v>0.59975480000000003</c:v>
                </c:pt>
                <c:pt idx="469" formatCode="0.00">
                  <c:v>0.56500810000000001</c:v>
                </c:pt>
                <c:pt idx="470" formatCode="0.00">
                  <c:v>0.52678820000000004</c:v>
                </c:pt>
                <c:pt idx="471" formatCode="0.00">
                  <c:v>0.58689400000000003</c:v>
                </c:pt>
                <c:pt idx="472" formatCode="0.00">
                  <c:v>0.91055019999999998</c:v>
                </c:pt>
                <c:pt idx="473" formatCode="0.00">
                  <c:v>0.62235720000000005</c:v>
                </c:pt>
                <c:pt idx="474" formatCode="0.00">
                  <c:v>0.78683979999999998</c:v>
                </c:pt>
                <c:pt idx="475" formatCode="0.00">
                  <c:v>1.4042030999999999</c:v>
                </c:pt>
                <c:pt idx="476" formatCode="0.00">
                  <c:v>1.5518721</c:v>
                </c:pt>
                <c:pt idx="477" formatCode="0.00">
                  <c:v>1.2402431</c:v>
                </c:pt>
                <c:pt idx="478" formatCode="0.00">
                  <c:v>0.82659539999999998</c:v>
                </c:pt>
                <c:pt idx="479" formatCode="0.00">
                  <c:v>0.85065950000000001</c:v>
                </c:pt>
                <c:pt idx="480" formatCode="0.00">
                  <c:v>0.83641080000000001</c:v>
                </c:pt>
                <c:pt idx="481" formatCode="0.00">
                  <c:v>1.0189193999999999</c:v>
                </c:pt>
                <c:pt idx="482" formatCode="0.00">
                  <c:v>0.91970589999999997</c:v>
                </c:pt>
                <c:pt idx="483" formatCode="0.00">
                  <c:v>0.88007869999999999</c:v>
                </c:pt>
                <c:pt idx="484" formatCode="0.00">
                  <c:v>1.0122964999999999</c:v>
                </c:pt>
                <c:pt idx="485" formatCode="0.00">
                  <c:v>0.91743059999999998</c:v>
                </c:pt>
                <c:pt idx="486" formatCode="0.00">
                  <c:v>0.72650499999999996</c:v>
                </c:pt>
                <c:pt idx="487" formatCode="0.00">
                  <c:v>0.56333489999999997</c:v>
                </c:pt>
                <c:pt idx="488" formatCode="0.00">
                  <c:v>0.60889899999999997</c:v>
                </c:pt>
                <c:pt idx="489" formatCode="0.00">
                  <c:v>0.63850649999999998</c:v>
                </c:pt>
                <c:pt idx="490" formatCode="0.00">
                  <c:v>0.90246530000000003</c:v>
                </c:pt>
                <c:pt idx="491" formatCode="0.00">
                  <c:v>1.0170532000000001</c:v>
                </c:pt>
                <c:pt idx="492" formatCode="0.00">
                  <c:v>1.0042941999999999</c:v>
                </c:pt>
                <c:pt idx="493" formatCode="0.00">
                  <c:v>0.95846330000000002</c:v>
                </c:pt>
                <c:pt idx="494" formatCode="0.00">
                  <c:v>1.0497354999999999</c:v>
                </c:pt>
                <c:pt idx="495" formatCode="0.00">
                  <c:v>1.0492633</c:v>
                </c:pt>
                <c:pt idx="496" formatCode="0.00">
                  <c:v>1.2045553</c:v>
                </c:pt>
                <c:pt idx="497" formatCode="0.00">
                  <c:v>1.1739651</c:v>
                </c:pt>
                <c:pt idx="498" formatCode="0.00">
                  <c:v>0.97602789999999995</c:v>
                </c:pt>
                <c:pt idx="499" formatCode="0.00">
                  <c:v>0.74997029999999998</c:v>
                </c:pt>
                <c:pt idx="500" formatCode="0.00">
                  <c:v>0.53961380000000003</c:v>
                </c:pt>
                <c:pt idx="501" formatCode="0.00">
                  <c:v>0.53960710000000001</c:v>
                </c:pt>
                <c:pt idx="502" formatCode="0.00">
                  <c:v>0.53669060000000002</c:v>
                </c:pt>
                <c:pt idx="503" formatCode="0.00">
                  <c:v>0.483588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EOCK_Na_UPV_ECMO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16" formatCode="#\ ##0.0">
                  <c:v>3.9535111999999999</c:v>
                </c:pt>
                <c:pt idx="117" formatCode="#\ ##0.0">
                  <c:v>4.1562552999999998</c:v>
                </c:pt>
                <c:pt idx="118" formatCode="#\ ##0.0">
                  <c:v>4.4040537999999998</c:v>
                </c:pt>
                <c:pt idx="119" formatCode="#\ ##0.0">
                  <c:v>4.6293249999999997</c:v>
                </c:pt>
                <c:pt idx="120" formatCode="#\ ##0.0">
                  <c:v>4.8095420999999998</c:v>
                </c:pt>
                <c:pt idx="121" formatCode="#\ ##0.0">
                  <c:v>4.9221776999999998</c:v>
                </c:pt>
                <c:pt idx="122" formatCode="#\ ##0.0">
                  <c:v>4.8883869999999998</c:v>
                </c:pt>
                <c:pt idx="123" formatCode="#\ ##0.0">
                  <c:v>5.1249219000000004</c:v>
                </c:pt>
                <c:pt idx="124" formatCode="#\ ##0.0">
                  <c:v>5.3389296000000002</c:v>
                </c:pt>
                <c:pt idx="125" formatCode="#\ ##0.0">
                  <c:v>5.7556814999999997</c:v>
                </c:pt>
                <c:pt idx="126" formatCode="#\ ##0.0">
                  <c:v>6.0147434999999998</c:v>
                </c:pt>
                <c:pt idx="127" formatCode="#\ ##0.0">
                  <c:v>6.2512784000000003</c:v>
                </c:pt>
                <c:pt idx="128" formatCode="#\ ##0.0">
                  <c:v>6.3526503999999999</c:v>
                </c:pt>
                <c:pt idx="129" formatCode="#\ ##0.0">
                  <c:v>6.0147434999999998</c:v>
                </c:pt>
                <c:pt idx="130" formatCode="#\ ##0.0">
                  <c:v>5.9696892000000004</c:v>
                </c:pt>
                <c:pt idx="131" formatCode="#\ ##0.0">
                  <c:v>6.1949604999999996</c:v>
                </c:pt>
                <c:pt idx="132" formatCode="#\ ##0.0">
                  <c:v>6.3864410999999999</c:v>
                </c:pt>
                <c:pt idx="133" formatCode="#\ ##0.0">
                  <c:v>6.3751783</c:v>
                </c:pt>
                <c:pt idx="134" formatCode="#\ ##0.0">
                  <c:v>6.4314961000000004</c:v>
                </c:pt>
                <c:pt idx="135" formatCode="#\ ##0.0">
                  <c:v>6.6342403000000001</c:v>
                </c:pt>
                <c:pt idx="136" formatCode="#\ ##0.0">
                  <c:v>6.7694030999999999</c:v>
                </c:pt>
                <c:pt idx="137" formatCode="#\ ##0.0">
                  <c:v>6.6792946000000004</c:v>
                </c:pt>
                <c:pt idx="138" formatCode="#\ ##0.0">
                  <c:v>6.7356123999999999</c:v>
                </c:pt>
                <c:pt idx="139" formatCode="#\ ##0.0">
                  <c:v>6.7018217</c:v>
                </c:pt>
                <c:pt idx="140" formatCode="#\ ##0.0">
                  <c:v>6.6004510999999999</c:v>
                </c:pt>
                <c:pt idx="141" formatCode="#\ ##0.0">
                  <c:v>6.386444</c:v>
                </c:pt>
                <c:pt idx="142" formatCode="#\ ##0.0">
                  <c:v>6.2963354999999996</c:v>
                </c:pt>
                <c:pt idx="143" formatCode="#\ ##0.0">
                  <c:v>6.1048555000000002</c:v>
                </c:pt>
                <c:pt idx="144" formatCode="#\ ##0.0">
                  <c:v>6.0598019000000001</c:v>
                </c:pt>
                <c:pt idx="145" formatCode="#\ ##0.0">
                  <c:v>6.0823296999999998</c:v>
                </c:pt>
                <c:pt idx="146" formatCode="#\ ##0.0">
                  <c:v>6.0823311000000002</c:v>
                </c:pt>
                <c:pt idx="147" formatCode="#\ ##0.0">
                  <c:v>6.1499138999999996</c:v>
                </c:pt>
                <c:pt idx="148" formatCode="#\ ##0.0">
                  <c:v>6.1724411000000003</c:v>
                </c:pt>
                <c:pt idx="149" formatCode="#\ ##0.0">
                  <c:v>6.1048622999999997</c:v>
                </c:pt>
                <c:pt idx="150" formatCode="#\ ##0.0">
                  <c:v>5.7894826000000004</c:v>
                </c:pt>
                <c:pt idx="151" formatCode="#\ ##0.0">
                  <c:v>5.8570668000000001</c:v>
                </c:pt>
                <c:pt idx="152" formatCode="#\ ##0.0">
                  <c:v>5.9363371999999996</c:v>
                </c:pt>
                <c:pt idx="153" formatCode="#\ ##0.0">
                  <c:v>6.1290933000000001</c:v>
                </c:pt>
                <c:pt idx="154" formatCode="#\ ##0.0">
                  <c:v>5.9957342000000002</c:v>
                </c:pt>
                <c:pt idx="155" formatCode="#\ ##0.0">
                  <c:v>5.9749863999999997</c:v>
                </c:pt>
                <c:pt idx="156" formatCode="#\ ##0.0">
                  <c:v>6.1565751999999998</c:v>
                </c:pt>
                <c:pt idx="157" formatCode="#\ ##0.0">
                  <c:v>6.0783616</c:v>
                </c:pt>
                <c:pt idx="158" formatCode="#\ ##0.0">
                  <c:v>5.9210703999999996</c:v>
                </c:pt>
                <c:pt idx="159" formatCode="#\ ##0.0">
                  <c:v>6.1472367999999999</c:v>
                </c:pt>
                <c:pt idx="160" formatCode="#\ ##0.0">
                  <c:v>6.0928811999999999</c:v>
                </c:pt>
                <c:pt idx="161" formatCode="#\ ##0.0">
                  <c:v>5.9263051999999998</c:v>
                </c:pt>
                <c:pt idx="162" formatCode="#\ ##0.0">
                  <c:v>5.9180479000000004</c:v>
                </c:pt>
                <c:pt idx="163" formatCode="#\ ##0.0">
                  <c:v>6.1594901000000002</c:v>
                </c:pt>
                <c:pt idx="164" formatCode="#\ ##0.0">
                  <c:v>6.3007453</c:v>
                </c:pt>
                <c:pt idx="165" formatCode="#\ ##0.0">
                  <c:v>6.3580873999999996</c:v>
                </c:pt>
                <c:pt idx="166" formatCode="#\ ##0.0">
                  <c:v>6.5739197000000003</c:v>
                </c:pt>
                <c:pt idx="167" formatCode="#\ ##0.0">
                  <c:v>6.4892507000000004</c:v>
                </c:pt>
                <c:pt idx="168" formatCode="#\ ##0.0">
                  <c:v>6.7689007999999999</c:v>
                </c:pt>
                <c:pt idx="169" formatCode="#\ ##0.0">
                  <c:v>6.9362998999999999</c:v>
                </c:pt>
                <c:pt idx="170" formatCode="#\ ##0.0">
                  <c:v>7.0488683999999999</c:v>
                </c:pt>
                <c:pt idx="171" formatCode="#\ ##0.0">
                  <c:v>7.2509398000000003</c:v>
                </c:pt>
                <c:pt idx="172" formatCode="#\ ##0.0">
                  <c:v>7.4806153000000002</c:v>
                </c:pt>
                <c:pt idx="173" formatCode="#\ ##0.0">
                  <c:v>7.5624700999999996</c:v>
                </c:pt>
                <c:pt idx="174" formatCode="#\ ##0.0">
                  <c:v>7.7776034000000003</c:v>
                </c:pt>
                <c:pt idx="175" formatCode="#\ ##0.0">
                  <c:v>7.9366393000000004</c:v>
                </c:pt>
                <c:pt idx="176" formatCode="#\ ##0.0">
                  <c:v>7.7885548</c:v>
                </c:pt>
                <c:pt idx="177" formatCode="#\ ##0.0">
                  <c:v>8.3301067999999994</c:v>
                </c:pt>
                <c:pt idx="178" formatCode="#\ ##0.0">
                  <c:v>8.2638575999999997</c:v>
                </c:pt>
                <c:pt idx="179" formatCode="#\ ##0.0">
                  <c:v>8.2092860000000005</c:v>
                </c:pt>
                <c:pt idx="180" formatCode="#\ ##0.0">
                  <c:v>8.5091585999999992</c:v>
                </c:pt>
                <c:pt idx="181" formatCode="#\ ##0.0">
                  <c:v>8.9781507000000005</c:v>
                </c:pt>
                <c:pt idx="182" formatCode="#\ ##0.0">
                  <c:v>9.1946741999999997</c:v>
                </c:pt>
                <c:pt idx="183" formatCode="#\ ##0.0">
                  <c:v>9.3071397999999999</c:v>
                </c:pt>
                <c:pt idx="184" formatCode="#\ ##0.0">
                  <c:v>9.5809902000000005</c:v>
                </c:pt>
                <c:pt idx="185" formatCode="#\ ##0.0">
                  <c:v>9.7391577999999992</c:v>
                </c:pt>
                <c:pt idx="186" formatCode="#\ ##0.0">
                  <c:v>9.8558994999999996</c:v>
                </c:pt>
                <c:pt idx="187" formatCode="#\ ##0.0">
                  <c:v>10.0648246</c:v>
                </c:pt>
                <c:pt idx="188" formatCode="#\ ##0.0">
                  <c:v>10.672454699999999</c:v>
                </c:pt>
                <c:pt idx="189" formatCode="#\ ##0.0">
                  <c:v>10.5307972</c:v>
                </c:pt>
                <c:pt idx="190" formatCode="#\ ##0.0">
                  <c:v>10.642261599999999</c:v>
                </c:pt>
                <c:pt idx="191" formatCode="#\ ##0.0">
                  <c:v>10.660676</c:v>
                </c:pt>
                <c:pt idx="192" formatCode="#\ ##0.0">
                  <c:v>10.783109700000001</c:v>
                </c:pt>
                <c:pt idx="193" formatCode="#\ ##0.0">
                  <c:v>10.5753132</c:v>
                </c:pt>
                <c:pt idx="194" formatCode="#\ ##0.0">
                  <c:v>10.877167699999999</c:v>
                </c:pt>
                <c:pt idx="195" formatCode="#\ ##0.0">
                  <c:v>10.9510481</c:v>
                </c:pt>
                <c:pt idx="196" formatCode="#\ ##0.0">
                  <c:v>10.8048412</c:v>
                </c:pt>
                <c:pt idx="197" formatCode="#\ ##0.0">
                  <c:v>10.7408918</c:v>
                </c:pt>
                <c:pt idx="198" formatCode="#\ ##0.0">
                  <c:v>11.036874299999999</c:v>
                </c:pt>
                <c:pt idx="199" formatCode="#\ ##0.0">
                  <c:v>10.9857619</c:v>
                </c:pt>
                <c:pt idx="200" formatCode="#\ ##0.0">
                  <c:v>10.8939483</c:v>
                </c:pt>
                <c:pt idx="201" formatCode="#\ ##0.0">
                  <c:v>10.8601683</c:v>
                </c:pt>
                <c:pt idx="202" formatCode="#\ ##0.0">
                  <c:v>11.3311668</c:v>
                </c:pt>
                <c:pt idx="203" formatCode="#\ ##0.0">
                  <c:v>10.8511071</c:v>
                </c:pt>
                <c:pt idx="204" formatCode="#\ ##0.0">
                  <c:v>10.755140000000001</c:v>
                </c:pt>
                <c:pt idx="205" formatCode="#\ ##0.0">
                  <c:v>10.6141664</c:v>
                </c:pt>
                <c:pt idx="206" formatCode="#\ ##0.0">
                  <c:v>10.636344899999999</c:v>
                </c:pt>
                <c:pt idx="207" formatCode="#\ ##0.0">
                  <c:v>10.253046100000001</c:v>
                </c:pt>
                <c:pt idx="208" formatCode="#\ ##0.0">
                  <c:v>10.0677702</c:v>
                </c:pt>
                <c:pt idx="209" formatCode="#\ ##0.0">
                  <c:v>10.0897709</c:v>
                </c:pt>
                <c:pt idx="210" formatCode="#\ ##0.0">
                  <c:v>9.7982025999999998</c:v>
                </c:pt>
                <c:pt idx="211" formatCode="#\ ##0.0">
                  <c:v>9.4941747000000003</c:v>
                </c:pt>
                <c:pt idx="212" formatCode="#\ ##0.0">
                  <c:v>9.2031782</c:v>
                </c:pt>
                <c:pt idx="213" formatCode="#\ ##0.0">
                  <c:v>8.9008391000000007</c:v>
                </c:pt>
                <c:pt idx="214" formatCode="#\ ##0.0">
                  <c:v>8.4683849999999996</c:v>
                </c:pt>
                <c:pt idx="215" formatCode="#\ ##0.0">
                  <c:v>8.3642085999999995</c:v>
                </c:pt>
                <c:pt idx="216" formatCode="#\ ##0.0">
                  <c:v>8.3059253000000002</c:v>
                </c:pt>
                <c:pt idx="217" formatCode="#\ ##0.0">
                  <c:v>8.5428843000000008</c:v>
                </c:pt>
                <c:pt idx="218" formatCode="#\ ##0.0">
                  <c:v>8.2400231000000002</c:v>
                </c:pt>
                <c:pt idx="219" formatCode="#\ ##0.0">
                  <c:v>7.8788622999999998</c:v>
                </c:pt>
                <c:pt idx="220" formatCode="#\ ##0.0">
                  <c:v>7.3854622000000001</c:v>
                </c:pt>
                <c:pt idx="221" formatCode="#\ ##0.0">
                  <c:v>7.1050316999999996</c:v>
                </c:pt>
                <c:pt idx="222" formatCode="#\ ##0.0">
                  <c:v>7.1085282999999997</c:v>
                </c:pt>
                <c:pt idx="223" formatCode="#\ ##0.0">
                  <c:v>7.0427904999999997</c:v>
                </c:pt>
                <c:pt idx="224" formatCode="#\ ##0.0">
                  <c:v>6.7751508999999999</c:v>
                </c:pt>
                <c:pt idx="225" formatCode="#\ ##0.0">
                  <c:v>6.3902273999999997</c:v>
                </c:pt>
                <c:pt idx="226" formatCode="#\ ##0.0">
                  <c:v>6.2106212000000003</c:v>
                </c:pt>
                <c:pt idx="227" formatCode="#\ ##0.0">
                  <c:v>6.1600232000000004</c:v>
                </c:pt>
                <c:pt idx="228" formatCode="#\ ##0.0">
                  <c:v>5.8549059999999997</c:v>
                </c:pt>
                <c:pt idx="229" formatCode="#\ ##0.0">
                  <c:v>5.9215055999999997</c:v>
                </c:pt>
                <c:pt idx="230" formatCode="#\ ##0.0">
                  <c:v>5.8904366000000001</c:v>
                </c:pt>
                <c:pt idx="231" formatCode="#\ ##0.0">
                  <c:v>5.7175037</c:v>
                </c:pt>
                <c:pt idx="232" formatCode="#\ ##0.0">
                  <c:v>5.5993373999999996</c:v>
                </c:pt>
                <c:pt idx="233" formatCode="#\ ##0.0">
                  <c:v>5.1328424000000004</c:v>
                </c:pt>
                <c:pt idx="234" formatCode="#\ ##0.0">
                  <c:v>4.9560114000000004</c:v>
                </c:pt>
                <c:pt idx="235" formatCode="#\ ##0.0">
                  <c:v>4.6465477999999996</c:v>
                </c:pt>
                <c:pt idx="236" formatCode="#\ ##0.0">
                  <c:v>4.5663546000000004</c:v>
                </c:pt>
                <c:pt idx="237" formatCode="#\ ##0.0">
                  <c:v>4.4450469000000004</c:v>
                </c:pt>
                <c:pt idx="238" formatCode="#\ ##0.0">
                  <c:v>4.4593467999999996</c:v>
                </c:pt>
                <c:pt idx="239" formatCode="#\ ##0.0">
                  <c:v>4.1522119000000002</c:v>
                </c:pt>
                <c:pt idx="240" formatCode="#\ ##0.0">
                  <c:v>3.7551809999999999</c:v>
                </c:pt>
                <c:pt idx="241" formatCode="#\ ##0.0">
                  <c:v>3.4428771</c:v>
                </c:pt>
                <c:pt idx="242" formatCode="#\ ##0.0">
                  <c:v>3.2594349</c:v>
                </c:pt>
                <c:pt idx="243" formatCode="#\ ##0.0">
                  <c:v>3.3239450000000001</c:v>
                </c:pt>
                <c:pt idx="244" formatCode="#\ ##0.0">
                  <c:v>3.2802894</c:v>
                </c:pt>
                <c:pt idx="245" formatCode="#\ ##0.0">
                  <c:v>3.1237349000000001</c:v>
                </c:pt>
                <c:pt idx="246" formatCode="#\ ##0.0">
                  <c:v>2.9157193000000001</c:v>
                </c:pt>
                <c:pt idx="247" formatCode="#\ ##0.0">
                  <c:v>2.7457728000000001</c:v>
                </c:pt>
                <c:pt idx="248" formatCode="#\ ##0.0">
                  <c:v>2.510275</c:v>
                </c:pt>
                <c:pt idx="249" formatCode="#\ ##0.0">
                  <c:v>2.3352214</c:v>
                </c:pt>
                <c:pt idx="250" formatCode="#\ ##0.0">
                  <c:v>2.2985129</c:v>
                </c:pt>
                <c:pt idx="251" formatCode="#\ ##0.0">
                  <c:v>2.3007078000000001</c:v>
                </c:pt>
                <c:pt idx="252" formatCode="#\ ##0.0">
                  <c:v>2.0510565999999999</c:v>
                </c:pt>
                <c:pt idx="253" formatCode="#\ ##0.0">
                  <c:v>1.9659183</c:v>
                </c:pt>
                <c:pt idx="254" formatCode="#\ ##0.0">
                  <c:v>1.9444741999999999</c:v>
                </c:pt>
                <c:pt idx="255" formatCode="#\ ##0.0">
                  <c:v>1.7687927999999999</c:v>
                </c:pt>
                <c:pt idx="256" formatCode="#\ ##0.0">
                  <c:v>1.5658794</c:v>
                </c:pt>
                <c:pt idx="257" formatCode="#\ ##0.0">
                  <c:v>1.5535996000000001</c:v>
                </c:pt>
                <c:pt idx="258" formatCode="#\ ##0.0">
                  <c:v>1.4399196000000001</c:v>
                </c:pt>
                <c:pt idx="259" formatCode="#\ ##0.0">
                  <c:v>1.3649172000000001</c:v>
                </c:pt>
                <c:pt idx="260" formatCode="#\ ##0.0">
                  <c:v>1.2771577999999999</c:v>
                </c:pt>
                <c:pt idx="261" formatCode="#\ ##0.0">
                  <c:v>1.1765987</c:v>
                </c:pt>
                <c:pt idx="262" formatCode="#\ ##0.0">
                  <c:v>0.97323349999999997</c:v>
                </c:pt>
                <c:pt idx="263" formatCode="#\ ##0.0">
                  <c:v>0.9094122</c:v>
                </c:pt>
                <c:pt idx="264" formatCode="#\ ##0.0">
                  <c:v>0.8711219</c:v>
                </c:pt>
                <c:pt idx="265" formatCode="#\ ##0.0">
                  <c:v>0.85910739999999997</c:v>
                </c:pt>
                <c:pt idx="266" formatCode="#\ ##0.0">
                  <c:v>0.79589540000000003</c:v>
                </c:pt>
                <c:pt idx="267" formatCode="#\ ##0.0">
                  <c:v>0.83538509999999999</c:v>
                </c:pt>
                <c:pt idx="268" formatCode="#\ ##0.0">
                  <c:v>0.78490210000000005</c:v>
                </c:pt>
                <c:pt idx="269" formatCode="#\ ##0.0">
                  <c:v>0.72129010000000005</c:v>
                </c:pt>
                <c:pt idx="270" formatCode="#\ ##0.0">
                  <c:v>0.56689330000000004</c:v>
                </c:pt>
                <c:pt idx="271" formatCode="#\ ##0.0">
                  <c:v>0.5669864</c:v>
                </c:pt>
                <c:pt idx="272" formatCode="#\ ##0.0">
                  <c:v>0.60617089999999996</c:v>
                </c:pt>
                <c:pt idx="273" formatCode="#\ ##0.0">
                  <c:v>0.56843969999999999</c:v>
                </c:pt>
                <c:pt idx="274" formatCode="#\ ##0.0">
                  <c:v>0.5177773</c:v>
                </c:pt>
                <c:pt idx="275" formatCode="#\ ##0.0">
                  <c:v>0.48062719999999998</c:v>
                </c:pt>
                <c:pt idx="276" formatCode="#\ ##0.0">
                  <c:v>0.40414630000000001</c:v>
                </c:pt>
                <c:pt idx="277" formatCode="#\ ##0.0">
                  <c:v>0.28723359999999998</c:v>
                </c:pt>
                <c:pt idx="278" formatCode="#\ ##0.0">
                  <c:v>0.2614301</c:v>
                </c:pt>
                <c:pt idx="279" formatCode="#\ ##0.0">
                  <c:v>0.23632719999999999</c:v>
                </c:pt>
                <c:pt idx="280" formatCode="#\ ##0.0">
                  <c:v>0.25063540000000001</c:v>
                </c:pt>
                <c:pt idx="281" formatCode="#\ ##0.0">
                  <c:v>0.238626</c:v>
                </c:pt>
                <c:pt idx="282" formatCode="#\ ##0.0">
                  <c:v>0.20011119999999999</c:v>
                </c:pt>
                <c:pt idx="283" formatCode="#\ ##0.0">
                  <c:v>0.1073934</c:v>
                </c:pt>
                <c:pt idx="284" formatCode="#\ ##0.0">
                  <c:v>0.12109590000000001</c:v>
                </c:pt>
                <c:pt idx="285" formatCode="#\ ##0.0">
                  <c:v>0.13481309999999999</c:v>
                </c:pt>
                <c:pt idx="286" formatCode="#\ ##0.0">
                  <c:v>0.14925079999999999</c:v>
                </c:pt>
                <c:pt idx="287" formatCode="#\ ##0.0">
                  <c:v>0.12292939999999999</c:v>
                </c:pt>
                <c:pt idx="288" formatCode="#\ ##0.0">
                  <c:v>0.12384290000000001</c:v>
                </c:pt>
                <c:pt idx="289" formatCode="#\ ##0.0">
                  <c:v>0.1110024</c:v>
                </c:pt>
                <c:pt idx="290" formatCode="#\ ##0.0">
                  <c:v>0.12588070000000001</c:v>
                </c:pt>
                <c:pt idx="291" formatCode="#\ ##0.0">
                  <c:v>9.8166500000000004E-2</c:v>
                </c:pt>
                <c:pt idx="292" formatCode="#\ ##0.0">
                  <c:v>9.8375599999999994E-2</c:v>
                </c:pt>
                <c:pt idx="293" formatCode="#\ ##0.0">
                  <c:v>0.1133155</c:v>
                </c:pt>
                <c:pt idx="294" formatCode="#\ ##0.0">
                  <c:v>0.1142053</c:v>
                </c:pt>
                <c:pt idx="295" formatCode="#\ ##0.0">
                  <c:v>8.6451899999999998E-2</c:v>
                </c:pt>
                <c:pt idx="296" formatCode="#\ ##0.0">
                  <c:v>0.1164655</c:v>
                </c:pt>
                <c:pt idx="297" formatCode="#\ ##0.0">
                  <c:v>8.8245799999999999E-2</c:v>
                </c:pt>
                <c:pt idx="298" formatCode="#\ ##0.0">
                  <c:v>8.8516800000000007E-2</c:v>
                </c:pt>
                <c:pt idx="299" formatCode="#\ ##0.0">
                  <c:v>8.8758000000000004E-2</c:v>
                </c:pt>
                <c:pt idx="300" formatCode="#\ ##0.0">
                  <c:v>0.1047033</c:v>
                </c:pt>
                <c:pt idx="301" formatCode="#\ ##0.0">
                  <c:v>7.5606800000000002E-2</c:v>
                </c:pt>
                <c:pt idx="302" formatCode="#\ ##0.0">
                  <c:v>6.1209600000000003E-2</c:v>
                </c:pt>
                <c:pt idx="303" formatCode="#\ ##0.0">
                  <c:v>4.6498499999999998E-2</c:v>
                </c:pt>
                <c:pt idx="304" formatCode="#\ ##0.0">
                  <c:v>3.1391000000000002E-2</c:v>
                </c:pt>
                <c:pt idx="305" formatCode="#\ ##0.0">
                  <c:v>3.1536099999999997E-2</c:v>
                </c:pt>
                <c:pt idx="306" formatCode="#\ ##0.0">
                  <c:v>1.5827600000000001E-2</c:v>
                </c:pt>
                <c:pt idx="307" formatCode="#\ ##0.0">
                  <c:v>1.6027E-2</c:v>
                </c:pt>
                <c:pt idx="308" formatCode="#\ ##0.0">
                  <c:v>1.6241200000000001E-2</c:v>
                </c:pt>
                <c:pt idx="309" formatCode="#\ ##0.0">
                  <c:v>1.64692E-2</c:v>
                </c:pt>
                <c:pt idx="310" formatCode="#\ ##0.0">
                  <c:v>3.3434199999999997E-2</c:v>
                </c:pt>
                <c:pt idx="311" formatCode="#\ ##0.0">
                  <c:v>3.3922899999999999E-2</c:v>
                </c:pt>
                <c:pt idx="312" formatCode="#\ ##0.0">
                  <c:v>3.4124700000000001E-2</c:v>
                </c:pt>
                <c:pt idx="313" formatCode="#\ ##0.0">
                  <c:v>3.42808E-2</c:v>
                </c:pt>
                <c:pt idx="314" formatCode="#\ ##0.0">
                  <c:v>3.4788899999999998E-2</c:v>
                </c:pt>
                <c:pt idx="315" formatCode="#\ ##0.0">
                  <c:v>3.5320400000000002E-2</c:v>
                </c:pt>
                <c:pt idx="316" formatCode="#\ ##0.0">
                  <c:v>5.3845999999999998E-2</c:v>
                </c:pt>
                <c:pt idx="317" formatCode="#\ ##0.0">
                  <c:v>5.4730899999999999E-2</c:v>
                </c:pt>
                <c:pt idx="318" formatCode="#\ ##0.0">
                  <c:v>3.7067999999999997E-2</c:v>
                </c:pt>
                <c:pt idx="319" formatCode="#\ ##0.0">
                  <c:v>3.7285899999999997E-2</c:v>
                </c:pt>
                <c:pt idx="320" formatCode="#\ ##0.0">
                  <c:v>5.6157199999999997E-2</c:v>
                </c:pt>
                <c:pt idx="321" formatCode="#\ ##0.0">
                  <c:v>5.6425200000000002E-2</c:v>
                </c:pt>
                <c:pt idx="322" formatCode="#\ ##0.0">
                  <c:v>3.7813699999999999E-2</c:v>
                </c:pt>
                <c:pt idx="323" formatCode="#\ ##0.0">
                  <c:v>1.9193499999999999E-2</c:v>
                </c:pt>
                <c:pt idx="324" formatCode="#\ ##0.0">
                  <c:v>3.8912200000000001E-2</c:v>
                </c:pt>
                <c:pt idx="325" formatCode="#\ ##0.0">
                  <c:v>1.9722E-2</c:v>
                </c:pt>
                <c:pt idx="326" formatCode="#\ ##0.0">
                  <c:v>1.98341E-2</c:v>
                </c:pt>
                <c:pt idx="327" formatCode="#\ ##0.0">
                  <c:v>3.9849200000000001E-2</c:v>
                </c:pt>
                <c:pt idx="328" formatCode="#\ ##0.0">
                  <c:v>4.0405299999999998E-2</c:v>
                </c:pt>
                <c:pt idx="329" formatCode="#\ ##0.0">
                  <c:v>8.1967600000000002E-2</c:v>
                </c:pt>
                <c:pt idx="330" formatCode="#\ ##0.0">
                  <c:v>8.3194699999999996E-2</c:v>
                </c:pt>
                <c:pt idx="331" formatCode="#\ ##0.0">
                  <c:v>8.4352700000000003E-2</c:v>
                </c:pt>
                <c:pt idx="332" formatCode="#\ ##0.0">
                  <c:v>0.10708280000000001</c:v>
                </c:pt>
                <c:pt idx="333" formatCode="#\ ##0.0">
                  <c:v>0.12937029999999999</c:v>
                </c:pt>
                <c:pt idx="334" formatCode="#\ ##0.0">
                  <c:v>8.6732900000000002E-2</c:v>
                </c:pt>
                <c:pt idx="335" formatCode="#\ ##0.0">
                  <c:v>0.11001470000000001</c:v>
                </c:pt>
                <c:pt idx="336" formatCode="#\ ##0.0">
                  <c:v>0.1339938</c:v>
                </c:pt>
                <c:pt idx="337" formatCode="#\ ##0.0">
                  <c:v>0.15857289999999999</c:v>
                </c:pt>
                <c:pt idx="338" formatCode="#\ ##0.0">
                  <c:v>0.1607034</c:v>
                </c:pt>
                <c:pt idx="339" formatCode="#\ ##0.0">
                  <c:v>0.16273940000000001</c:v>
                </c:pt>
                <c:pt idx="340" formatCode="#\ ##0.0">
                  <c:v>0.1403925</c:v>
                </c:pt>
                <c:pt idx="341" formatCode="#\ ##0.0">
                  <c:v>0.1646418</c:v>
                </c:pt>
                <c:pt idx="342" formatCode="#\ ##0.0">
                  <c:v>0.16654330000000001</c:v>
                </c:pt>
                <c:pt idx="343" formatCode="#\ ##0.0">
                  <c:v>0.168408</c:v>
                </c:pt>
                <c:pt idx="344" formatCode="#\ ##0.0">
                  <c:v>0.1945857</c:v>
                </c:pt>
                <c:pt idx="345" formatCode="#\ ##0.0">
                  <c:v>0.1965548</c:v>
                </c:pt>
                <c:pt idx="346" formatCode="#\ ##0.0">
                  <c:v>0.17375479999999999</c:v>
                </c:pt>
                <c:pt idx="347" formatCode="#\ ##0.0">
                  <c:v>0.1496545</c:v>
                </c:pt>
                <c:pt idx="348" formatCode="#\ ##0.0">
                  <c:v>0.1502571</c:v>
                </c:pt>
                <c:pt idx="349" formatCode="#\ ##0.0">
                  <c:v>0.15165719999999999</c:v>
                </c:pt>
                <c:pt idx="350" formatCode="#\ ##0.0">
                  <c:v>0.15307480000000001</c:v>
                </c:pt>
                <c:pt idx="351" formatCode="#\ ##0.0">
                  <c:v>0.1801866</c:v>
                </c:pt>
                <c:pt idx="352" formatCode="#\ ##0.0">
                  <c:v>0.1559596</c:v>
                </c:pt>
                <c:pt idx="353" formatCode="#\ ##0.0">
                  <c:v>0.13134129999999999</c:v>
                </c:pt>
                <c:pt idx="354" formatCode="#\ ##0.0">
                  <c:v>0.1055707</c:v>
                </c:pt>
                <c:pt idx="355" formatCode="#\ ##0.0">
                  <c:v>0.13250129999999999</c:v>
                </c:pt>
                <c:pt idx="356" formatCode="#\ ##0.0">
                  <c:v>0.133992</c:v>
                </c:pt>
                <c:pt idx="357" formatCode="#\ ##0.0">
                  <c:v>5.4129200000000002E-2</c:v>
                </c:pt>
                <c:pt idx="358" formatCode="#\ ##0.0">
                  <c:v>2.7357300000000001E-2</c:v>
                </c:pt>
                <c:pt idx="359" formatCode="#\ ##0.0">
                  <c:v>2.7604699999999999E-2</c:v>
                </c:pt>
                <c:pt idx="360" formatCode="#\ ##0.0">
                  <c:v>5.5774200000000003E-2</c:v>
                </c:pt>
                <c:pt idx="361" formatCode="#\ ##0.0">
                  <c:v>5.5927400000000002E-2</c:v>
                </c:pt>
                <c:pt idx="362" formatCode="#\ ##0.0">
                  <c:v>5.6075899999999998E-2</c:v>
                </c:pt>
                <c:pt idx="363" formatCode="#\ ##0.0">
                  <c:v>5.6549099999999998E-2</c:v>
                </c:pt>
                <c:pt idx="364" formatCode="#\ ##0.0">
                  <c:v>8.5385500000000003E-2</c:v>
                </c:pt>
                <c:pt idx="365" formatCode="#\ ##0.0">
                  <c:v>8.6220900000000003E-2</c:v>
                </c:pt>
                <c:pt idx="366" formatCode="#\ ##0.0">
                  <c:v>8.7028999999999995E-2</c:v>
                </c:pt>
                <c:pt idx="367" formatCode="#\ ##0.0">
                  <c:v>8.7921299999999994E-2</c:v>
                </c:pt>
                <c:pt idx="368" formatCode="#\ ##0.0">
                  <c:v>5.88201E-2</c:v>
                </c:pt>
                <c:pt idx="369" formatCode="#\ ##0.0">
                  <c:v>5.8992099999999999E-2</c:v>
                </c:pt>
                <c:pt idx="370" formatCode="#\ ##0.0">
                  <c:v>8.9388800000000004E-2</c:v>
                </c:pt>
                <c:pt idx="371" formatCode="#\ ##0.0">
                  <c:v>9.0138599999999999E-2</c:v>
                </c:pt>
                <c:pt idx="372" formatCode="#\ ##0.0">
                  <c:v>6.0537300000000002E-2</c:v>
                </c:pt>
                <c:pt idx="373" formatCode="#\ ##0.0">
                  <c:v>6.0932E-2</c:v>
                </c:pt>
                <c:pt idx="374" formatCode="#\ ##0.0">
                  <c:v>6.1354499999999999E-2</c:v>
                </c:pt>
                <c:pt idx="375" formatCode="#\ ##0.0">
                  <c:v>0.1229372</c:v>
                </c:pt>
                <c:pt idx="376" formatCode="#\ ##0.0">
                  <c:v>0.1231342</c:v>
                </c:pt>
                <c:pt idx="377" formatCode="#\ ##0.0">
                  <c:v>0.1237953</c:v>
                </c:pt>
                <c:pt idx="378" formatCode="#\ ##0.0">
                  <c:v>0.1865338</c:v>
                </c:pt>
                <c:pt idx="379" formatCode="#\ ##0.0">
                  <c:v>0.2183466</c:v>
                </c:pt>
                <c:pt idx="380" formatCode="#\ ##0.0">
                  <c:v>0.28171689999999999</c:v>
                </c:pt>
                <c:pt idx="381" formatCode="#\ ##0.0">
                  <c:v>0.31431120000000001</c:v>
                </c:pt>
                <c:pt idx="382" formatCode="#\ ##0.0">
                  <c:v>0.3460917</c:v>
                </c:pt>
                <c:pt idx="383" formatCode="#\ ##0.0">
                  <c:v>0.34636689999999998</c:v>
                </c:pt>
                <c:pt idx="384" formatCode="#\ ##0.0">
                  <c:v>0.41069860000000002</c:v>
                </c:pt>
                <c:pt idx="385" formatCode="#\ ##0.0">
                  <c:v>0.41191040000000001</c:v>
                </c:pt>
                <c:pt idx="386" formatCode="#\ ##0.0">
                  <c:v>0.4129873</c:v>
                </c:pt>
                <c:pt idx="387" formatCode="#\ ##0.0">
                  <c:v>0.44588749999999999</c:v>
                </c:pt>
                <c:pt idx="388" formatCode="#\ ##0.0">
                  <c:v>0.51122389999999995</c:v>
                </c:pt>
                <c:pt idx="389" formatCode="#\ ##0.0">
                  <c:v>0.54356079999999996</c:v>
                </c:pt>
                <c:pt idx="390" formatCode="#\ ##0.0">
                  <c:v>0.57579619999999998</c:v>
                </c:pt>
                <c:pt idx="391" formatCode="#\ ##0.0">
                  <c:v>0.67362379999999999</c:v>
                </c:pt>
                <c:pt idx="392" formatCode="#\ ##0.0">
                  <c:v>0.77162549999999996</c:v>
                </c:pt>
                <c:pt idx="393" formatCode="#\ ##0.0">
                  <c:v>0.70887339999999999</c:v>
                </c:pt>
                <c:pt idx="394" formatCode="#\ ##0.0">
                  <c:v>0.64582209999999995</c:v>
                </c:pt>
                <c:pt idx="395" formatCode="#\ ##0.0">
                  <c:v>0.64761089999999999</c:v>
                </c:pt>
                <c:pt idx="396" formatCode="#\ ##0.0">
                  <c:v>0.64802820000000005</c:v>
                </c:pt>
                <c:pt idx="397" formatCode="#\ ##0.0">
                  <c:v>0.64831159999999999</c:v>
                </c:pt>
                <c:pt idx="398" formatCode="#\ ##0.0">
                  <c:v>0.71467080000000005</c:v>
                </c:pt>
                <c:pt idx="399" formatCode="#\ ##0.0">
                  <c:v>0.68345619999999996</c:v>
                </c:pt>
                <c:pt idx="400" formatCode="#\ ##0.0">
                  <c:v>0.61927089999999996</c:v>
                </c:pt>
                <c:pt idx="401" formatCode="#\ ##0.0">
                  <c:v>0.65299249999999998</c:v>
                </c:pt>
                <c:pt idx="402" formatCode="#\ ##0.0">
                  <c:v>0.68741390000000002</c:v>
                </c:pt>
                <c:pt idx="403" formatCode="#\ ##0.0">
                  <c:v>0.72055800000000003</c:v>
                </c:pt>
                <c:pt idx="404" formatCode="#\ ##0.0">
                  <c:v>0.68812249999999997</c:v>
                </c:pt>
                <c:pt idx="405" formatCode="#\ ##0.0">
                  <c:v>0.85353049999999997</c:v>
                </c:pt>
                <c:pt idx="406" formatCode="#\ ##0.0">
                  <c:v>0.98499970000000003</c:v>
                </c:pt>
                <c:pt idx="407" formatCode="#\ ##0.0">
                  <c:v>1.0199156</c:v>
                </c:pt>
                <c:pt idx="408" formatCode="#\ ##0.0">
                  <c:v>1.0219434000000001</c:v>
                </c:pt>
                <c:pt idx="409" formatCode="#\ ##0.0">
                  <c:v>1.189314</c:v>
                </c:pt>
                <c:pt idx="410" formatCode="#\ ##0.0">
                  <c:v>1.2228999</c:v>
                </c:pt>
                <c:pt idx="411" formatCode="#\ ##0.0">
                  <c:v>1.2893319999999999</c:v>
                </c:pt>
                <c:pt idx="412" formatCode="#\ ##0.0">
                  <c:v>1.2582681</c:v>
                </c:pt>
                <c:pt idx="413" formatCode="#\ ##0.0">
                  <c:v>1.3263799999999999</c:v>
                </c:pt>
                <c:pt idx="414" formatCode="#\ ##0.0">
                  <c:v>1.4942818</c:v>
                </c:pt>
                <c:pt idx="415" formatCode="#\ ##0.0">
                  <c:v>1.463249</c:v>
                </c:pt>
                <c:pt idx="416" formatCode="#\ ##0.0">
                  <c:v>1.3993959</c:v>
                </c:pt>
                <c:pt idx="417" formatCode="#\ ##0.0">
                  <c:v>1.3000775</c:v>
                </c:pt>
                <c:pt idx="418" formatCode="#\ ##0.0">
                  <c:v>1.5004485999999999</c:v>
                </c:pt>
                <c:pt idx="419" formatCode="#\ ##0.0">
                  <c:v>1.8362333</c:v>
                </c:pt>
                <c:pt idx="420" formatCode="#\ ##0.0">
                  <c:v>1.9386665999999999</c:v>
                </c:pt>
                <c:pt idx="421" formatCode="#\ ##0.0">
                  <c:v>1.9409780999999999</c:v>
                </c:pt>
                <c:pt idx="422" formatCode="#\ ##0.0">
                  <c:v>1.8097757999999999</c:v>
                </c:pt>
                <c:pt idx="423" formatCode="#\ ##0.0">
                  <c:v>2.1487535000000002</c:v>
                </c:pt>
                <c:pt idx="424" formatCode="#\ ##0.0">
                  <c:v>2.2841149999999999</c:v>
                </c:pt>
                <c:pt idx="425" formatCode="#\ ##0.0">
                  <c:v>2.7888782000000001</c:v>
                </c:pt>
                <c:pt idx="426" formatCode="#\ ##0.0">
                  <c:v>3.1624425</c:v>
                </c:pt>
                <c:pt idx="427" formatCode="#\ ##0.0">
                  <c:v>3.3664706</c:v>
                </c:pt>
                <c:pt idx="428" formatCode="#\ ##0.0">
                  <c:v>3.8428230999999999</c:v>
                </c:pt>
                <c:pt idx="429" formatCode="#\ ##0.0">
                  <c:v>4.1870545999999997</c:v>
                </c:pt>
                <c:pt idx="430" formatCode="#\ ##0.0">
                  <c:v>4.7028635999999997</c:v>
                </c:pt>
                <c:pt idx="431" formatCode="#\ ##0.0">
                  <c:v>4.7401019</c:v>
                </c:pt>
                <c:pt idx="432" formatCode="#\ ##0.0">
                  <c:v>5.1155261000000003</c:v>
                </c:pt>
                <c:pt idx="433" formatCode="#\ ##0.0">
                  <c:v>5.4983060000000004</c:v>
                </c:pt>
                <c:pt idx="434" formatCode="#\ ##0.0">
                  <c:v>5.9521096</c:v>
                </c:pt>
                <c:pt idx="435" formatCode="#\ ##0.0">
                  <c:v>6.5456427000000001</c:v>
                </c:pt>
                <c:pt idx="436" formatCode="#\ ##0.0">
                  <c:v>6.8903976</c:v>
                </c:pt>
                <c:pt idx="437" formatCode="#\ ##0.0">
                  <c:v>6.8052707000000003</c:v>
                </c:pt>
                <c:pt idx="438" formatCode="#\ ##0.0">
                  <c:v>7.3596060999999997</c:v>
                </c:pt>
                <c:pt idx="439" formatCode="#\ ##0.0">
                  <c:v>7.6737741000000002</c:v>
                </c:pt>
                <c:pt idx="440" formatCode="#\ ##0.0">
                  <c:v>8.3110873999999999</c:v>
                </c:pt>
                <c:pt idx="441" formatCode="#\ ##0.0">
                  <c:v>8.5032841999999995</c:v>
                </c:pt>
                <c:pt idx="442" formatCode="#\ ##0.0">
                  <c:v>8.5232487999999993</c:v>
                </c:pt>
                <c:pt idx="443" formatCode="#\ ##0.0">
                  <c:v>9.4108658999999992</c:v>
                </c:pt>
                <c:pt idx="444" formatCode="#\ ##0.0">
                  <c:v>9.8620973000000003</c:v>
                </c:pt>
                <c:pt idx="445" formatCode="#\ ##0.0">
                  <c:v>9.6288076999999994</c:v>
                </c:pt>
                <c:pt idx="446" formatCode="#\ ##0.0">
                  <c:v>10.0191999</c:v>
                </c:pt>
                <c:pt idx="447" formatCode="#\ ##0.0">
                  <c:v>9.9750031999999997</c:v>
                </c:pt>
                <c:pt idx="448" formatCode="#\ ##0.0">
                  <c:v>10.803081499999999</c:v>
                </c:pt>
                <c:pt idx="449" formatCode="#\ ##0.0">
                  <c:v>10.688661700000001</c:v>
                </c:pt>
                <c:pt idx="450" formatCode="#\ ##0.0">
                  <c:v>10.9663459</c:v>
                </c:pt>
                <c:pt idx="451" formatCode="#\ ##0.0">
                  <c:v>11.787724900000001</c:v>
                </c:pt>
                <c:pt idx="452" formatCode="#\ ##0.0">
                  <c:v>12.6865972</c:v>
                </c:pt>
                <c:pt idx="453" formatCode="#\ ##0.0">
                  <c:v>13.0885468</c:v>
                </c:pt>
                <c:pt idx="454" formatCode="#\ ##0.0">
                  <c:v>13.702734400000001</c:v>
                </c:pt>
                <c:pt idx="455" formatCode="#\ ##0.0">
                  <c:v>14.3978474</c:v>
                </c:pt>
                <c:pt idx="456" formatCode="#\ ##0.0">
                  <c:v>14.415335000000001</c:v>
                </c:pt>
                <c:pt idx="457" formatCode="#\ ##0.0">
                  <c:v>13.8625756</c:v>
                </c:pt>
                <c:pt idx="458" formatCode="#\ ##0.0">
                  <c:v>14.372329000000001</c:v>
                </c:pt>
                <c:pt idx="459" formatCode="#\ ##0.0">
                  <c:v>14.433258199999999</c:v>
                </c:pt>
                <c:pt idx="460" formatCode="#\ ##0.0">
                  <c:v>14.4155991</c:v>
                </c:pt>
                <c:pt idx="461" formatCode="#\ ##0.0">
                  <c:v>14.448522000000001</c:v>
                </c:pt>
                <c:pt idx="462" formatCode="#\ ##0.0">
                  <c:v>14.804907</c:v>
                </c:pt>
                <c:pt idx="463" formatCode="#\ ##0.0">
                  <c:v>14.8107305</c:v>
                </c:pt>
                <c:pt idx="464" formatCode="#\ ##0.0">
                  <c:v>14.9243226</c:v>
                </c:pt>
                <c:pt idx="465" formatCode="#\ ##0.0">
                  <c:v>14.648906500000001</c:v>
                </c:pt>
                <c:pt idx="466" formatCode="#\ ##0.0">
                  <c:v>13.8975645</c:v>
                </c:pt>
                <c:pt idx="467" formatCode="#\ ##0.0">
                  <c:v>14.582009599999999</c:v>
                </c:pt>
                <c:pt idx="468" formatCode="#\ ##0.0">
                  <c:v>14.6134299</c:v>
                </c:pt>
                <c:pt idx="469" formatCode="#\ ##0.0">
                  <c:v>14.406545899999999</c:v>
                </c:pt>
                <c:pt idx="470" formatCode="#\ ##0.0">
                  <c:v>14.014075800000001</c:v>
                </c:pt>
                <c:pt idx="471" formatCode="#\ ##0.0">
                  <c:v>13.0898767</c:v>
                </c:pt>
                <c:pt idx="472" formatCode="#\ ##0.0">
                  <c:v>12.892184800000001</c:v>
                </c:pt>
                <c:pt idx="473" formatCode="#\ ##0.0">
                  <c:v>12.4527784</c:v>
                </c:pt>
                <c:pt idx="474" formatCode="#\ ##0.0">
                  <c:v>12.424670600000001</c:v>
                </c:pt>
                <c:pt idx="475" formatCode="#\ ##0.0">
                  <c:v>12.473140600000001</c:v>
                </c:pt>
                <c:pt idx="476" formatCode="#\ ##0.0">
                  <c:v>12.6003659</c:v>
                </c:pt>
                <c:pt idx="477" formatCode="#\ ##0.0">
                  <c:v>12.0494311</c:v>
                </c:pt>
                <c:pt idx="478" formatCode="#\ ##0.0">
                  <c:v>11.8318668</c:v>
                </c:pt>
                <c:pt idx="479" formatCode="#\ ##0.0">
                  <c:v>10.852758400000001</c:v>
                </c:pt>
                <c:pt idx="480" formatCode="#\ ##0.0">
                  <c:v>10.7956722</c:v>
                </c:pt>
                <c:pt idx="481" formatCode="#\ ##0.0">
                  <c:v>10.7740154</c:v>
                </c:pt>
                <c:pt idx="482" formatCode="#\ ##0.0">
                  <c:v>10.863200900000001</c:v>
                </c:pt>
                <c:pt idx="483" formatCode="#\ ##0.0">
                  <c:v>10.3630168</c:v>
                </c:pt>
                <c:pt idx="484" formatCode="#\ ##0.0">
                  <c:v>10.373300199999999</c:v>
                </c:pt>
                <c:pt idx="485" formatCode="#\ ##0.0">
                  <c:v>9.7508285000000008</c:v>
                </c:pt>
                <c:pt idx="486" formatCode="#\ ##0.0">
                  <c:v>9.5294913000000001</c:v>
                </c:pt>
                <c:pt idx="487" formatCode="#\ ##0.0">
                  <c:v>9.2679334999999998</c:v>
                </c:pt>
                <c:pt idx="488" formatCode="#\ ##0.0">
                  <c:v>9.5166199000000002</c:v>
                </c:pt>
                <c:pt idx="489" formatCode="#\ ##0.0">
                  <c:v>9.6044228</c:v>
                </c:pt>
                <c:pt idx="490" formatCode="#\ ##0.0">
                  <c:v>9.2808025999999995</c:v>
                </c:pt>
                <c:pt idx="491" formatCode="#\ ##0.0">
                  <c:v>8.4680243999999991</c:v>
                </c:pt>
                <c:pt idx="492" formatCode="#\ ##0.0">
                  <c:v>8.4022781999999996</c:v>
                </c:pt>
                <c:pt idx="493" formatCode="#\ ##0.0">
                  <c:v>7.7091849999999997</c:v>
                </c:pt>
                <c:pt idx="494" formatCode="#\ ##0.0">
                  <c:v>7.2605230000000001</c:v>
                </c:pt>
                <c:pt idx="495" formatCode="#\ ##0.0">
                  <c:v>7.0160954000000002</c:v>
                </c:pt>
                <c:pt idx="496" formatCode="#\ ##0.0">
                  <c:v>7.4084745999999999</c:v>
                </c:pt>
                <c:pt idx="497" formatCode="#\ ##0.0">
                  <c:v>6.8141170000000004</c:v>
                </c:pt>
                <c:pt idx="498" formatCode="#\ ##0.0">
                  <c:v>6.3388545000000001</c:v>
                </c:pt>
                <c:pt idx="499" formatCode="#\ ##0.0">
                  <c:v>6.0619081000000001</c:v>
                </c:pt>
                <c:pt idx="500" formatCode="#\ ##0.0">
                  <c:v>5.2806239000000001</c:v>
                </c:pt>
                <c:pt idx="501" formatCode="#\ ##0.0">
                  <c:v>4.9093663999999997</c:v>
                </c:pt>
                <c:pt idx="502" formatCode="#\ ##0.0">
                  <c:v>4.9940381</c:v>
                </c:pt>
                <c:pt idx="503" formatCode="#\ ##0.0">
                  <c:v>4.8861445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OCK_Na_UPV_ECMO_100_000_nyni</c:v>
          </c:tx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#\ ##0.0">
                  <c:v>1.1155235999999999</c:v>
                </c:pt>
                <c:pt idx="182" formatCode="#\ ##0.0">
                  <c:v>1.0617345</c:v>
                </c:pt>
                <c:pt idx="183" formatCode="#\ ##0.0">
                  <c:v>0.50844780000000001</c:v>
                </c:pt>
                <c:pt idx="184" formatCode="#\ ##0.0">
                  <c:v>0.48837900000000001</c:v>
                </c:pt>
                <c:pt idx="185" formatCode="#\ ##0.0">
                  <c:v>0.47139340000000002</c:v>
                </c:pt>
                <c:pt idx="186" formatCode="#\ ##0.0">
                  <c:v>0.46877269999999999</c:v>
                </c:pt>
                <c:pt idx="187" formatCode="#\ ##0.0">
                  <c:v>0.93306639999999996</c:v>
                </c:pt>
                <c:pt idx="188" formatCode="#\ ##0.0">
                  <c:v>0.45375749999999998</c:v>
                </c:pt>
                <c:pt idx="189" formatCode="#\ ##0.0">
                  <c:v>0.43981749999999997</c:v>
                </c:pt>
                <c:pt idx="190" formatCode="#\ ##0.0">
                  <c:v>0.42843979999999998</c:v>
                </c:pt>
                <c:pt idx="191" formatCode="#\ ##0.0">
                  <c:v>0</c:v>
                </c:pt>
                <c:pt idx="192" formatCode="#\ ##0.0">
                  <c:v>0</c:v>
                </c:pt>
                <c:pt idx="193" formatCode="#\ ##0.0">
                  <c:v>0.40837990000000002</c:v>
                </c:pt>
                <c:pt idx="194" formatCode="#\ ##0.0">
                  <c:v>0.40746139999999997</c:v>
                </c:pt>
                <c:pt idx="195" formatCode="#\ ##0.0">
                  <c:v>0</c:v>
                </c:pt>
                <c:pt idx="196" formatCode="#\ ##0.0">
                  <c:v>0</c:v>
                </c:pt>
                <c:pt idx="197" formatCode="#\ ##0.0">
                  <c:v>0.38921709999999998</c:v>
                </c:pt>
                <c:pt idx="198" formatCode="#\ ##0.0">
                  <c:v>0.38224249999999999</c:v>
                </c:pt>
                <c:pt idx="199" formatCode="#\ ##0.0">
                  <c:v>0</c:v>
                </c:pt>
                <c:pt idx="200" formatCode="#\ ##0.0">
                  <c:v>0</c:v>
                </c:pt>
                <c:pt idx="201" formatCode="#\ ##0.0">
                  <c:v>0</c:v>
                </c:pt>
                <c:pt idx="202" formatCode="#\ ##0.0">
                  <c:v>0</c:v>
                </c:pt>
                <c:pt idx="203" formatCode="#\ ##0.0">
                  <c:v>0</c:v>
                </c:pt>
                <c:pt idx="204" formatCode="#\ ##0.0">
                  <c:v>0</c:v>
                </c:pt>
                <c:pt idx="205" formatCode="#\ ##0.0">
                  <c:v>0</c:v>
                </c:pt>
                <c:pt idx="206" formatCode="#\ ##0.0">
                  <c:v>0</c:v>
                </c:pt>
                <c:pt idx="207" formatCode="#\ ##0.0">
                  <c:v>0</c:v>
                </c:pt>
                <c:pt idx="208" formatCode="#\ ##0.0">
                  <c:v>0</c:v>
                </c:pt>
                <c:pt idx="209" formatCode="#\ ##0.0">
                  <c:v>0</c:v>
                </c:pt>
                <c:pt idx="210" formatCode="#\ ##0.0">
                  <c:v>0.30713000000000001</c:v>
                </c:pt>
                <c:pt idx="211" formatCode="#\ ##0.0">
                  <c:v>0.29752689999999998</c:v>
                </c:pt>
                <c:pt idx="212" formatCode="#\ ##0.0">
                  <c:v>0.57385180000000002</c:v>
                </c:pt>
                <c:pt idx="213" formatCode="#\ ##0.0">
                  <c:v>0.55228319999999997</c:v>
                </c:pt>
                <c:pt idx="214" formatCode="#\ ##0.0">
                  <c:v>0.2746015</c:v>
                </c:pt>
                <c:pt idx="215" formatCode="#\ ##0.0">
                  <c:v>0.27343089999999998</c:v>
                </c:pt>
                <c:pt idx="216" formatCode="#\ ##0.0">
                  <c:v>0.26439069999999998</c:v>
                </c:pt>
                <c:pt idx="217" formatCode="#\ ##0.0">
                  <c:v>0.25536969999999998</c:v>
                </c:pt>
                <c:pt idx="218" formatCode="#\ ##0.0">
                  <c:v>0.24549869999999999</c:v>
                </c:pt>
                <c:pt idx="219" formatCode="#\ ##0.0">
                  <c:v>0.2351906</c:v>
                </c:pt>
                <c:pt idx="220" formatCode="#\ ##0.0">
                  <c:v>0.22589010000000001</c:v>
                </c:pt>
                <c:pt idx="221" formatCode="#\ ##0.0">
                  <c:v>0.22344420000000001</c:v>
                </c:pt>
                <c:pt idx="222" formatCode="#\ ##0.0">
                  <c:v>0.2213927</c:v>
                </c:pt>
                <c:pt idx="223" formatCode="#\ ##0.0">
                  <c:v>0.2116738</c:v>
                </c:pt>
                <c:pt idx="224" formatCode="#\ ##0.0">
                  <c:v>0</c:v>
                </c:pt>
                <c:pt idx="225" formatCode="#\ ##0.0">
                  <c:v>0</c:v>
                </c:pt>
                <c:pt idx="226" formatCode="#\ ##0.0">
                  <c:v>0.18059169999999999</c:v>
                </c:pt>
                <c:pt idx="227" formatCode="#\ ##0.0">
                  <c:v>0</c:v>
                </c:pt>
                <c:pt idx="228" formatCode="#\ ##0.0">
                  <c:v>0</c:v>
                </c:pt>
                <c:pt idx="229" formatCode="#\ ##0.0">
                  <c:v>0</c:v>
                </c:pt>
                <c:pt idx="230" formatCode="#\ ##0.0">
                  <c:v>0.16847239999999999</c:v>
                </c:pt>
                <c:pt idx="231" formatCode="#\ ##0.0">
                  <c:v>0</c:v>
                </c:pt>
                <c:pt idx="232" formatCode="#\ ##0.0">
                  <c:v>0</c:v>
                </c:pt>
                <c:pt idx="233" formatCode="#\ ##0.0">
                  <c:v>0</c:v>
                </c:pt>
                <c:pt idx="234" formatCode="#\ ##0.0">
                  <c:v>0.14158490000000001</c:v>
                </c:pt>
                <c:pt idx="235" formatCode="#\ ##0.0">
                  <c:v>0</c:v>
                </c:pt>
                <c:pt idx="236" formatCode="#\ ##0.0">
                  <c:v>0.13667879999999999</c:v>
                </c:pt>
                <c:pt idx="237" formatCode="#\ ##0.0">
                  <c:v>0.26427580000000001</c:v>
                </c:pt>
                <c:pt idx="238" formatCode="#\ ##0.0">
                  <c:v>0.25548389999999999</c:v>
                </c:pt>
                <c:pt idx="239" formatCode="#\ ##0.0">
                  <c:v>0.24685409999999999</c:v>
                </c:pt>
                <c:pt idx="240" formatCode="#\ ##0.0">
                  <c:v>0.35886790000000002</c:v>
                </c:pt>
                <c:pt idx="241" formatCode="#\ ##0.0">
                  <c:v>0.2321173</c:v>
                </c:pt>
                <c:pt idx="242" formatCode="#\ ##0.0">
                  <c:v>0.22971050000000001</c:v>
                </c:pt>
                <c:pt idx="243" formatCode="#\ ##0.0">
                  <c:v>0.22840299999999999</c:v>
                </c:pt>
                <c:pt idx="244" formatCode="#\ ##0.0">
                  <c:v>0.2244457</c:v>
                </c:pt>
                <c:pt idx="245" formatCode="#\ ##0.0">
                  <c:v>0.22051760000000001</c:v>
                </c:pt>
                <c:pt idx="246" formatCode="#\ ##0.0">
                  <c:v>0.1085406</c:v>
                </c:pt>
                <c:pt idx="247" formatCode="#\ ##0.0">
                  <c:v>0.1065295</c:v>
                </c:pt>
                <c:pt idx="248" formatCode="#\ ##0.0">
                  <c:v>0.1051783</c:v>
                </c:pt>
                <c:pt idx="249" formatCode="#\ ##0.0">
                  <c:v>0</c:v>
                </c:pt>
                <c:pt idx="250" formatCode="#\ ##0.0">
                  <c:v>0</c:v>
                </c:pt>
                <c:pt idx="251" formatCode="#\ ##0.0">
                  <c:v>0.20670230000000001</c:v>
                </c:pt>
                <c:pt idx="252" formatCode="#\ ##0.0">
                  <c:v>0.20411989999999999</c:v>
                </c:pt>
                <c:pt idx="253" formatCode="#\ ##0.0">
                  <c:v>0</c:v>
                </c:pt>
                <c:pt idx="254" formatCode="#\ ##0.0">
                  <c:v>0</c:v>
                </c:pt>
                <c:pt idx="255" formatCode="#\ ##0.0">
                  <c:v>0</c:v>
                </c:pt>
                <c:pt idx="256" formatCode="#\ ##0.0">
                  <c:v>0</c:v>
                </c:pt>
                <c:pt idx="257" formatCode="#\ ##0.0">
                  <c:v>0</c:v>
                </c:pt>
                <c:pt idx="258" formatCode="#\ ##0.0">
                  <c:v>0</c:v>
                </c:pt>
                <c:pt idx="259" formatCode="#\ ##0.0">
                  <c:v>0</c:v>
                </c:pt>
                <c:pt idx="260" formatCode="#\ ##0.0">
                  <c:v>0</c:v>
                </c:pt>
                <c:pt idx="261" formatCode="#\ ##0.0">
                  <c:v>0</c:v>
                </c:pt>
                <c:pt idx="262" formatCode="#\ ##0.0">
                  <c:v>0</c:v>
                </c:pt>
                <c:pt idx="263" formatCode="#\ ##0.0">
                  <c:v>0</c:v>
                </c:pt>
                <c:pt idx="264" formatCode="#\ ##0.0">
                  <c:v>0</c:v>
                </c:pt>
                <c:pt idx="265" formatCode="#\ ##0.0">
                  <c:v>0</c:v>
                </c:pt>
                <c:pt idx="266" formatCode="#\ ##0.0">
                  <c:v>9.1893500000000003E-2</c:v>
                </c:pt>
                <c:pt idx="267" formatCode="#\ ##0.0">
                  <c:v>0</c:v>
                </c:pt>
                <c:pt idx="268" formatCode="#\ ##0.0">
                  <c:v>0</c:v>
                </c:pt>
                <c:pt idx="269" formatCode="#\ ##0.0">
                  <c:v>0</c:v>
                </c:pt>
                <c:pt idx="270" formatCode="#\ ##0.0">
                  <c:v>0</c:v>
                </c:pt>
                <c:pt idx="271" formatCode="#\ ##0.0">
                  <c:v>0</c:v>
                </c:pt>
                <c:pt idx="272" formatCode="#\ ##0.0">
                  <c:v>0</c:v>
                </c:pt>
                <c:pt idx="273" formatCode="#\ ##0.0">
                  <c:v>8.7896699999999994E-2</c:v>
                </c:pt>
                <c:pt idx="274" formatCode="#\ ##0.0">
                  <c:v>8.6741100000000002E-2</c:v>
                </c:pt>
                <c:pt idx="275" formatCode="#\ ##0.0">
                  <c:v>0</c:v>
                </c:pt>
                <c:pt idx="276" formatCode="#\ ##0.0">
                  <c:v>0</c:v>
                </c:pt>
                <c:pt idx="277" formatCode="#\ ##0.0">
                  <c:v>0</c:v>
                </c:pt>
                <c:pt idx="278" formatCode="#\ ##0.0">
                  <c:v>0</c:v>
                </c:pt>
                <c:pt idx="279" formatCode="#\ ##0.0">
                  <c:v>7.9262700000000005E-2</c:v>
                </c:pt>
                <c:pt idx="280" formatCode="#\ ##0.0">
                  <c:v>7.7074000000000004E-2</c:v>
                </c:pt>
                <c:pt idx="281" formatCode="#\ ##0.0">
                  <c:v>7.4906200000000006E-2</c:v>
                </c:pt>
                <c:pt idx="282" formatCode="#\ ##0.0">
                  <c:v>7.2340299999999996E-2</c:v>
                </c:pt>
                <c:pt idx="283" formatCode="#\ ##0.0">
                  <c:v>6.9981699999999994E-2</c:v>
                </c:pt>
                <c:pt idx="284" formatCode="#\ ##0.0">
                  <c:v>6.9153400000000004E-2</c:v>
                </c:pt>
                <c:pt idx="285" formatCode="#\ ##0.0">
                  <c:v>6.8469100000000005E-2</c:v>
                </c:pt>
                <c:pt idx="286" formatCode="#\ ##0.0">
                  <c:v>6.6311200000000001E-2</c:v>
                </c:pt>
                <c:pt idx="287" formatCode="#\ ##0.0">
                  <c:v>6.4229599999999998E-2</c:v>
                </c:pt>
                <c:pt idx="288" formatCode="#\ ##0.0">
                  <c:v>6.20765E-2</c:v>
                </c:pt>
                <c:pt idx="289" formatCode="#\ ##0.0">
                  <c:v>5.9839400000000001E-2</c:v>
                </c:pt>
                <c:pt idx="290" formatCode="#\ ##0.0">
                  <c:v>5.78515E-2</c:v>
                </c:pt>
                <c:pt idx="291" formatCode="#\ ##0.0">
                  <c:v>5.7226300000000001E-2</c:v>
                </c:pt>
                <c:pt idx="292" formatCode="#\ ##0.0">
                  <c:v>5.6734199999999999E-2</c:v>
                </c:pt>
                <c:pt idx="293" formatCode="#\ ##0.0">
                  <c:v>5.4997799999999999E-2</c:v>
                </c:pt>
                <c:pt idx="294" formatCode="#\ ##0.0">
                  <c:v>5.3382899999999997E-2</c:v>
                </c:pt>
                <c:pt idx="295" formatCode="#\ ##0.0">
                  <c:v>5.1601800000000003E-2</c:v>
                </c:pt>
                <c:pt idx="296" formatCode="#\ ##0.0">
                  <c:v>4.9771000000000003E-2</c:v>
                </c:pt>
                <c:pt idx="297" formatCode="#\ ##0.0">
                  <c:v>4.8099999999999997E-2</c:v>
                </c:pt>
                <c:pt idx="298" formatCode="#\ ##0.0">
                  <c:v>4.76233E-2</c:v>
                </c:pt>
                <c:pt idx="299" formatCode="#\ ##0.0">
                  <c:v>4.7209099999999997E-2</c:v>
                </c:pt>
                <c:pt idx="300" formatCode="#\ ##0.0">
                  <c:v>4.5607300000000003E-2</c:v>
                </c:pt>
                <c:pt idx="301" formatCode="#\ ##0.0">
                  <c:v>4.4149599999999997E-2</c:v>
                </c:pt>
                <c:pt idx="302" formatCode="#\ ##0.0">
                  <c:v>4.2675400000000002E-2</c:v>
                </c:pt>
                <c:pt idx="303" formatCode="#\ ##0.0">
                  <c:v>4.1213699999999999E-2</c:v>
                </c:pt>
                <c:pt idx="304" formatCode="#\ ##0.0">
                  <c:v>3.9889300000000003E-2</c:v>
                </c:pt>
                <c:pt idx="305" formatCode="#\ ##0.0">
                  <c:v>3.9428199999999997E-2</c:v>
                </c:pt>
                <c:pt idx="306" formatCode="#\ ##0.0">
                  <c:v>3.90608E-2</c:v>
                </c:pt>
                <c:pt idx="307" formatCode="#\ ##0.0">
                  <c:v>0</c:v>
                </c:pt>
                <c:pt idx="308" formatCode="#\ ##0.0">
                  <c:v>0</c:v>
                </c:pt>
                <c:pt idx="309" formatCode="#\ ##0.0">
                  <c:v>0</c:v>
                </c:pt>
                <c:pt idx="310" formatCode="#\ ##0.0">
                  <c:v>0</c:v>
                </c:pt>
                <c:pt idx="311" formatCode="#\ ##0.0">
                  <c:v>0</c:v>
                </c:pt>
                <c:pt idx="312" formatCode="#\ ##0.0">
                  <c:v>0</c:v>
                </c:pt>
                <c:pt idx="313" formatCode="#\ ##0.0">
                  <c:v>0</c:v>
                </c:pt>
                <c:pt idx="314" formatCode="#\ ##0.0">
                  <c:v>0</c:v>
                </c:pt>
                <c:pt idx="315" formatCode="#\ ##0.0">
                  <c:v>0</c:v>
                </c:pt>
                <c:pt idx="316" formatCode="#\ ##0.0">
                  <c:v>0</c:v>
                </c:pt>
                <c:pt idx="317" formatCode="#\ ##0.0">
                  <c:v>0</c:v>
                </c:pt>
                <c:pt idx="318" formatCode="#\ ##0.0">
                  <c:v>2.8713200000000001E-2</c:v>
                </c:pt>
                <c:pt idx="319" formatCode="#\ ##0.0">
                  <c:v>0</c:v>
                </c:pt>
                <c:pt idx="320" formatCode="#\ ##0.0">
                  <c:v>0</c:v>
                </c:pt>
                <c:pt idx="321" formatCode="#\ ##0.0">
                  <c:v>0</c:v>
                </c:pt>
                <c:pt idx="322" formatCode="#\ ##0.0">
                  <c:v>0</c:v>
                </c:pt>
                <c:pt idx="323" formatCode="#\ ##0.0">
                  <c:v>0</c:v>
                </c:pt>
                <c:pt idx="324" formatCode="#\ ##0.0">
                  <c:v>0</c:v>
                </c:pt>
                <c:pt idx="325" formatCode="#\ ##0.0">
                  <c:v>2.6262299999999999E-2</c:v>
                </c:pt>
                <c:pt idx="326" formatCode="#\ ##0.0">
                  <c:v>2.6066200000000001E-2</c:v>
                </c:pt>
                <c:pt idx="327" formatCode="#\ ##0.0">
                  <c:v>2.59116E-2</c:v>
                </c:pt>
                <c:pt idx="328" formatCode="#\ ##0.0">
                  <c:v>2.54559E-2</c:v>
                </c:pt>
                <c:pt idx="329" formatCode="#\ ##0.0">
                  <c:v>2.5011100000000001E-2</c:v>
                </c:pt>
                <c:pt idx="330" formatCode="#\ ##0.0">
                  <c:v>2.4568799999999998E-2</c:v>
                </c:pt>
                <c:pt idx="331" formatCode="#\ ##0.0">
                  <c:v>2.4176799999999998E-2</c:v>
                </c:pt>
                <c:pt idx="332" formatCode="#\ ##0.0">
                  <c:v>0</c:v>
                </c:pt>
                <c:pt idx="333" formatCode="#\ ##0.0">
                  <c:v>2.3583E-2</c:v>
                </c:pt>
                <c:pt idx="334" formatCode="#\ ##0.0">
                  <c:v>2.34393E-2</c:v>
                </c:pt>
                <c:pt idx="335" formatCode="#\ ##0.0">
                  <c:v>2.3076800000000001E-2</c:v>
                </c:pt>
                <c:pt idx="336" formatCode="#\ ##0.0">
                  <c:v>2.27253E-2</c:v>
                </c:pt>
                <c:pt idx="337" formatCode="#\ ##0.0">
                  <c:v>2.24023E-2</c:v>
                </c:pt>
                <c:pt idx="338" formatCode="#\ ##0.0">
                  <c:v>2.2112400000000001E-2</c:v>
                </c:pt>
                <c:pt idx="339" formatCode="#\ ##0.0">
                  <c:v>2.18491E-2</c:v>
                </c:pt>
                <c:pt idx="340" formatCode="#\ ##0.0">
                  <c:v>0</c:v>
                </c:pt>
                <c:pt idx="341" formatCode="#\ ##0.0">
                  <c:v>0</c:v>
                </c:pt>
                <c:pt idx="342" formatCode="#\ ##0.0">
                  <c:v>0</c:v>
                </c:pt>
                <c:pt idx="343" formatCode="#\ ##0.0">
                  <c:v>2.1179199999999999E-2</c:v>
                </c:pt>
                <c:pt idx="344" formatCode="#\ ##0.0">
                  <c:v>2.0978E-2</c:v>
                </c:pt>
                <c:pt idx="345" formatCode="#\ ##0.0">
                  <c:v>2.0798299999999999E-2</c:v>
                </c:pt>
                <c:pt idx="346" formatCode="#\ ##0.0">
                  <c:v>2.0620599999999999E-2</c:v>
                </c:pt>
                <c:pt idx="347" formatCode="#\ ##0.0">
                  <c:v>2.0538299999999999E-2</c:v>
                </c:pt>
                <c:pt idx="348" formatCode="#\ ##0.0">
                  <c:v>2.0470700000000001E-2</c:v>
                </c:pt>
                <c:pt idx="349" formatCode="#\ ##0.0">
                  <c:v>2.03173E-2</c:v>
                </c:pt>
                <c:pt idx="350" formatCode="#\ ##0.0">
                  <c:v>0</c:v>
                </c:pt>
                <c:pt idx="351" formatCode="#\ ##0.0">
                  <c:v>0</c:v>
                </c:pt>
                <c:pt idx="352" formatCode="#\ ##0.0">
                  <c:v>1.9876600000000001E-2</c:v>
                </c:pt>
                <c:pt idx="353" formatCode="#\ ##0.0">
                  <c:v>0</c:v>
                </c:pt>
                <c:pt idx="354" formatCode="#\ ##0.0">
                  <c:v>0</c:v>
                </c:pt>
                <c:pt idx="355" formatCode="#\ ##0.0">
                  <c:v>0</c:v>
                </c:pt>
                <c:pt idx="356" formatCode="#\ ##0.0">
                  <c:v>0</c:v>
                </c:pt>
                <c:pt idx="357" formatCode="#\ ##0.0">
                  <c:v>1.92926E-2</c:v>
                </c:pt>
                <c:pt idx="358" formatCode="#\ ##0.0">
                  <c:v>3.8293099999999997E-2</c:v>
                </c:pt>
                <c:pt idx="359" formatCode="#\ ##0.0">
                  <c:v>1.9027200000000001E-2</c:v>
                </c:pt>
                <c:pt idx="360" formatCode="#\ ##0.0">
                  <c:v>0</c:v>
                </c:pt>
                <c:pt idx="361" formatCode="#\ ##0.0">
                  <c:v>0</c:v>
                </c:pt>
                <c:pt idx="362" formatCode="#\ ##0.0">
                  <c:v>0</c:v>
                </c:pt>
                <c:pt idx="363" formatCode="#\ ##0.0">
                  <c:v>1.8721499999999999E-2</c:v>
                </c:pt>
                <c:pt idx="364" formatCode="#\ ##0.0">
                  <c:v>1.8640299999999999E-2</c:v>
                </c:pt>
                <c:pt idx="365" formatCode="#\ ##0.0">
                  <c:v>1.8522799999999999E-2</c:v>
                </c:pt>
                <c:pt idx="366" formatCode="#\ ##0.0">
                  <c:v>1.8412600000000001E-2</c:v>
                </c:pt>
                <c:pt idx="367" formatCode="#\ ##0.0">
                  <c:v>0</c:v>
                </c:pt>
                <c:pt idx="368" formatCode="#\ ##0.0">
                  <c:v>0</c:v>
                </c:pt>
                <c:pt idx="369" formatCode="#\ ##0.0">
                  <c:v>0</c:v>
                </c:pt>
                <c:pt idx="370" formatCode="#\ ##0.0">
                  <c:v>1.81091E-2</c:v>
                </c:pt>
                <c:pt idx="371" formatCode="#\ ##0.0">
                  <c:v>1.8018099999999999E-2</c:v>
                </c:pt>
                <c:pt idx="372" formatCode="#\ ##0.0">
                  <c:v>3.5878100000000003E-2</c:v>
                </c:pt>
                <c:pt idx="373" formatCode="#\ ##0.0">
                  <c:v>3.5740800000000003E-2</c:v>
                </c:pt>
                <c:pt idx="374" formatCode="#\ ##0.0">
                  <c:v>3.5596999999999997E-2</c:v>
                </c:pt>
                <c:pt idx="375" formatCode="#\ ##0.0">
                  <c:v>3.5558800000000002E-2</c:v>
                </c:pt>
                <c:pt idx="376" formatCode="#\ ##0.0">
                  <c:v>7.1051799999999998E-2</c:v>
                </c:pt>
                <c:pt idx="377" formatCode="#\ ##0.0">
                  <c:v>0.10625039999999999</c:v>
                </c:pt>
                <c:pt idx="378" formatCode="#\ ##0.0">
                  <c:v>0.105977</c:v>
                </c:pt>
                <c:pt idx="379" formatCode="#\ ##0.0">
                  <c:v>0.10577780000000001</c:v>
                </c:pt>
                <c:pt idx="380" formatCode="#\ ##0.0">
                  <c:v>0.1055691</c:v>
                </c:pt>
                <c:pt idx="381" formatCode="#\ ##0.0">
                  <c:v>8.7771399999999999E-2</c:v>
                </c:pt>
                <c:pt idx="382" formatCode="#\ ##0.0">
                  <c:v>0.10526629999999999</c:v>
                </c:pt>
                <c:pt idx="383" formatCode="#\ ##0.0">
                  <c:v>7.0146399999999998E-2</c:v>
                </c:pt>
                <c:pt idx="384" formatCode="#\ ##0.0">
                  <c:v>8.7522100000000005E-2</c:v>
                </c:pt>
                <c:pt idx="385" formatCode="#\ ##0.0">
                  <c:v>6.9903699999999999E-2</c:v>
                </c:pt>
                <c:pt idx="386" formatCode="#\ ##0.0">
                  <c:v>6.9803400000000002E-2</c:v>
                </c:pt>
                <c:pt idx="387" formatCode="#\ ##0.0">
                  <c:v>6.9706199999999996E-2</c:v>
                </c:pt>
                <c:pt idx="388" formatCode="#\ ##0.0">
                  <c:v>3.4792099999999999E-2</c:v>
                </c:pt>
                <c:pt idx="389" formatCode="#\ ##0.0">
                  <c:v>5.2167999999999999E-2</c:v>
                </c:pt>
                <c:pt idx="390" formatCode="#\ ##0.0">
                  <c:v>3.4770099999999998E-2</c:v>
                </c:pt>
                <c:pt idx="391" formatCode="#\ ##0.0">
                  <c:v>3.4717900000000003E-2</c:v>
                </c:pt>
                <c:pt idx="392" formatCode="#\ ##0.0">
                  <c:v>5.20124E-2</c:v>
                </c:pt>
                <c:pt idx="393" formatCode="#\ ##0.0">
                  <c:v>6.9268200000000002E-2</c:v>
                </c:pt>
                <c:pt idx="394" formatCode="#\ ##0.0">
                  <c:v>6.9188100000000002E-2</c:v>
                </c:pt>
                <c:pt idx="395" formatCode="#\ ##0.0">
                  <c:v>6.9085900000000006E-2</c:v>
                </c:pt>
                <c:pt idx="396" formatCode="#\ ##0.0">
                  <c:v>6.9062200000000004E-2</c:v>
                </c:pt>
                <c:pt idx="397" formatCode="#\ ##0.0">
                  <c:v>6.9046099999999999E-2</c:v>
                </c:pt>
                <c:pt idx="398" formatCode="#\ ##0.0">
                  <c:v>6.8972800000000001E-2</c:v>
                </c:pt>
                <c:pt idx="399" formatCode="#\ ##0.0">
                  <c:v>0.1033651</c:v>
                </c:pt>
                <c:pt idx="400" formatCode="#\ ##0.0">
                  <c:v>0.13772429999999999</c:v>
                </c:pt>
                <c:pt idx="401" formatCode="#\ ##0.0">
                  <c:v>0.1376221</c:v>
                </c:pt>
                <c:pt idx="402" formatCode="#\ ##0.0">
                  <c:v>0.13744680000000001</c:v>
                </c:pt>
                <c:pt idx="403" formatCode="#\ ##0.0">
                  <c:v>0.1030557</c:v>
                </c:pt>
                <c:pt idx="404" formatCode="#\ ##0.0">
                  <c:v>0.1030321</c:v>
                </c:pt>
                <c:pt idx="405" formatCode="#\ ##0.0">
                  <c:v>0.1715769</c:v>
                </c:pt>
                <c:pt idx="406" formatCode="#\ ##0.0">
                  <c:v>0.20587720000000001</c:v>
                </c:pt>
                <c:pt idx="407" formatCode="#\ ##0.0">
                  <c:v>0.18855240000000001</c:v>
                </c:pt>
                <c:pt idx="408" formatCode="#\ ##0.0">
                  <c:v>0.20552210000000001</c:v>
                </c:pt>
                <c:pt idx="409" formatCode="#\ ##0.0">
                  <c:v>0.2053594</c:v>
                </c:pt>
                <c:pt idx="410" formatCode="#\ ##0.0">
                  <c:v>0.1882056</c:v>
                </c:pt>
                <c:pt idx="411" formatCode="#\ ##0.0">
                  <c:v>0.1881834</c:v>
                </c:pt>
                <c:pt idx="412" formatCode="#\ ##0.0">
                  <c:v>0.27357779999999998</c:v>
                </c:pt>
                <c:pt idx="413" formatCode="#\ ##0.0">
                  <c:v>0.25638440000000001</c:v>
                </c:pt>
                <c:pt idx="414" formatCode="#\ ##0.0">
                  <c:v>0.25631350000000003</c:v>
                </c:pt>
                <c:pt idx="415" formatCode="#\ ##0.0">
                  <c:v>0.34163060000000001</c:v>
                </c:pt>
                <c:pt idx="416" formatCode="#\ ##0.0">
                  <c:v>0.34152670000000002</c:v>
                </c:pt>
                <c:pt idx="417" formatCode="#\ ##0.0">
                  <c:v>0.39268789999999998</c:v>
                </c:pt>
                <c:pt idx="418" formatCode="#\ ##0.0">
                  <c:v>0.40972779999999998</c:v>
                </c:pt>
                <c:pt idx="419" formatCode="#\ ##0.0">
                  <c:v>0.42671409999999999</c:v>
                </c:pt>
                <c:pt idx="420" formatCode="#\ ##0.0">
                  <c:v>0.44377800000000001</c:v>
                </c:pt>
                <c:pt idx="421" formatCode="#\ ##0.0">
                  <c:v>0.44384000000000001</c:v>
                </c:pt>
                <c:pt idx="422" formatCode="#\ ##0.0">
                  <c:v>0.42679739999999999</c:v>
                </c:pt>
                <c:pt idx="423" formatCode="#\ ##0.0">
                  <c:v>0.49506539999999999</c:v>
                </c:pt>
                <c:pt idx="424" formatCode="#\ ##0.0">
                  <c:v>0.54625069999999998</c:v>
                </c:pt>
                <c:pt idx="425" formatCode="#\ ##0.0">
                  <c:v>0.6144887</c:v>
                </c:pt>
                <c:pt idx="426" formatCode="#\ ##0.0">
                  <c:v>0.68317000000000005</c:v>
                </c:pt>
                <c:pt idx="427" formatCode="#\ ##0.0">
                  <c:v>0.63290829999999998</c:v>
                </c:pt>
                <c:pt idx="428" formatCode="#\ ##0.0">
                  <c:v>0.58269870000000001</c:v>
                </c:pt>
                <c:pt idx="429" formatCode="#\ ##0.0">
                  <c:v>0.70417859999999999</c:v>
                </c:pt>
                <c:pt idx="430" formatCode="#\ ##0.0">
                  <c:v>0.74017999999999995</c:v>
                </c:pt>
                <c:pt idx="431" formatCode="#\ ##0.0">
                  <c:v>0.72315890000000005</c:v>
                </c:pt>
                <c:pt idx="432" formatCode="#\ ##0.0">
                  <c:v>0.82657740000000002</c:v>
                </c:pt>
                <c:pt idx="433" formatCode="#\ ##0.0">
                  <c:v>0.93221750000000003</c:v>
                </c:pt>
                <c:pt idx="434" formatCode="#\ ##0.0">
                  <c:v>1.0040941999999999</c:v>
                </c:pt>
                <c:pt idx="435" formatCode="#\ ##0.0">
                  <c:v>0.90327360000000001</c:v>
                </c:pt>
                <c:pt idx="436" formatCode="#\ ##0.0">
                  <c:v>0.92106250000000001</c:v>
                </c:pt>
                <c:pt idx="437" formatCode="#\ ##0.0">
                  <c:v>0.97517609999999999</c:v>
                </c:pt>
                <c:pt idx="438" formatCode="#\ ##0.0">
                  <c:v>1.0275962999999999</c:v>
                </c:pt>
                <c:pt idx="439" formatCode="#\ ##0.0">
                  <c:v>1.2020546999999999</c:v>
                </c:pt>
                <c:pt idx="440" formatCode="#\ ##0.0">
                  <c:v>1.1702060999999999</c:v>
                </c:pt>
                <c:pt idx="441" formatCode="#\ ##0.0">
                  <c:v>1.1564753000000001</c:v>
                </c:pt>
                <c:pt idx="442" formatCode="#\ ##0.0">
                  <c:v>1.3723886999999999</c:v>
                </c:pt>
                <c:pt idx="443" formatCode="#\ ##0.0">
                  <c:v>1.4134198</c:v>
                </c:pt>
                <c:pt idx="444" formatCode="#\ ##0.0">
                  <c:v>1.4539930000000001</c:v>
                </c:pt>
                <c:pt idx="445" formatCode="#\ ##0.0">
                  <c:v>1.4549947000000001</c:v>
                </c:pt>
                <c:pt idx="446" formatCode="#\ ##0.0">
                  <c:v>1.4556047999999999</c:v>
                </c:pt>
                <c:pt idx="447" formatCode="#\ ##0.0">
                  <c:v>1.6383361999999999</c:v>
                </c:pt>
                <c:pt idx="448" formatCode="#\ ##0.0">
                  <c:v>1.6624604000000001</c:v>
                </c:pt>
                <c:pt idx="449" formatCode="#\ ##0.0">
                  <c:v>1.6331138999999999</c:v>
                </c:pt>
                <c:pt idx="450" formatCode="#\ ##0.0">
                  <c:v>1.6747917999999999</c:v>
                </c:pt>
                <c:pt idx="451" formatCode="#\ ##0.0">
                  <c:v>1.7699050999999999</c:v>
                </c:pt>
                <c:pt idx="452" formatCode="#\ ##0.0">
                  <c:v>1.7886259</c:v>
                </c:pt>
                <c:pt idx="453" formatCode="#\ ##0.0">
                  <c:v>1.8792274</c:v>
                </c:pt>
                <c:pt idx="454" formatCode="#\ ##0.0">
                  <c:v>1.9921865999999999</c:v>
                </c:pt>
                <c:pt idx="455" formatCode="#\ ##0.0">
                  <c:v>1.9980125</c:v>
                </c:pt>
                <c:pt idx="456" formatCode="#\ ##0.0">
                  <c:v>2.0347476000000002</c:v>
                </c:pt>
                <c:pt idx="457" formatCode="#\ ##0.0">
                  <c:v>2.0948981</c:v>
                </c:pt>
                <c:pt idx="458" formatCode="#\ ##0.0">
                  <c:v>1.9892086</c:v>
                </c:pt>
                <c:pt idx="459" formatCode="#\ ##0.0">
                  <c:v>1.898231</c:v>
                </c:pt>
                <c:pt idx="460" formatCode="#\ ##0.0">
                  <c:v>1.9162901999999999</c:v>
                </c:pt>
                <c:pt idx="461" formatCode="#\ ##0.0">
                  <c:v>1.8098846</c:v>
                </c:pt>
                <c:pt idx="462" formatCode="#\ ##0.0">
                  <c:v>1.9253484999999999</c:v>
                </c:pt>
                <c:pt idx="463" formatCode="#\ ##0.0">
                  <c:v>2.0223974999999998</c:v>
                </c:pt>
                <c:pt idx="464" formatCode="#\ ##0.0">
                  <c:v>2.1588077999999999</c:v>
                </c:pt>
                <c:pt idx="465" formatCode="#\ ##0.0">
                  <c:v>2.1288071999999998</c:v>
                </c:pt>
                <c:pt idx="466" formatCode="#\ ##0.0">
                  <c:v>2.1298370000000002</c:v>
                </c:pt>
                <c:pt idx="467" formatCode="#\ ##0.0">
                  <c:v>2.1500002999999999</c:v>
                </c:pt>
                <c:pt idx="468" formatCode="#\ ##0.0">
                  <c:v>2.2537251</c:v>
                </c:pt>
                <c:pt idx="469" formatCode="#\ ##0.0">
                  <c:v>2.1021865000000002</c:v>
                </c:pt>
                <c:pt idx="470" formatCode="#\ ##0.0">
                  <c:v>2.1613169000000001</c:v>
                </c:pt>
                <c:pt idx="471" formatCode="#\ ##0.0">
                  <c:v>2.1102756999999999</c:v>
                </c:pt>
                <c:pt idx="472" formatCode="#\ ##0.0">
                  <c:v>2.1357368999999999</c:v>
                </c:pt>
                <c:pt idx="473" formatCode="#\ ##0.0">
                  <c:v>2.0672809999999999</c:v>
                </c:pt>
                <c:pt idx="474" formatCode="#\ ##0.0">
                  <c:v>1.9763016</c:v>
                </c:pt>
                <c:pt idx="475" formatCode="#\ ##0.0">
                  <c:v>1.93909</c:v>
                </c:pt>
                <c:pt idx="476" formatCode="#\ ##0.0">
                  <c:v>1.9653776000000001</c:v>
                </c:pt>
                <c:pt idx="477" formatCode="#\ ##0.0">
                  <c:v>1.8941507</c:v>
                </c:pt>
                <c:pt idx="478" formatCode="#\ ##0.0">
                  <c:v>1.8387631</c:v>
                </c:pt>
                <c:pt idx="479" formatCode="#\ ##0.0">
                  <c:v>1.7157743999999999</c:v>
                </c:pt>
                <c:pt idx="480" formatCode="#\ ##0.0">
                  <c:v>1.7864344000000001</c:v>
                </c:pt>
                <c:pt idx="481" formatCode="#\ ##0.0">
                  <c:v>1.748777</c:v>
                </c:pt>
                <c:pt idx="482" formatCode="#\ ##0.0">
                  <c:v>1.6179386</c:v>
                </c:pt>
                <c:pt idx="483" formatCode="#\ ##0.0">
                  <c:v>1.5746604</c:v>
                </c:pt>
                <c:pt idx="484" formatCode="#\ ##0.0">
                  <c:v>1.5302773999999999</c:v>
                </c:pt>
                <c:pt idx="485" formatCode="#\ ##0.0">
                  <c:v>1.4404189000000001</c:v>
                </c:pt>
                <c:pt idx="486" formatCode="#\ ##0.0">
                  <c:v>1.3696661000000001</c:v>
                </c:pt>
                <c:pt idx="487" formatCode="#\ ##0.0">
                  <c:v>1.3534662</c:v>
                </c:pt>
                <c:pt idx="488" formatCode="#\ ##0.0">
                  <c:v>1.2904587000000001</c:v>
                </c:pt>
                <c:pt idx="489" formatCode="#\ ##0.0">
                  <c:v>1.3290077</c:v>
                </c:pt>
                <c:pt idx="490" formatCode="#\ ##0.0">
                  <c:v>1.2310175999999999</c:v>
                </c:pt>
                <c:pt idx="491" formatCode="#\ ##0.0">
                  <c:v>1.0096803999999999</c:v>
                </c:pt>
                <c:pt idx="492" formatCode="#\ ##0.0">
                  <c:v>0.99153060000000004</c:v>
                </c:pt>
                <c:pt idx="493" formatCode="#\ ##0.0">
                  <c:v>0.92077629999999999</c:v>
                </c:pt>
                <c:pt idx="494" formatCode="#\ ##0.0">
                  <c:v>0.89716969999999996</c:v>
                </c:pt>
                <c:pt idx="495" formatCode="#\ ##0.0">
                  <c:v>0.96819960000000005</c:v>
                </c:pt>
                <c:pt idx="496" formatCode="#\ ##0.0">
                  <c:v>1.0730777</c:v>
                </c:pt>
                <c:pt idx="497" formatCode="#\ ##0.0">
                  <c:v>0.98982000000000003</c:v>
                </c:pt>
                <c:pt idx="498" formatCode="#\ ##0.0">
                  <c:v>0.90415179999999995</c:v>
                </c:pt>
                <c:pt idx="499" formatCode="#\ ##0.0">
                  <c:v>0.838862</c:v>
                </c:pt>
                <c:pt idx="500" formatCode="#\ ##0.0">
                  <c:v>0.69219580000000003</c:v>
                </c:pt>
                <c:pt idx="501" formatCode="#\ ##0.0">
                  <c:v>0.61803379999999997</c:v>
                </c:pt>
                <c:pt idx="502" formatCode="#\ ##0.0">
                  <c:v>0.5950841</c:v>
                </c:pt>
                <c:pt idx="503" formatCode="#\ ##0.0">
                  <c:v>0.6027508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OCK_s_posil_Na_UPV_ECMO_100_000_nyni</c:v>
          </c:tx>
          <c:spPr>
            <a:ln>
              <a:solidFill>
                <a:srgbClr val="70AD47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">
                  <c:v>1.9708315999999999</c:v>
                </c:pt>
                <c:pt idx="427" formatCode="0.00">
                  <c:v>1.6211133</c:v>
                </c:pt>
                <c:pt idx="428" formatCode="0.00">
                  <c:v>1.3038489</c:v>
                </c:pt>
                <c:pt idx="429" formatCode="0.00">
                  <c:v>1.0605690999999999</c:v>
                </c:pt>
                <c:pt idx="430" formatCode="0.00">
                  <c:v>0.88385279999999999</c:v>
                </c:pt>
                <c:pt idx="431" formatCode="0.00">
                  <c:v>0.85609840000000004</c:v>
                </c:pt>
                <c:pt idx="432" formatCode="0.00">
                  <c:v>0.83816670000000004</c:v>
                </c:pt>
                <c:pt idx="433" formatCode="0.00">
                  <c:v>0.71847850000000002</c:v>
                </c:pt>
                <c:pt idx="434" formatCode="0.00">
                  <c:v>0.61842909999999995</c:v>
                </c:pt>
                <c:pt idx="435" formatCode="0.00">
                  <c:v>0.53164049999999996</c:v>
                </c:pt>
                <c:pt idx="436" formatCode="0.00">
                  <c:v>0.51990179999999997</c:v>
                </c:pt>
                <c:pt idx="437" formatCode="0.00">
                  <c:v>0.47297420000000001</c:v>
                </c:pt>
                <c:pt idx="438" formatCode="0.00">
                  <c:v>0</c:v>
                </c:pt>
                <c:pt idx="439" formatCode="0.00">
                  <c:v>0</c:v>
                </c:pt>
                <c:pt idx="440" formatCode="0.00">
                  <c:v>0</c:v>
                </c:pt>
                <c:pt idx="441" formatCode="0.00">
                  <c:v>0</c:v>
                </c:pt>
                <c:pt idx="442" formatCode="0.00">
                  <c:v>0</c:v>
                </c:pt>
                <c:pt idx="443" formatCode="0.00">
                  <c:v>0</c:v>
                </c:pt>
                <c:pt idx="444" formatCode="0.00">
                  <c:v>0</c:v>
                </c:pt>
                <c:pt idx="445" formatCode="0.00">
                  <c:v>0</c:v>
                </c:pt>
                <c:pt idx="446" formatCode="0.00">
                  <c:v>0</c:v>
                </c:pt>
                <c:pt idx="447" formatCode="0.00">
                  <c:v>0.25280350000000001</c:v>
                </c:pt>
                <c:pt idx="448" formatCode="0.00">
                  <c:v>0.23597650000000001</c:v>
                </c:pt>
                <c:pt idx="449" formatCode="0.00">
                  <c:v>0.22098660000000001</c:v>
                </c:pt>
                <c:pt idx="450" formatCode="0.00">
                  <c:v>0.2082522</c:v>
                </c:pt>
                <c:pt idx="451" formatCode="0.00">
                  <c:v>0.19696359999999999</c:v>
                </c:pt>
                <c:pt idx="452" formatCode="0.00">
                  <c:v>0.1947605</c:v>
                </c:pt>
                <c:pt idx="453" formatCode="0.00">
                  <c:v>0.19338759999999999</c:v>
                </c:pt>
                <c:pt idx="454" formatCode="0.00">
                  <c:v>0.37060569999999998</c:v>
                </c:pt>
                <c:pt idx="455" formatCode="0.00">
                  <c:v>0.35289670000000001</c:v>
                </c:pt>
                <c:pt idx="456" formatCode="0.00">
                  <c:v>0.35011239999999999</c:v>
                </c:pt>
                <c:pt idx="457" formatCode="0.00">
                  <c:v>0.3350263</c:v>
                </c:pt>
                <c:pt idx="458" formatCode="0.00">
                  <c:v>0.32131090000000001</c:v>
                </c:pt>
                <c:pt idx="459" formatCode="0.00">
                  <c:v>0.31846010000000002</c:v>
                </c:pt>
                <c:pt idx="460" formatCode="0.00">
                  <c:v>0.15847549999999999</c:v>
                </c:pt>
                <c:pt idx="461" formatCode="0.00">
                  <c:v>0.1529952</c:v>
                </c:pt>
                <c:pt idx="462" formatCode="0.00">
                  <c:v>0.1465648</c:v>
                </c:pt>
                <c:pt idx="463" formatCode="0.00">
                  <c:v>0.14057910000000001</c:v>
                </c:pt>
                <c:pt idx="464" formatCode="0.00">
                  <c:v>0.26851580000000003</c:v>
                </c:pt>
                <c:pt idx="465" formatCode="0.00">
                  <c:v>0.256525</c:v>
                </c:pt>
                <c:pt idx="466" formatCode="0.00">
                  <c:v>0.25393890000000002</c:v>
                </c:pt>
                <c:pt idx="467" formatCode="0.00">
                  <c:v>0.25170150000000002</c:v>
                </c:pt>
                <c:pt idx="468" formatCode="0.00">
                  <c:v>0</c:v>
                </c:pt>
                <c:pt idx="469" formatCode="0.00">
                  <c:v>0</c:v>
                </c:pt>
                <c:pt idx="470" formatCode="0.00">
                  <c:v>0</c:v>
                </c:pt>
                <c:pt idx="471" formatCode="0.00">
                  <c:v>0</c:v>
                </c:pt>
                <c:pt idx="472" formatCode="0.00">
                  <c:v>9.1054999999999997E-2</c:v>
                </c:pt>
                <c:pt idx="473" formatCode="0.00">
                  <c:v>8.8908100000000004E-2</c:v>
                </c:pt>
                <c:pt idx="474" formatCode="0.00">
                  <c:v>0.17485319999999999</c:v>
                </c:pt>
                <c:pt idx="475" formatCode="0.00">
                  <c:v>0.16520029999999999</c:v>
                </c:pt>
                <c:pt idx="476" formatCode="0.00">
                  <c:v>0.1551872</c:v>
                </c:pt>
                <c:pt idx="477" formatCode="0.00">
                  <c:v>0.21886639999999999</c:v>
                </c:pt>
                <c:pt idx="478" formatCode="0.00">
                  <c:v>0.27553179999999999</c:v>
                </c:pt>
                <c:pt idx="479" formatCode="0.00">
                  <c:v>0.32717669999999999</c:v>
                </c:pt>
                <c:pt idx="480" formatCode="0.00">
                  <c:v>0.32169639999999999</c:v>
                </c:pt>
                <c:pt idx="481" formatCode="0.00">
                  <c:v>0.38209470000000001</c:v>
                </c:pt>
                <c:pt idx="482" formatCode="0.00">
                  <c:v>0.3678823</c:v>
                </c:pt>
                <c:pt idx="483" formatCode="0.00">
                  <c:v>0.2933595</c:v>
                </c:pt>
                <c:pt idx="484" formatCode="0.00">
                  <c:v>0.33743210000000001</c:v>
                </c:pt>
                <c:pt idx="485" formatCode="0.00">
                  <c:v>0.37776549999999998</c:v>
                </c:pt>
                <c:pt idx="486" formatCode="0.00">
                  <c:v>0.31135930000000001</c:v>
                </c:pt>
                <c:pt idx="487" formatCode="0.00">
                  <c:v>0.30727359999999998</c:v>
                </c:pt>
                <c:pt idx="488" formatCode="0.00">
                  <c:v>0.30444949999999998</c:v>
                </c:pt>
                <c:pt idx="489" formatCode="0.00">
                  <c:v>0.2455794</c:v>
                </c:pt>
                <c:pt idx="490" formatCode="0.00">
                  <c:v>0.33248719999999998</c:v>
                </c:pt>
                <c:pt idx="491" formatCode="0.00">
                  <c:v>0.36983749999999999</c:v>
                </c:pt>
                <c:pt idx="492" formatCode="0.00">
                  <c:v>0.36519790000000002</c:v>
                </c:pt>
                <c:pt idx="493" formatCode="0.00">
                  <c:v>0.41077000000000002</c:v>
                </c:pt>
                <c:pt idx="494" formatCode="0.00">
                  <c:v>0.4564067</c:v>
                </c:pt>
                <c:pt idx="495" formatCode="0.00">
                  <c:v>0.45620139999999998</c:v>
                </c:pt>
                <c:pt idx="496" formatCode="0.00">
                  <c:v>0.49074469999999998</c:v>
                </c:pt>
                <c:pt idx="497" formatCode="0.00">
                  <c:v>0.47828199999999998</c:v>
                </c:pt>
                <c:pt idx="498" formatCode="0.00">
                  <c:v>0.38192389999999998</c:v>
                </c:pt>
                <c:pt idx="499" formatCode="0.00">
                  <c:v>0.2916551</c:v>
                </c:pt>
                <c:pt idx="500" formatCode="0.00">
                  <c:v>0.24905250000000001</c:v>
                </c:pt>
                <c:pt idx="501" formatCode="0.00">
                  <c:v>0.2490494</c:v>
                </c:pt>
                <c:pt idx="502" formatCode="0.00">
                  <c:v>0.2064194</c:v>
                </c:pt>
                <c:pt idx="503" formatCode="0.00">
                  <c:v>0.2014952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Z_Po_ukonceni</c:v>
          </c:tx>
          <c:spPr>
            <a:ln>
              <a:noFill/>
            </a:ln>
          </c:spPr>
          <c:marker>
            <c:symbol val="none"/>
          </c:marker>
          <c:trendline>
            <c:spPr>
              <a:ln w="19050">
                <a:solidFill>
                  <a:srgbClr val="4472C4"/>
                </a:solidFill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81" formatCode="0%">
                  <c:v>0.97641599999999995</c:v>
                </c:pt>
                <c:pt idx="182" formatCode="0%">
                  <c:v>0.94084999999999996</c:v>
                </c:pt>
                <c:pt idx="183" formatCode="0%">
                  <c:v>0.91985700000000004</c:v>
                </c:pt>
                <c:pt idx="184" formatCode="0%">
                  <c:v>0.90659500000000004</c:v>
                </c:pt>
                <c:pt idx="185" formatCode="0%">
                  <c:v>0.88473800000000002</c:v>
                </c:pt>
                <c:pt idx="186" formatCode="0%">
                  <c:v>0.87811799999999995</c:v>
                </c:pt>
                <c:pt idx="187" formatCode="0%">
                  <c:v>0.87221400000000004</c:v>
                </c:pt>
                <c:pt idx="188" formatCode="0%">
                  <c:v>0.876996</c:v>
                </c:pt>
                <c:pt idx="189" formatCode="0%">
                  <c:v>0.89585000000000004</c:v>
                </c:pt>
                <c:pt idx="190" formatCode="0%">
                  <c:v>0.90586299999999997</c:v>
                </c:pt>
                <c:pt idx="191" formatCode="0%">
                  <c:v>0.89685300000000001</c:v>
                </c:pt>
                <c:pt idx="192" formatCode="0%">
                  <c:v>0.90375799999999995</c:v>
                </c:pt>
                <c:pt idx="193" formatCode="0%">
                  <c:v>0.90140399999999998</c:v>
                </c:pt>
                <c:pt idx="194" formatCode="0%">
                  <c:v>0.89917899999999995</c:v>
                </c:pt>
                <c:pt idx="195" formatCode="0%">
                  <c:v>0.89852399999999999</c:v>
                </c:pt>
                <c:pt idx="196" formatCode="0%">
                  <c:v>0.895347</c:v>
                </c:pt>
                <c:pt idx="197" formatCode="0%">
                  <c:v>0.89422599999999997</c:v>
                </c:pt>
                <c:pt idx="198" formatCode="0%">
                  <c:v>0.89960899999999999</c:v>
                </c:pt>
                <c:pt idx="199" formatCode="0%">
                  <c:v>0.89031099999999996</c:v>
                </c:pt>
                <c:pt idx="200" formatCode="0%">
                  <c:v>0.89101699999999995</c:v>
                </c:pt>
                <c:pt idx="201" formatCode="0%">
                  <c:v>0.89136599999999999</c:v>
                </c:pt>
                <c:pt idx="202" formatCode="0%">
                  <c:v>0.89070099999999996</c:v>
                </c:pt>
                <c:pt idx="203" formatCode="0%">
                  <c:v>0.88826099999999997</c:v>
                </c:pt>
                <c:pt idx="204" formatCode="0%">
                  <c:v>0.87803600000000004</c:v>
                </c:pt>
                <c:pt idx="205" formatCode="0%">
                  <c:v>0.87879499999999999</c:v>
                </c:pt>
                <c:pt idx="206" formatCode="0%">
                  <c:v>0.88584300000000005</c:v>
                </c:pt>
                <c:pt idx="207" formatCode="0%">
                  <c:v>0.88231599999999999</c:v>
                </c:pt>
                <c:pt idx="208" formatCode="0%">
                  <c:v>0.88514300000000001</c:v>
                </c:pt>
                <c:pt idx="209" formatCode="0%">
                  <c:v>0.884656</c:v>
                </c:pt>
                <c:pt idx="210" formatCode="0%">
                  <c:v>0.89012800000000003</c:v>
                </c:pt>
                <c:pt idx="211" formatCode="0%">
                  <c:v>0.893235</c:v>
                </c:pt>
                <c:pt idx="212" formatCode="0%">
                  <c:v>0.89025799999999999</c:v>
                </c:pt>
                <c:pt idx="213" formatCode="0%">
                  <c:v>0.89216200000000001</c:v>
                </c:pt>
                <c:pt idx="214" formatCode="0%">
                  <c:v>0.88831800000000005</c:v>
                </c:pt>
                <c:pt idx="215" formatCode="0%">
                  <c:v>0.88825799999999999</c:v>
                </c:pt>
                <c:pt idx="216" formatCode="0%">
                  <c:v>0.89527100000000004</c:v>
                </c:pt>
                <c:pt idx="217" formatCode="0%">
                  <c:v>0.88553099999999996</c:v>
                </c:pt>
                <c:pt idx="218" formatCode="0%">
                  <c:v>0.88854200000000005</c:v>
                </c:pt>
                <c:pt idx="219" formatCode="0%">
                  <c:v>0.88330500000000001</c:v>
                </c:pt>
                <c:pt idx="220" formatCode="0%">
                  <c:v>0.88428899999999999</c:v>
                </c:pt>
                <c:pt idx="221" formatCode="0%">
                  <c:v>0.889961</c:v>
                </c:pt>
                <c:pt idx="222" formatCode="0%">
                  <c:v>0.88616600000000001</c:v>
                </c:pt>
                <c:pt idx="223" formatCode="0%">
                  <c:v>0.88675300000000001</c:v>
                </c:pt>
                <c:pt idx="224" formatCode="0%">
                  <c:v>0.89675499999999997</c:v>
                </c:pt>
                <c:pt idx="225" formatCode="0%">
                  <c:v>0.88632699999999998</c:v>
                </c:pt>
                <c:pt idx="226" formatCode="0%">
                  <c:v>0.89335299999999995</c:v>
                </c:pt>
                <c:pt idx="227" formatCode="0%">
                  <c:v>0.88701399999999997</c:v>
                </c:pt>
                <c:pt idx="228" formatCode="0%">
                  <c:v>0.88419000000000003</c:v>
                </c:pt>
                <c:pt idx="229" formatCode="0%">
                  <c:v>0.88203500000000001</c:v>
                </c:pt>
                <c:pt idx="230" formatCode="0%">
                  <c:v>0.88315100000000002</c:v>
                </c:pt>
                <c:pt idx="231" formatCode="0%">
                  <c:v>0.87153499999999995</c:v>
                </c:pt>
                <c:pt idx="232" formatCode="0%">
                  <c:v>0.87150700000000003</c:v>
                </c:pt>
                <c:pt idx="233" formatCode="0%">
                  <c:v>0.870251</c:v>
                </c:pt>
                <c:pt idx="234" formatCode="0%">
                  <c:v>0.87113600000000002</c:v>
                </c:pt>
                <c:pt idx="235" formatCode="0%">
                  <c:v>0.88105900000000004</c:v>
                </c:pt>
                <c:pt idx="236" formatCode="0%">
                  <c:v>0.88905699999999999</c:v>
                </c:pt>
                <c:pt idx="237" formatCode="0%">
                  <c:v>0.88694799999999996</c:v>
                </c:pt>
                <c:pt idx="238" formatCode="0%">
                  <c:v>0.88695900000000005</c:v>
                </c:pt>
                <c:pt idx="239" formatCode="0%">
                  <c:v>0.90026899999999999</c:v>
                </c:pt>
                <c:pt idx="240" formatCode="0%">
                  <c:v>0.89584900000000001</c:v>
                </c:pt>
                <c:pt idx="241" formatCode="0%">
                  <c:v>0.897397</c:v>
                </c:pt>
                <c:pt idx="242" formatCode="0%">
                  <c:v>0.89363400000000004</c:v>
                </c:pt>
                <c:pt idx="243" formatCode="0%">
                  <c:v>0.89022500000000004</c:v>
                </c:pt>
                <c:pt idx="244" formatCode="0%">
                  <c:v>0.89449100000000004</c:v>
                </c:pt>
                <c:pt idx="245" formatCode="0%">
                  <c:v>0.89316200000000001</c:v>
                </c:pt>
                <c:pt idx="246" formatCode="0%">
                  <c:v>0.88551800000000003</c:v>
                </c:pt>
                <c:pt idx="247" formatCode="0%">
                  <c:v>0.88192300000000001</c:v>
                </c:pt>
                <c:pt idx="248" formatCode="0%">
                  <c:v>0.88231099999999996</c:v>
                </c:pt>
                <c:pt idx="249" formatCode="0%">
                  <c:v>0.88489799999999996</c:v>
                </c:pt>
                <c:pt idx="250" formatCode="0%">
                  <c:v>0.89004499999999998</c:v>
                </c:pt>
                <c:pt idx="251" formatCode="0%">
                  <c:v>0.89364299999999997</c:v>
                </c:pt>
                <c:pt idx="252" formatCode="0%">
                  <c:v>0.89497800000000005</c:v>
                </c:pt>
                <c:pt idx="253" formatCode="0%">
                  <c:v>0.89530399999999999</c:v>
                </c:pt>
                <c:pt idx="254" formatCode="0%">
                  <c:v>0.90577799999999997</c:v>
                </c:pt>
                <c:pt idx="255" formatCode="0%">
                  <c:v>0.90562399999999998</c:v>
                </c:pt>
                <c:pt idx="256" formatCode="0%">
                  <c:v>0.897505</c:v>
                </c:pt>
                <c:pt idx="257" formatCode="0%">
                  <c:v>0.89958899999999997</c:v>
                </c:pt>
                <c:pt idx="258" formatCode="0%">
                  <c:v>0.89268999999999998</c:v>
                </c:pt>
                <c:pt idx="259" formatCode="0%">
                  <c:v>0.897011</c:v>
                </c:pt>
                <c:pt idx="260" formatCode="0%">
                  <c:v>0.89747900000000003</c:v>
                </c:pt>
                <c:pt idx="261" formatCode="0%">
                  <c:v>0.89040600000000003</c:v>
                </c:pt>
                <c:pt idx="262" formatCode="0%">
                  <c:v>0.88553499999999996</c:v>
                </c:pt>
                <c:pt idx="263" formatCode="0%">
                  <c:v>0.88902800000000004</c:v>
                </c:pt>
                <c:pt idx="264" formatCode="0%">
                  <c:v>0.89143499999999998</c:v>
                </c:pt>
                <c:pt idx="265" formatCode="0%">
                  <c:v>0.89879100000000001</c:v>
                </c:pt>
                <c:pt idx="266" formatCode="0%">
                  <c:v>0.88932100000000003</c:v>
                </c:pt>
                <c:pt idx="267" formatCode="0%">
                  <c:v>0.89002300000000001</c:v>
                </c:pt>
                <c:pt idx="268" formatCode="0%">
                  <c:v>0.89057699999999995</c:v>
                </c:pt>
                <c:pt idx="269" formatCode="0%">
                  <c:v>0.88593699999999997</c:v>
                </c:pt>
                <c:pt idx="270" formatCode="0%">
                  <c:v>0.88709499999999997</c:v>
                </c:pt>
                <c:pt idx="271" formatCode="0%">
                  <c:v>0.87967099999999998</c:v>
                </c:pt>
                <c:pt idx="272" formatCode="0%">
                  <c:v>0.876857</c:v>
                </c:pt>
                <c:pt idx="273" formatCode="0%">
                  <c:v>0.88338000000000005</c:v>
                </c:pt>
                <c:pt idx="274" formatCode="0%">
                  <c:v>0.89636300000000002</c:v>
                </c:pt>
                <c:pt idx="275" formatCode="0%">
                  <c:v>0.88240600000000002</c:v>
                </c:pt>
                <c:pt idx="276" formatCode="0%">
                  <c:v>0.88471</c:v>
                </c:pt>
                <c:pt idx="277" formatCode="0%">
                  <c:v>0.88555700000000004</c:v>
                </c:pt>
                <c:pt idx="278" formatCode="0%">
                  <c:v>0.888185</c:v>
                </c:pt>
                <c:pt idx="279" formatCode="0%">
                  <c:v>0.88535299999999995</c:v>
                </c:pt>
                <c:pt idx="280" formatCode="0%">
                  <c:v>0.87786299999999995</c:v>
                </c:pt>
                <c:pt idx="281" formatCode="0%">
                  <c:v>0.87393900000000002</c:v>
                </c:pt>
                <c:pt idx="282" formatCode="0%">
                  <c:v>0.89470300000000003</c:v>
                </c:pt>
                <c:pt idx="283" formatCode="0%">
                  <c:v>0.91561099999999995</c:v>
                </c:pt>
                <c:pt idx="284" formatCode="0%">
                  <c:v>0.91568400000000005</c:v>
                </c:pt>
                <c:pt idx="285" formatCode="0%">
                  <c:v>0.90249800000000002</c:v>
                </c:pt>
                <c:pt idx="286" formatCode="0%">
                  <c:v>0.90050699999999995</c:v>
                </c:pt>
                <c:pt idx="287" formatCode="0%">
                  <c:v>0.91663499999999998</c:v>
                </c:pt>
                <c:pt idx="288" formatCode="0%">
                  <c:v>0.91421699999999995</c:v>
                </c:pt>
                <c:pt idx="289" formatCode="0%">
                  <c:v>0.91199699999999995</c:v>
                </c:pt>
                <c:pt idx="290" formatCode="0%">
                  <c:v>0.91023699999999996</c:v>
                </c:pt>
                <c:pt idx="291" formatCode="0%">
                  <c:v>0.89006399999999997</c:v>
                </c:pt>
                <c:pt idx="292" formatCode="0%">
                  <c:v>0.90486200000000006</c:v>
                </c:pt>
                <c:pt idx="293" formatCode="0%">
                  <c:v>0.90730900000000003</c:v>
                </c:pt>
                <c:pt idx="294" formatCode="0%">
                  <c:v>0.89742</c:v>
                </c:pt>
                <c:pt idx="295" formatCode="0%">
                  <c:v>0.88097999999999999</c:v>
                </c:pt>
                <c:pt idx="296" formatCode="0%">
                  <c:v>0.89869299999999996</c:v>
                </c:pt>
                <c:pt idx="297" formatCode="0%">
                  <c:v>0.89359599999999995</c:v>
                </c:pt>
                <c:pt idx="298" formatCode="0%">
                  <c:v>0.913327</c:v>
                </c:pt>
                <c:pt idx="299" formatCode="0%">
                  <c:v>0.91461700000000001</c:v>
                </c:pt>
                <c:pt idx="300" formatCode="0%">
                  <c:v>0.90172099999999999</c:v>
                </c:pt>
                <c:pt idx="301" formatCode="0%">
                  <c:v>0.90114499999999997</c:v>
                </c:pt>
                <c:pt idx="302" formatCode="0%">
                  <c:v>0.90791900000000003</c:v>
                </c:pt>
                <c:pt idx="303" formatCode="0%">
                  <c:v>0.89336499999999996</c:v>
                </c:pt>
                <c:pt idx="304" formatCode="0%">
                  <c:v>0.88211700000000004</c:v>
                </c:pt>
                <c:pt idx="305" formatCode="0%">
                  <c:v>0.88282799999999995</c:v>
                </c:pt>
                <c:pt idx="306" formatCode="0%">
                  <c:v>0.88226300000000002</c:v>
                </c:pt>
                <c:pt idx="307" formatCode="0%">
                  <c:v>0.88859999999999995</c:v>
                </c:pt>
                <c:pt idx="308" formatCode="0%">
                  <c:v>0.87903699999999996</c:v>
                </c:pt>
                <c:pt idx="309" formatCode="0%">
                  <c:v>0.87863800000000003</c:v>
                </c:pt>
                <c:pt idx="310" formatCode="0%">
                  <c:v>0.89091100000000001</c:v>
                </c:pt>
                <c:pt idx="311" formatCode="0%">
                  <c:v>0.90051999999999999</c:v>
                </c:pt>
                <c:pt idx="312" formatCode="0%">
                  <c:v>0.90123600000000004</c:v>
                </c:pt>
                <c:pt idx="313" formatCode="0%">
                  <c:v>0.90363099999999996</c:v>
                </c:pt>
                <c:pt idx="314" formatCode="0%">
                  <c:v>0.88520699999999997</c:v>
                </c:pt>
                <c:pt idx="315" formatCode="0%">
                  <c:v>0.88762399999999997</c:v>
                </c:pt>
                <c:pt idx="316" formatCode="0%">
                  <c:v>0.88857900000000001</c:v>
                </c:pt>
                <c:pt idx="317" formatCode="0%">
                  <c:v>0.89253700000000002</c:v>
                </c:pt>
                <c:pt idx="318" formatCode="0%">
                  <c:v>0.88131899999999996</c:v>
                </c:pt>
                <c:pt idx="319" formatCode="0%">
                  <c:v>0.88189799999999996</c:v>
                </c:pt>
                <c:pt idx="320" formatCode="0%">
                  <c:v>0.88249</c:v>
                </c:pt>
                <c:pt idx="321" formatCode="0%">
                  <c:v>0.885737</c:v>
                </c:pt>
                <c:pt idx="322" formatCode="0%">
                  <c:v>0.87945099999999998</c:v>
                </c:pt>
                <c:pt idx="323" formatCode="0%">
                  <c:v>0.88536599999999999</c:v>
                </c:pt>
                <c:pt idx="324" formatCode="0%">
                  <c:v>0.87135899999999999</c:v>
                </c:pt>
                <c:pt idx="325" formatCode="0%">
                  <c:v>0.87558899999999995</c:v>
                </c:pt>
                <c:pt idx="326" formatCode="0%">
                  <c:v>0.87410100000000002</c:v>
                </c:pt>
                <c:pt idx="327" formatCode="0%">
                  <c:v>0.87346400000000002</c:v>
                </c:pt>
                <c:pt idx="328" formatCode="0%">
                  <c:v>0.87317599999999995</c:v>
                </c:pt>
                <c:pt idx="329" formatCode="0%">
                  <c:v>0.87076200000000004</c:v>
                </c:pt>
                <c:pt idx="330" formatCode="0%">
                  <c:v>0.86524900000000005</c:v>
                </c:pt>
                <c:pt idx="331" formatCode="0%">
                  <c:v>0.88125600000000004</c:v>
                </c:pt>
                <c:pt idx="332" formatCode="0%">
                  <c:v>0.87648999999999999</c:v>
                </c:pt>
                <c:pt idx="333" formatCode="0%">
                  <c:v>0.87632200000000005</c:v>
                </c:pt>
                <c:pt idx="334" formatCode="0%">
                  <c:v>0.873672</c:v>
                </c:pt>
                <c:pt idx="335" formatCode="0%">
                  <c:v>0.87919000000000003</c:v>
                </c:pt>
                <c:pt idx="336" formatCode="0%">
                  <c:v>0.87917100000000004</c:v>
                </c:pt>
                <c:pt idx="337" formatCode="0%">
                  <c:v>0.86042700000000005</c:v>
                </c:pt>
                <c:pt idx="338" formatCode="0%">
                  <c:v>0.84400500000000001</c:v>
                </c:pt>
                <c:pt idx="339" formatCode="0%">
                  <c:v>0.85111099999999995</c:v>
                </c:pt>
                <c:pt idx="340" formatCode="0%">
                  <c:v>0.85880199999999995</c:v>
                </c:pt>
                <c:pt idx="341" formatCode="0%">
                  <c:v>0.85940899999999998</c:v>
                </c:pt>
                <c:pt idx="342" formatCode="0%">
                  <c:v>0.86306799999999995</c:v>
                </c:pt>
                <c:pt idx="343" formatCode="0%">
                  <c:v>0.87364900000000001</c:v>
                </c:pt>
                <c:pt idx="344" formatCode="0%">
                  <c:v>0.88930500000000001</c:v>
                </c:pt>
                <c:pt idx="345" formatCode="0%">
                  <c:v>0.89434000000000002</c:v>
                </c:pt>
                <c:pt idx="346" formatCode="0%">
                  <c:v>0.88792300000000002</c:v>
                </c:pt>
                <c:pt idx="347" formatCode="0%">
                  <c:v>0.88072399999999995</c:v>
                </c:pt>
                <c:pt idx="348" formatCode="0%">
                  <c:v>0.88078000000000001</c:v>
                </c:pt>
                <c:pt idx="349" formatCode="0%">
                  <c:v>0.88390999999999997</c:v>
                </c:pt>
                <c:pt idx="350" formatCode="0%">
                  <c:v>0.87852300000000005</c:v>
                </c:pt>
                <c:pt idx="351" formatCode="0%">
                  <c:v>0.87277199999999999</c:v>
                </c:pt>
                <c:pt idx="352" formatCode="0%">
                  <c:v>0.872228</c:v>
                </c:pt>
                <c:pt idx="353" formatCode="0%">
                  <c:v>0.88109800000000005</c:v>
                </c:pt>
                <c:pt idx="354" formatCode="0%">
                  <c:v>0.88233600000000001</c:v>
                </c:pt>
                <c:pt idx="355" formatCode="0%">
                  <c:v>0.87510600000000005</c:v>
                </c:pt>
                <c:pt idx="356" formatCode="0%">
                  <c:v>0.86277700000000002</c:v>
                </c:pt>
                <c:pt idx="357" formatCode="0%">
                  <c:v>0.84979400000000005</c:v>
                </c:pt>
                <c:pt idx="358" formatCode="0%">
                  <c:v>0.84770800000000002</c:v>
                </c:pt>
                <c:pt idx="359" formatCode="0%">
                  <c:v>0.84193200000000001</c:v>
                </c:pt>
                <c:pt idx="360" formatCode="0%">
                  <c:v>0.83238800000000002</c:v>
                </c:pt>
                <c:pt idx="361" formatCode="0%">
                  <c:v>0.822542</c:v>
                </c:pt>
                <c:pt idx="362" formatCode="0%">
                  <c:v>0.82798000000000005</c:v>
                </c:pt>
                <c:pt idx="363" formatCode="0%">
                  <c:v>0.83107200000000003</c:v>
                </c:pt>
                <c:pt idx="364" formatCode="0%">
                  <c:v>0.83783700000000005</c:v>
                </c:pt>
                <c:pt idx="365" formatCode="0%">
                  <c:v>0.83364000000000005</c:v>
                </c:pt>
                <c:pt idx="366" formatCode="0%">
                  <c:v>0.83514100000000002</c:v>
                </c:pt>
                <c:pt idx="367" formatCode="0%">
                  <c:v>0.81258699999999995</c:v>
                </c:pt>
                <c:pt idx="368" formatCode="0%">
                  <c:v>0.80978499999999998</c:v>
                </c:pt>
                <c:pt idx="369" formatCode="0%">
                  <c:v>0.80758300000000005</c:v>
                </c:pt>
                <c:pt idx="370" formatCode="0%">
                  <c:v>0.80439400000000005</c:v>
                </c:pt>
                <c:pt idx="371" formatCode="0%">
                  <c:v>0.8165</c:v>
                </c:pt>
                <c:pt idx="372" formatCode="0%">
                  <c:v>0.81635599999999997</c:v>
                </c:pt>
                <c:pt idx="373" formatCode="0%">
                  <c:v>0.81864999999999999</c:v>
                </c:pt>
                <c:pt idx="374" formatCode="0%">
                  <c:v>0.83349399999999996</c:v>
                </c:pt>
                <c:pt idx="375" formatCode="0%">
                  <c:v>0.83651900000000001</c:v>
                </c:pt>
                <c:pt idx="376" formatCode="0%">
                  <c:v>0.83477900000000005</c:v>
                </c:pt>
                <c:pt idx="377" formatCode="0%">
                  <c:v>0.83411000000000002</c:v>
                </c:pt>
                <c:pt idx="378" formatCode="0%">
                  <c:v>0.827824</c:v>
                </c:pt>
                <c:pt idx="379" formatCode="0%">
                  <c:v>0.83484800000000003</c:v>
                </c:pt>
                <c:pt idx="380" formatCode="0%">
                  <c:v>0.83015700000000003</c:v>
                </c:pt>
                <c:pt idx="381" formatCode="0%">
                  <c:v>0.81822700000000004</c:v>
                </c:pt>
                <c:pt idx="382" formatCode="0%">
                  <c:v>0.81766399999999995</c:v>
                </c:pt>
                <c:pt idx="383" formatCode="0%">
                  <c:v>0.81815599999999999</c:v>
                </c:pt>
                <c:pt idx="384" formatCode="0%">
                  <c:v>0.81342599999999998</c:v>
                </c:pt>
                <c:pt idx="385" formatCode="0%">
                  <c:v>0.80284800000000001</c:v>
                </c:pt>
                <c:pt idx="386" formatCode="0%">
                  <c:v>0.79491000000000001</c:v>
                </c:pt>
                <c:pt idx="387" formatCode="0%">
                  <c:v>0.79455399999999998</c:v>
                </c:pt>
                <c:pt idx="388" formatCode="0%">
                  <c:v>0.80458700000000005</c:v>
                </c:pt>
                <c:pt idx="389" formatCode="0%">
                  <c:v>0.80544300000000002</c:v>
                </c:pt>
                <c:pt idx="390" formatCode="0%">
                  <c:v>0.806033</c:v>
                </c:pt>
                <c:pt idx="391" formatCode="0%">
                  <c:v>0.80633999999999995</c:v>
                </c:pt>
                <c:pt idx="392" formatCode="0%">
                  <c:v>0.81085600000000002</c:v>
                </c:pt>
                <c:pt idx="393" formatCode="0%">
                  <c:v>0.80416600000000005</c:v>
                </c:pt>
                <c:pt idx="394" formatCode="0%">
                  <c:v>0.79846300000000003</c:v>
                </c:pt>
                <c:pt idx="395" formatCode="0%">
                  <c:v>0.80001800000000001</c:v>
                </c:pt>
                <c:pt idx="396" formatCode="0%">
                  <c:v>0.79753799999999997</c:v>
                </c:pt>
                <c:pt idx="397" formatCode="0%">
                  <c:v>0.79180499999999998</c:v>
                </c:pt>
                <c:pt idx="398" formatCode="0%">
                  <c:v>0.78586900000000004</c:v>
                </c:pt>
                <c:pt idx="399" formatCode="0%">
                  <c:v>0.78026600000000002</c:v>
                </c:pt>
                <c:pt idx="400" formatCode="0%">
                  <c:v>0.77666199999999996</c:v>
                </c:pt>
                <c:pt idx="401" formatCode="0%">
                  <c:v>0.77087700000000003</c:v>
                </c:pt>
                <c:pt idx="402" formatCode="0%">
                  <c:v>0.761042</c:v>
                </c:pt>
                <c:pt idx="403" formatCode="0%">
                  <c:v>0.763243</c:v>
                </c:pt>
                <c:pt idx="404" formatCode="0%">
                  <c:v>0.76370099999999996</c:v>
                </c:pt>
                <c:pt idx="405" formatCode="0%">
                  <c:v>0.76381600000000005</c:v>
                </c:pt>
                <c:pt idx="406" formatCode="0%">
                  <c:v>0.76140699999999994</c:v>
                </c:pt>
                <c:pt idx="407" formatCode="0%">
                  <c:v>0.75959200000000004</c:v>
                </c:pt>
                <c:pt idx="408" formatCode="0%">
                  <c:v>0.75802199999999997</c:v>
                </c:pt>
                <c:pt idx="409" formatCode="0%">
                  <c:v>0.75559399999999999</c:v>
                </c:pt>
                <c:pt idx="410" formatCode="0%">
                  <c:v>0.75087400000000004</c:v>
                </c:pt>
                <c:pt idx="411" formatCode="0%">
                  <c:v>0.75019199999999997</c:v>
                </c:pt>
                <c:pt idx="412" formatCode="0%">
                  <c:v>0.74051199999999995</c:v>
                </c:pt>
                <c:pt idx="413" formatCode="0%">
                  <c:v>0.73796700000000004</c:v>
                </c:pt>
                <c:pt idx="414" formatCode="0%">
                  <c:v>0.74317200000000005</c:v>
                </c:pt>
                <c:pt idx="415" formatCode="0%">
                  <c:v>0.74377499999999996</c:v>
                </c:pt>
                <c:pt idx="416" formatCode="0%">
                  <c:v>0.74216499999999996</c:v>
                </c:pt>
                <c:pt idx="417" formatCode="0%">
                  <c:v>0.744475</c:v>
                </c:pt>
                <c:pt idx="418" formatCode="0%">
                  <c:v>0.74199000000000004</c:v>
                </c:pt>
                <c:pt idx="419" formatCode="0%">
                  <c:v>0.73608499999999999</c:v>
                </c:pt>
                <c:pt idx="420" formatCode="0%">
                  <c:v>0.73287100000000005</c:v>
                </c:pt>
                <c:pt idx="421" formatCode="0%">
                  <c:v>0.73103499999999999</c:v>
                </c:pt>
                <c:pt idx="422" formatCode="0%">
                  <c:v>0.73340700000000003</c:v>
                </c:pt>
                <c:pt idx="423" formatCode="0%">
                  <c:v>0.72515099999999999</c:v>
                </c:pt>
                <c:pt idx="424" formatCode="0%">
                  <c:v>0.722854</c:v>
                </c:pt>
                <c:pt idx="425" formatCode="0%">
                  <c:v>0.720634</c:v>
                </c:pt>
                <c:pt idx="426" formatCode="0%">
                  <c:v>0.70972599999999997</c:v>
                </c:pt>
                <c:pt idx="427" formatCode="0%">
                  <c:v>0.69978700000000005</c:v>
                </c:pt>
                <c:pt idx="428" formatCode="0%">
                  <c:v>0.68719399999999997</c:v>
                </c:pt>
                <c:pt idx="429" formatCode="0%">
                  <c:v>0.66876999999999998</c:v>
                </c:pt>
                <c:pt idx="430" formatCode="0%">
                  <c:v>0.66476000000000002</c:v>
                </c:pt>
                <c:pt idx="431" formatCode="0%">
                  <c:v>0.65637900000000005</c:v>
                </c:pt>
                <c:pt idx="432" formatCode="0%">
                  <c:v>0.65221600000000002</c:v>
                </c:pt>
                <c:pt idx="433" formatCode="0%">
                  <c:v>0.65113399999999999</c:v>
                </c:pt>
                <c:pt idx="434" formatCode="0%">
                  <c:v>0.66371800000000003</c:v>
                </c:pt>
                <c:pt idx="435" formatCode="0%">
                  <c:v>0.66884299999999997</c:v>
                </c:pt>
                <c:pt idx="436" formatCode="0%">
                  <c:v>0.67236700000000005</c:v>
                </c:pt>
                <c:pt idx="437" formatCode="0%">
                  <c:v>0.66994600000000004</c:v>
                </c:pt>
                <c:pt idx="438" formatCode="0%">
                  <c:v>0.67254899999999995</c:v>
                </c:pt>
                <c:pt idx="439" formatCode="0%">
                  <c:v>0.67396599999999995</c:v>
                </c:pt>
                <c:pt idx="440" formatCode="0%">
                  <c:v>0.67241099999999998</c:v>
                </c:pt>
                <c:pt idx="441" formatCode="0%">
                  <c:v>0.67475300000000005</c:v>
                </c:pt>
                <c:pt idx="442" formatCode="0%">
                  <c:v>0.67836300000000005</c:v>
                </c:pt>
                <c:pt idx="443" formatCode="0%">
                  <c:v>0.67837999999999998</c:v>
                </c:pt>
                <c:pt idx="444" formatCode="0%">
                  <c:v>0.679867</c:v>
                </c:pt>
                <c:pt idx="445" formatCode="0%">
                  <c:v>0.67994399999999999</c:v>
                </c:pt>
                <c:pt idx="446" formatCode="0%">
                  <c:v>0.67807799999999996</c:v>
                </c:pt>
                <c:pt idx="447" formatCode="0%">
                  <c:v>0.67567299999999997</c:v>
                </c:pt>
                <c:pt idx="448" formatCode="0%">
                  <c:v>0.67234899999999997</c:v>
                </c:pt>
                <c:pt idx="449" formatCode="0%">
                  <c:v>0.67024600000000001</c:v>
                </c:pt>
                <c:pt idx="450" formatCode="0%">
                  <c:v>0.66926399999999997</c:v>
                </c:pt>
                <c:pt idx="451" formatCode="0%">
                  <c:v>0.66505000000000003</c:v>
                </c:pt>
                <c:pt idx="452" formatCode="0%">
                  <c:v>0.65952900000000003</c:v>
                </c:pt>
                <c:pt idx="453" formatCode="0%">
                  <c:v>0.654922</c:v>
                </c:pt>
                <c:pt idx="454" formatCode="0%">
                  <c:v>0.65135200000000004</c:v>
                </c:pt>
                <c:pt idx="455" formatCode="0%">
                  <c:v>0.64532400000000001</c:v>
                </c:pt>
                <c:pt idx="456" formatCode="0%">
                  <c:v>0.63847900000000002</c:v>
                </c:pt>
                <c:pt idx="457" formatCode="0%">
                  <c:v>0.63034100000000004</c:v>
                </c:pt>
                <c:pt idx="458" formatCode="0%">
                  <c:v>0.62002900000000005</c:v>
                </c:pt>
                <c:pt idx="459" formatCode="0%">
                  <c:v>0.61429400000000001</c:v>
                </c:pt>
                <c:pt idx="460" formatCode="0%">
                  <c:v>0.61200900000000003</c:v>
                </c:pt>
                <c:pt idx="461" formatCode="0%">
                  <c:v>0.60756900000000003</c:v>
                </c:pt>
                <c:pt idx="462" formatCode="0%">
                  <c:v>0.60286499999999998</c:v>
                </c:pt>
                <c:pt idx="463" formatCode="0%">
                  <c:v>0.59865000000000002</c:v>
                </c:pt>
                <c:pt idx="464" formatCode="0%">
                  <c:v>0.59207799999999999</c:v>
                </c:pt>
                <c:pt idx="465" formatCode="0%">
                  <c:v>0.59191099999999996</c:v>
                </c:pt>
                <c:pt idx="466" formatCode="0%">
                  <c:v>0.59087199999999995</c:v>
                </c:pt>
                <c:pt idx="467" formatCode="0%">
                  <c:v>0.59055100000000005</c:v>
                </c:pt>
                <c:pt idx="468" formatCode="0%">
                  <c:v>0.59743900000000005</c:v>
                </c:pt>
                <c:pt idx="469" formatCode="0%">
                  <c:v>0.59494400000000003</c:v>
                </c:pt>
                <c:pt idx="470" formatCode="0%">
                  <c:v>0.59058699999999997</c:v>
                </c:pt>
                <c:pt idx="471" formatCode="0%">
                  <c:v>0.59138199999999996</c:v>
                </c:pt>
                <c:pt idx="472" formatCode="0%">
                  <c:v>0.592005</c:v>
                </c:pt>
                <c:pt idx="473" formatCode="0%">
                  <c:v>0.59215499999999999</c:v>
                </c:pt>
                <c:pt idx="474" formatCode="0%">
                  <c:v>0.59331699999999998</c:v>
                </c:pt>
                <c:pt idx="475" formatCode="0%">
                  <c:v>0.58140700000000001</c:v>
                </c:pt>
                <c:pt idx="476" formatCode="0%">
                  <c:v>0.57052099999999994</c:v>
                </c:pt>
                <c:pt idx="477" formatCode="0%">
                  <c:v>0.55925899999999995</c:v>
                </c:pt>
                <c:pt idx="478" formatCode="0%">
                  <c:v>0.54985499999999998</c:v>
                </c:pt>
                <c:pt idx="479" formatCode="0%">
                  <c:v>0.54421399999999998</c:v>
                </c:pt>
                <c:pt idx="480" formatCode="0%">
                  <c:v>0.54474500000000003</c:v>
                </c:pt>
                <c:pt idx="481" formatCode="0%">
                  <c:v>0.538412</c:v>
                </c:pt>
                <c:pt idx="482" formatCode="0%">
                  <c:v>0.51685899999999996</c:v>
                </c:pt>
                <c:pt idx="483" formatCode="0%">
                  <c:v>0.459312</c:v>
                </c:pt>
                <c:pt idx="484" formatCode="0%">
                  <c:v>0.42655599999999999</c:v>
                </c:pt>
                <c:pt idx="485" formatCode="0%">
                  <c:v>0.393957</c:v>
                </c:pt>
                <c:pt idx="486" formatCode="0%">
                  <c:v>0.38223200000000002</c:v>
                </c:pt>
                <c:pt idx="487" formatCode="0%">
                  <c:v>0.38053999999999999</c:v>
                </c:pt>
                <c:pt idx="488" formatCode="0%">
                  <c:v>0.37253500000000001</c:v>
                </c:pt>
                <c:pt idx="489" formatCode="0%">
                  <c:v>0.31596400000000002</c:v>
                </c:pt>
                <c:pt idx="490" formatCode="0%">
                  <c:v>0.25877299999999998</c:v>
                </c:pt>
                <c:pt idx="491" formatCode="0%">
                  <c:v>0.20954700000000001</c:v>
                </c:pt>
                <c:pt idx="492" formatCode="0%">
                  <c:v>0.17235600000000001</c:v>
                </c:pt>
                <c:pt idx="493" formatCode="0%">
                  <c:v>0.15442400000000001</c:v>
                </c:pt>
                <c:pt idx="494" formatCode="0%">
                  <c:v>0.14346</c:v>
                </c:pt>
                <c:pt idx="495" formatCode="0%">
                  <c:v>0.138742</c:v>
                </c:pt>
                <c:pt idx="496" formatCode="0%">
                  <c:v>0.12810299999999999</c:v>
                </c:pt>
                <c:pt idx="497" formatCode="0%">
                  <c:v>0.108833</c:v>
                </c:pt>
                <c:pt idx="498" formatCode="0%">
                  <c:v>9.6595E-2</c:v>
                </c:pt>
                <c:pt idx="499" formatCode="0%">
                  <c:v>8.2005999999999996E-2</c:v>
                </c:pt>
                <c:pt idx="500" formatCode="0%">
                  <c:v>7.2371000000000005E-2</c:v>
                </c:pt>
                <c:pt idx="501" formatCode="0%">
                  <c:v>6.7867999999999998E-2</c:v>
                </c:pt>
                <c:pt idx="502" formatCode="0%">
                  <c:v>6.2845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DD-4BFC-A041-DB2D3DE35267}"/>
            </c:ext>
          </c:extLst>
        </c:ser>
        <c:ser>
          <c:idx val="0"/>
          <c:order val="1"/>
          <c:tx>
            <c:v>POZ_Po_ukonceni_65</c:v>
          </c:tx>
          <c:spPr>
            <a:ln>
              <a:noFill/>
              <a:prstDash val="sysDash"/>
            </a:ln>
          </c:spPr>
          <c:marker>
            <c:symbol val="none"/>
          </c:marker>
          <c:trendline>
            <c:spPr>
              <a:ln w="19050">
                <a:solidFill>
                  <a:srgbClr val="4472C4"/>
                </a:solidFill>
                <a:prstDash val="sysDash"/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0%">
                  <c:v>0.96918300000000002</c:v>
                </c:pt>
                <c:pt idx="182" formatCode="0%">
                  <c:v>0.89890000000000003</c:v>
                </c:pt>
                <c:pt idx="183" formatCode="0%">
                  <c:v>0.874332</c:v>
                </c:pt>
                <c:pt idx="184" formatCode="0%">
                  <c:v>0.854464</c:v>
                </c:pt>
                <c:pt idx="185" formatCode="0%">
                  <c:v>0.83408700000000002</c:v>
                </c:pt>
                <c:pt idx="186" formatCode="0%">
                  <c:v>0.83115799999999995</c:v>
                </c:pt>
                <c:pt idx="187" formatCode="0%">
                  <c:v>0.82578600000000002</c:v>
                </c:pt>
                <c:pt idx="188" formatCode="0%">
                  <c:v>0.83218499999999995</c:v>
                </c:pt>
                <c:pt idx="189" formatCode="0%">
                  <c:v>0.89049699999999998</c:v>
                </c:pt>
                <c:pt idx="190" formatCode="0%">
                  <c:v>0.90633699999999995</c:v>
                </c:pt>
                <c:pt idx="191" formatCode="0%">
                  <c:v>0.89353899999999997</c:v>
                </c:pt>
                <c:pt idx="192" formatCode="0%">
                  <c:v>0.89719000000000004</c:v>
                </c:pt>
                <c:pt idx="193" formatCode="0%">
                  <c:v>0.89326499999999998</c:v>
                </c:pt>
                <c:pt idx="194" formatCode="0%">
                  <c:v>0.89376599999999995</c:v>
                </c:pt>
                <c:pt idx="195" formatCode="0%">
                  <c:v>0.89530699999999996</c:v>
                </c:pt>
                <c:pt idx="196" formatCode="0%">
                  <c:v>0.88179799999999997</c:v>
                </c:pt>
                <c:pt idx="197" formatCode="0%">
                  <c:v>0.87860400000000005</c:v>
                </c:pt>
                <c:pt idx="198" formatCode="0%">
                  <c:v>0.89944800000000003</c:v>
                </c:pt>
                <c:pt idx="199" formatCode="0%">
                  <c:v>0.8861</c:v>
                </c:pt>
                <c:pt idx="200" formatCode="0%">
                  <c:v>0.88577700000000004</c:v>
                </c:pt>
                <c:pt idx="201" formatCode="0%">
                  <c:v>0.88111200000000001</c:v>
                </c:pt>
                <c:pt idx="202" formatCode="0%">
                  <c:v>0.87431800000000004</c:v>
                </c:pt>
                <c:pt idx="203" formatCode="0%">
                  <c:v>0.87640099999999999</c:v>
                </c:pt>
                <c:pt idx="204" formatCode="0%">
                  <c:v>0.867892</c:v>
                </c:pt>
                <c:pt idx="205" formatCode="0%">
                  <c:v>0.867039</c:v>
                </c:pt>
                <c:pt idx="206" formatCode="0%">
                  <c:v>0.88004099999999996</c:v>
                </c:pt>
                <c:pt idx="207" formatCode="0%">
                  <c:v>0.87567399999999995</c:v>
                </c:pt>
                <c:pt idx="208" formatCode="0%">
                  <c:v>0.88188100000000003</c:v>
                </c:pt>
                <c:pt idx="209" formatCode="0%">
                  <c:v>0.88877200000000001</c:v>
                </c:pt>
                <c:pt idx="210" formatCode="0%">
                  <c:v>0.89193299999999998</c:v>
                </c:pt>
                <c:pt idx="211" formatCode="0%">
                  <c:v>0.89824400000000004</c:v>
                </c:pt>
                <c:pt idx="212" formatCode="0%">
                  <c:v>0.88464399999999999</c:v>
                </c:pt>
                <c:pt idx="213" formatCode="0%">
                  <c:v>0.88532699999999998</c:v>
                </c:pt>
                <c:pt idx="214" formatCode="0%">
                  <c:v>0.88856599999999997</c:v>
                </c:pt>
                <c:pt idx="215" formatCode="0%">
                  <c:v>0.88622900000000004</c:v>
                </c:pt>
                <c:pt idx="216" formatCode="0%">
                  <c:v>0.88985400000000003</c:v>
                </c:pt>
                <c:pt idx="217" formatCode="0%">
                  <c:v>0.880158</c:v>
                </c:pt>
                <c:pt idx="218" formatCode="0%">
                  <c:v>0.86838899999999997</c:v>
                </c:pt>
                <c:pt idx="219" formatCode="0%">
                  <c:v>0.87499700000000002</c:v>
                </c:pt>
                <c:pt idx="220" formatCode="0%">
                  <c:v>0.87460000000000004</c:v>
                </c:pt>
                <c:pt idx="221" formatCode="0%">
                  <c:v>0.87617299999999998</c:v>
                </c:pt>
                <c:pt idx="222" formatCode="0%">
                  <c:v>0.86844699999999997</c:v>
                </c:pt>
                <c:pt idx="223" formatCode="0%">
                  <c:v>0.87263900000000005</c:v>
                </c:pt>
                <c:pt idx="224" formatCode="0%">
                  <c:v>0.88544800000000001</c:v>
                </c:pt>
                <c:pt idx="225" formatCode="0%">
                  <c:v>0.876197</c:v>
                </c:pt>
                <c:pt idx="226" formatCode="0%">
                  <c:v>0.88068100000000005</c:v>
                </c:pt>
                <c:pt idx="227" formatCode="0%">
                  <c:v>0.87970400000000004</c:v>
                </c:pt>
                <c:pt idx="228" formatCode="0%">
                  <c:v>0.87956699999999999</c:v>
                </c:pt>
                <c:pt idx="229" formatCode="0%">
                  <c:v>0.87954600000000005</c:v>
                </c:pt>
                <c:pt idx="230" formatCode="0%">
                  <c:v>0.88370199999999999</c:v>
                </c:pt>
                <c:pt idx="231" formatCode="0%">
                  <c:v>0.87166699999999997</c:v>
                </c:pt>
                <c:pt idx="232" formatCode="0%">
                  <c:v>0.88214800000000004</c:v>
                </c:pt>
                <c:pt idx="233" formatCode="0%">
                  <c:v>0.88349699999999998</c:v>
                </c:pt>
                <c:pt idx="234" formatCode="0%">
                  <c:v>0.87584200000000001</c:v>
                </c:pt>
                <c:pt idx="235" formatCode="0%">
                  <c:v>0.87714499999999995</c:v>
                </c:pt>
                <c:pt idx="236" formatCode="0%">
                  <c:v>0.88531899999999997</c:v>
                </c:pt>
                <c:pt idx="237" formatCode="0%">
                  <c:v>0.88185199999999997</c:v>
                </c:pt>
                <c:pt idx="238" formatCode="0%">
                  <c:v>0.87706600000000001</c:v>
                </c:pt>
                <c:pt idx="239" formatCode="0%">
                  <c:v>0.88366699999999998</c:v>
                </c:pt>
                <c:pt idx="240" formatCode="0%">
                  <c:v>0.88550200000000001</c:v>
                </c:pt>
                <c:pt idx="241" formatCode="0%">
                  <c:v>0.90000999999999998</c:v>
                </c:pt>
                <c:pt idx="242" formatCode="0%">
                  <c:v>0.89977499999999999</c:v>
                </c:pt>
                <c:pt idx="243" formatCode="0%">
                  <c:v>0.89956499999999995</c:v>
                </c:pt>
                <c:pt idx="244" formatCode="0%">
                  <c:v>0.90196799999999999</c:v>
                </c:pt>
                <c:pt idx="245" formatCode="0%">
                  <c:v>0.91358899999999998</c:v>
                </c:pt>
                <c:pt idx="246" formatCode="0%">
                  <c:v>0.91695000000000004</c:v>
                </c:pt>
                <c:pt idx="247" formatCode="0%">
                  <c:v>0.90236400000000005</c:v>
                </c:pt>
                <c:pt idx="248" formatCode="0%">
                  <c:v>0.89446999999999999</c:v>
                </c:pt>
                <c:pt idx="249" formatCode="0%">
                  <c:v>0.89522500000000005</c:v>
                </c:pt>
                <c:pt idx="250" formatCode="0%">
                  <c:v>0.89762699999999995</c:v>
                </c:pt>
                <c:pt idx="251" formatCode="0%">
                  <c:v>0.902806</c:v>
                </c:pt>
                <c:pt idx="252" formatCode="0%">
                  <c:v>0.90150300000000005</c:v>
                </c:pt>
                <c:pt idx="253" formatCode="0%">
                  <c:v>0.90159599999999995</c:v>
                </c:pt>
                <c:pt idx="254" formatCode="0%">
                  <c:v>0.92284299999999997</c:v>
                </c:pt>
                <c:pt idx="255" formatCode="0%">
                  <c:v>0.92910899999999996</c:v>
                </c:pt>
                <c:pt idx="256" formatCode="0%">
                  <c:v>0.92225000000000001</c:v>
                </c:pt>
                <c:pt idx="257" formatCode="0%">
                  <c:v>0.92635199999999995</c:v>
                </c:pt>
                <c:pt idx="258" formatCode="0%">
                  <c:v>0.92189299999999996</c:v>
                </c:pt>
                <c:pt idx="259" formatCode="0%">
                  <c:v>0.918848</c:v>
                </c:pt>
                <c:pt idx="260" formatCode="0%">
                  <c:v>0.90445200000000003</c:v>
                </c:pt>
                <c:pt idx="261" formatCode="0%">
                  <c:v>0.89174299999999995</c:v>
                </c:pt>
                <c:pt idx="262" formatCode="0%">
                  <c:v>0.88184200000000001</c:v>
                </c:pt>
                <c:pt idx="263" formatCode="0%">
                  <c:v>0.88207599999999997</c:v>
                </c:pt>
                <c:pt idx="264" formatCode="0%">
                  <c:v>0.883386</c:v>
                </c:pt>
                <c:pt idx="265" formatCode="0%">
                  <c:v>0.88811499999999999</c:v>
                </c:pt>
                <c:pt idx="266" formatCode="0%">
                  <c:v>0.89716600000000002</c:v>
                </c:pt>
                <c:pt idx="267" formatCode="0%">
                  <c:v>0.90187700000000004</c:v>
                </c:pt>
                <c:pt idx="268" formatCode="0%">
                  <c:v>0.90263199999999999</c:v>
                </c:pt>
                <c:pt idx="269" formatCode="0%">
                  <c:v>0.90849999999999997</c:v>
                </c:pt>
                <c:pt idx="270" formatCode="0%">
                  <c:v>0.91350100000000001</c:v>
                </c:pt>
                <c:pt idx="271" formatCode="0%">
                  <c:v>0.90439000000000003</c:v>
                </c:pt>
                <c:pt idx="272" formatCode="0%">
                  <c:v>0.90483800000000003</c:v>
                </c:pt>
                <c:pt idx="273" formatCode="0%">
                  <c:v>0.899926</c:v>
                </c:pt>
                <c:pt idx="274" formatCode="0%">
                  <c:v>0.92419899999999999</c:v>
                </c:pt>
                <c:pt idx="275" formatCode="0%">
                  <c:v>0.91377299999999995</c:v>
                </c:pt>
                <c:pt idx="276" formatCode="0%">
                  <c:v>0.921454</c:v>
                </c:pt>
                <c:pt idx="277" formatCode="0%">
                  <c:v>0.91972399999999999</c:v>
                </c:pt>
                <c:pt idx="278" formatCode="0%">
                  <c:v>0.92686999999999997</c:v>
                </c:pt>
                <c:pt idx="279" formatCode="0%">
                  <c:v>0.92985600000000002</c:v>
                </c:pt>
                <c:pt idx="280" formatCode="0%">
                  <c:v>0.91469699999999998</c:v>
                </c:pt>
                <c:pt idx="281" formatCode="0%">
                  <c:v>0.89691399999999999</c:v>
                </c:pt>
                <c:pt idx="282" formatCode="0%">
                  <c:v>0.90888500000000005</c:v>
                </c:pt>
                <c:pt idx="283" formatCode="0%">
                  <c:v>0.898231</c:v>
                </c:pt>
                <c:pt idx="284" formatCode="0%">
                  <c:v>0.89968499999999996</c:v>
                </c:pt>
                <c:pt idx="285" formatCode="0%">
                  <c:v>0.88692000000000004</c:v>
                </c:pt>
                <c:pt idx="286" formatCode="0%">
                  <c:v>0.852271</c:v>
                </c:pt>
                <c:pt idx="287" formatCode="0%">
                  <c:v>0.89612499999999995</c:v>
                </c:pt>
                <c:pt idx="288" formatCode="0%">
                  <c:v>0.904358</c:v>
                </c:pt>
                <c:pt idx="289" formatCode="0%">
                  <c:v>0.89758300000000002</c:v>
                </c:pt>
                <c:pt idx="290" formatCode="0%">
                  <c:v>0.93679400000000002</c:v>
                </c:pt>
                <c:pt idx="291" formatCode="0%">
                  <c:v>0.91551199999999999</c:v>
                </c:pt>
                <c:pt idx="292" formatCode="0%">
                  <c:v>0.92574900000000004</c:v>
                </c:pt>
                <c:pt idx="293" formatCode="0%">
                  <c:v>0.92072500000000002</c:v>
                </c:pt>
                <c:pt idx="294" formatCode="0%">
                  <c:v>0.90973400000000004</c:v>
                </c:pt>
                <c:pt idx="295" formatCode="0%">
                  <c:v>0.89399300000000004</c:v>
                </c:pt>
                <c:pt idx="296" formatCode="0%">
                  <c:v>0.91225400000000001</c:v>
                </c:pt>
                <c:pt idx="297" formatCode="0%">
                  <c:v>0.85281399999999996</c:v>
                </c:pt>
                <c:pt idx="298" formatCode="0%">
                  <c:v>0.90281400000000001</c:v>
                </c:pt>
                <c:pt idx="299" formatCode="0%">
                  <c:v>0.90548300000000004</c:v>
                </c:pt>
                <c:pt idx="300" formatCode="0%">
                  <c:v>0.87921000000000005</c:v>
                </c:pt>
                <c:pt idx="301" formatCode="0%">
                  <c:v>0.80199500000000001</c:v>
                </c:pt>
                <c:pt idx="302" formatCode="0%">
                  <c:v>0.74825799999999998</c:v>
                </c:pt>
                <c:pt idx="303" formatCode="0%">
                  <c:v>0.74766500000000002</c:v>
                </c:pt>
                <c:pt idx="304" formatCode="0%">
                  <c:v>0.78502099999999997</c:v>
                </c:pt>
                <c:pt idx="305" formatCode="0%">
                  <c:v>0.69730800000000004</c:v>
                </c:pt>
                <c:pt idx="306" formatCode="0%">
                  <c:v>0.75013399999999997</c:v>
                </c:pt>
                <c:pt idx="307" formatCode="0%">
                  <c:v>0.77923200000000004</c:v>
                </c:pt>
                <c:pt idx="308" formatCode="0%">
                  <c:v>0.78965300000000005</c:v>
                </c:pt>
                <c:pt idx="309" formatCode="0%">
                  <c:v>0.81194</c:v>
                </c:pt>
                <c:pt idx="310" formatCode="0%">
                  <c:v>0.84043599999999996</c:v>
                </c:pt>
                <c:pt idx="311" formatCode="0%">
                  <c:v>0.85946</c:v>
                </c:pt>
                <c:pt idx="312" formatCode="0%">
                  <c:v>0.90059500000000003</c:v>
                </c:pt>
                <c:pt idx="313" formatCode="0%">
                  <c:v>0.87449100000000002</c:v>
                </c:pt>
                <c:pt idx="314" formatCode="0%">
                  <c:v>0.84105200000000002</c:v>
                </c:pt>
                <c:pt idx="315" formatCode="0%">
                  <c:v>0.83402399999999999</c:v>
                </c:pt>
                <c:pt idx="316" formatCode="0%">
                  <c:v>0.83141299999999996</c:v>
                </c:pt>
                <c:pt idx="317" formatCode="0%">
                  <c:v>0.827542</c:v>
                </c:pt>
                <c:pt idx="318" formatCode="0%">
                  <c:v>0.801396</c:v>
                </c:pt>
                <c:pt idx="319" formatCode="0%">
                  <c:v>0.77232900000000004</c:v>
                </c:pt>
                <c:pt idx="320" formatCode="0%">
                  <c:v>0.78053300000000003</c:v>
                </c:pt>
                <c:pt idx="321" formatCode="0%">
                  <c:v>0.78674699999999997</c:v>
                </c:pt>
                <c:pt idx="322" formatCode="0%">
                  <c:v>0.76298100000000002</c:v>
                </c:pt>
                <c:pt idx="323" formatCode="0%">
                  <c:v>0.77461599999999997</c:v>
                </c:pt>
                <c:pt idx="324" formatCode="0%">
                  <c:v>0.75524599999999997</c:v>
                </c:pt>
                <c:pt idx="325" formatCode="0%">
                  <c:v>0.79780899999999999</c:v>
                </c:pt>
                <c:pt idx="326" formatCode="0%">
                  <c:v>0.81193000000000004</c:v>
                </c:pt>
                <c:pt idx="327" formatCode="0%">
                  <c:v>0.80403199999999997</c:v>
                </c:pt>
                <c:pt idx="328" formatCode="0%">
                  <c:v>0.75080899999999995</c:v>
                </c:pt>
                <c:pt idx="329" formatCode="0%">
                  <c:v>0.72599999999999998</c:v>
                </c:pt>
                <c:pt idx="330" formatCode="0%">
                  <c:v>0.65985400000000005</c:v>
                </c:pt>
                <c:pt idx="331" formatCode="0%">
                  <c:v>0.75136999999999998</c:v>
                </c:pt>
                <c:pt idx="332" formatCode="0%">
                  <c:v>0.69206999999999996</c:v>
                </c:pt>
                <c:pt idx="333" formatCode="0%">
                  <c:v>0.70833800000000002</c:v>
                </c:pt>
                <c:pt idx="334" formatCode="0%">
                  <c:v>0.73242499999999999</c:v>
                </c:pt>
                <c:pt idx="335" formatCode="0%">
                  <c:v>0.75425600000000004</c:v>
                </c:pt>
                <c:pt idx="336" formatCode="0%">
                  <c:v>0.78744700000000001</c:v>
                </c:pt>
                <c:pt idx="337" formatCode="0%">
                  <c:v>0.81528900000000004</c:v>
                </c:pt>
                <c:pt idx="338" formatCode="0%">
                  <c:v>0.71899800000000003</c:v>
                </c:pt>
                <c:pt idx="339" formatCode="0%">
                  <c:v>0.71899599999999997</c:v>
                </c:pt>
                <c:pt idx="340" formatCode="0%">
                  <c:v>0.71992400000000001</c:v>
                </c:pt>
                <c:pt idx="341" formatCode="0%">
                  <c:v>0.66574599999999995</c:v>
                </c:pt>
                <c:pt idx="342" formatCode="0%">
                  <c:v>0.71187900000000004</c:v>
                </c:pt>
                <c:pt idx="343" formatCode="0%">
                  <c:v>0.75407100000000005</c:v>
                </c:pt>
                <c:pt idx="344" formatCode="0%">
                  <c:v>0.77406900000000001</c:v>
                </c:pt>
                <c:pt idx="345" formatCode="0%">
                  <c:v>0.78461999999999998</c:v>
                </c:pt>
                <c:pt idx="346" formatCode="0%">
                  <c:v>0.75182400000000005</c:v>
                </c:pt>
                <c:pt idx="347" formatCode="0%">
                  <c:v>0.778756</c:v>
                </c:pt>
                <c:pt idx="348" formatCode="0%">
                  <c:v>0.80861499999999997</c:v>
                </c:pt>
                <c:pt idx="349" formatCode="0%">
                  <c:v>0.82229699999999994</c:v>
                </c:pt>
                <c:pt idx="350" formatCode="0%">
                  <c:v>0.79866800000000004</c:v>
                </c:pt>
                <c:pt idx="351" formatCode="0%">
                  <c:v>0.78710100000000005</c:v>
                </c:pt>
                <c:pt idx="352" formatCode="0%">
                  <c:v>0.81176300000000001</c:v>
                </c:pt>
                <c:pt idx="353" formatCode="0%">
                  <c:v>0.83000399999999996</c:v>
                </c:pt>
                <c:pt idx="354" formatCode="0%">
                  <c:v>0.82938000000000001</c:v>
                </c:pt>
                <c:pt idx="355" formatCode="0%">
                  <c:v>0.82969599999999999</c:v>
                </c:pt>
                <c:pt idx="356" formatCode="0%">
                  <c:v>0.81396500000000005</c:v>
                </c:pt>
                <c:pt idx="357" formatCode="0%">
                  <c:v>0.79123900000000003</c:v>
                </c:pt>
                <c:pt idx="358" formatCode="0%">
                  <c:v>0.77010299999999998</c:v>
                </c:pt>
                <c:pt idx="359" formatCode="0%">
                  <c:v>0.72159099999999998</c:v>
                </c:pt>
                <c:pt idx="360" formatCode="0%">
                  <c:v>0.70081099999999996</c:v>
                </c:pt>
                <c:pt idx="361" formatCode="0%">
                  <c:v>0.63451900000000006</c:v>
                </c:pt>
                <c:pt idx="362" formatCode="0%">
                  <c:v>0.62780999999999998</c:v>
                </c:pt>
                <c:pt idx="363" formatCode="0%">
                  <c:v>0.62908200000000003</c:v>
                </c:pt>
                <c:pt idx="364" formatCode="0%">
                  <c:v>0.67288700000000001</c:v>
                </c:pt>
                <c:pt idx="365" formatCode="0%">
                  <c:v>0.73573</c:v>
                </c:pt>
                <c:pt idx="366" formatCode="0%">
                  <c:v>0.78371400000000002</c:v>
                </c:pt>
                <c:pt idx="367" formatCode="0%">
                  <c:v>0.762853</c:v>
                </c:pt>
                <c:pt idx="368" formatCode="0%">
                  <c:v>0.79056099999999996</c:v>
                </c:pt>
                <c:pt idx="369" formatCode="0%">
                  <c:v>0.78527599999999997</c:v>
                </c:pt>
                <c:pt idx="370" formatCode="0%">
                  <c:v>0.77378999999999998</c:v>
                </c:pt>
                <c:pt idx="371" formatCode="0%">
                  <c:v>0.75708600000000004</c:v>
                </c:pt>
                <c:pt idx="372" formatCode="0%">
                  <c:v>0.69896599999999998</c:v>
                </c:pt>
                <c:pt idx="373" formatCode="0%">
                  <c:v>0.68660699999999997</c:v>
                </c:pt>
                <c:pt idx="374" formatCode="0%">
                  <c:v>0.70785600000000004</c:v>
                </c:pt>
                <c:pt idx="375" formatCode="0%">
                  <c:v>0.68210400000000004</c:v>
                </c:pt>
                <c:pt idx="376" formatCode="0%">
                  <c:v>0.66185499999999997</c:v>
                </c:pt>
                <c:pt idx="377" formatCode="0%">
                  <c:v>0.68086199999999997</c:v>
                </c:pt>
                <c:pt idx="378" formatCode="0%">
                  <c:v>0.68701100000000004</c:v>
                </c:pt>
                <c:pt idx="379" formatCode="0%">
                  <c:v>0.73260599999999998</c:v>
                </c:pt>
                <c:pt idx="380" formatCode="0%">
                  <c:v>0.73138300000000001</c:v>
                </c:pt>
                <c:pt idx="381" formatCode="0%">
                  <c:v>0.72324299999999997</c:v>
                </c:pt>
                <c:pt idx="382" formatCode="0%">
                  <c:v>0.72064700000000004</c:v>
                </c:pt>
                <c:pt idx="383" formatCode="0%">
                  <c:v>0.72964099999999998</c:v>
                </c:pt>
                <c:pt idx="384" formatCode="0%">
                  <c:v>0.70399400000000001</c:v>
                </c:pt>
                <c:pt idx="385" formatCode="0%">
                  <c:v>0.71153</c:v>
                </c:pt>
                <c:pt idx="386" formatCode="0%">
                  <c:v>0.69532099999999997</c:v>
                </c:pt>
                <c:pt idx="387" formatCode="0%">
                  <c:v>0.67916200000000004</c:v>
                </c:pt>
                <c:pt idx="388" formatCode="0%">
                  <c:v>0.68894299999999997</c:v>
                </c:pt>
                <c:pt idx="389" formatCode="0%">
                  <c:v>0.72509999999999997</c:v>
                </c:pt>
                <c:pt idx="390" formatCode="0%">
                  <c:v>0.73318899999999998</c:v>
                </c:pt>
                <c:pt idx="391" formatCode="0%">
                  <c:v>0.75461</c:v>
                </c:pt>
                <c:pt idx="392" formatCode="0%">
                  <c:v>0.75048000000000004</c:v>
                </c:pt>
                <c:pt idx="393" formatCode="0%">
                  <c:v>0.72682500000000005</c:v>
                </c:pt>
                <c:pt idx="394" formatCode="0%">
                  <c:v>0.74010799999999999</c:v>
                </c:pt>
                <c:pt idx="395" formatCode="0%">
                  <c:v>0.73279300000000003</c:v>
                </c:pt>
                <c:pt idx="396" formatCode="0%">
                  <c:v>0.71331500000000003</c:v>
                </c:pt>
                <c:pt idx="397" formatCode="0%">
                  <c:v>0.70195200000000002</c:v>
                </c:pt>
                <c:pt idx="398" formatCode="0%">
                  <c:v>0.67700000000000005</c:v>
                </c:pt>
                <c:pt idx="399" formatCode="0%">
                  <c:v>0.66853700000000005</c:v>
                </c:pt>
                <c:pt idx="400" formatCode="0%">
                  <c:v>0.67578400000000005</c:v>
                </c:pt>
                <c:pt idx="401" formatCode="0%">
                  <c:v>0.67824099999999998</c:v>
                </c:pt>
                <c:pt idx="402" formatCode="0%">
                  <c:v>0.66355900000000001</c:v>
                </c:pt>
                <c:pt idx="403" formatCode="0%">
                  <c:v>0.65916200000000003</c:v>
                </c:pt>
                <c:pt idx="404" formatCode="0%">
                  <c:v>0.67020800000000003</c:v>
                </c:pt>
                <c:pt idx="405" formatCode="0%">
                  <c:v>0.68085499999999999</c:v>
                </c:pt>
                <c:pt idx="406" formatCode="0%">
                  <c:v>0.70472500000000005</c:v>
                </c:pt>
                <c:pt idx="407" formatCode="0%">
                  <c:v>0.70766700000000005</c:v>
                </c:pt>
                <c:pt idx="408" formatCode="0%">
                  <c:v>0.70004599999999995</c:v>
                </c:pt>
                <c:pt idx="409" formatCode="0%">
                  <c:v>0.69564099999999995</c:v>
                </c:pt>
                <c:pt idx="410" formatCode="0%">
                  <c:v>0.69078099999999998</c:v>
                </c:pt>
                <c:pt idx="411" formatCode="0%">
                  <c:v>0.66791199999999995</c:v>
                </c:pt>
                <c:pt idx="412" formatCode="0%">
                  <c:v>0.66884500000000002</c:v>
                </c:pt>
                <c:pt idx="413" formatCode="0%">
                  <c:v>0.66369900000000004</c:v>
                </c:pt>
                <c:pt idx="414" formatCode="0%">
                  <c:v>0.65972900000000001</c:v>
                </c:pt>
                <c:pt idx="415" formatCode="0%">
                  <c:v>0.65502499999999997</c:v>
                </c:pt>
                <c:pt idx="416" formatCode="0%">
                  <c:v>0.64379200000000003</c:v>
                </c:pt>
                <c:pt idx="417" formatCode="0%">
                  <c:v>0.65023900000000001</c:v>
                </c:pt>
                <c:pt idx="418" formatCode="0%">
                  <c:v>0.65171199999999996</c:v>
                </c:pt>
                <c:pt idx="419" formatCode="0%">
                  <c:v>0.64326000000000005</c:v>
                </c:pt>
                <c:pt idx="420" formatCode="0%">
                  <c:v>0.63140200000000002</c:v>
                </c:pt>
                <c:pt idx="421" formatCode="0%">
                  <c:v>0.62597700000000001</c:v>
                </c:pt>
                <c:pt idx="422" formatCode="0%">
                  <c:v>0.62317599999999995</c:v>
                </c:pt>
                <c:pt idx="423" formatCode="0%">
                  <c:v>0.61572899999999997</c:v>
                </c:pt>
                <c:pt idx="424" formatCode="0%">
                  <c:v>0.60883699999999996</c:v>
                </c:pt>
                <c:pt idx="425" formatCode="0%">
                  <c:v>0.61495699999999998</c:v>
                </c:pt>
                <c:pt idx="426" formatCode="0%">
                  <c:v>0.60341</c:v>
                </c:pt>
                <c:pt idx="427" formatCode="0%">
                  <c:v>0.58799500000000005</c:v>
                </c:pt>
                <c:pt idx="428" formatCode="0%">
                  <c:v>0.58089000000000002</c:v>
                </c:pt>
                <c:pt idx="429" formatCode="0%">
                  <c:v>0.57069099999999995</c:v>
                </c:pt>
                <c:pt idx="430" formatCode="0%">
                  <c:v>0.57153399999999999</c:v>
                </c:pt>
                <c:pt idx="431" formatCode="0%">
                  <c:v>0.56209200000000004</c:v>
                </c:pt>
                <c:pt idx="432" formatCode="0%">
                  <c:v>0.56070500000000001</c:v>
                </c:pt>
                <c:pt idx="433" formatCode="0%">
                  <c:v>0.56749099999999997</c:v>
                </c:pt>
                <c:pt idx="434" formatCode="0%">
                  <c:v>0.57524799999999998</c:v>
                </c:pt>
                <c:pt idx="435" formatCode="0%">
                  <c:v>0.58088700000000004</c:v>
                </c:pt>
                <c:pt idx="436" formatCode="0%">
                  <c:v>0.581349</c:v>
                </c:pt>
                <c:pt idx="437" formatCode="0%">
                  <c:v>0.57499199999999995</c:v>
                </c:pt>
                <c:pt idx="438" formatCode="0%">
                  <c:v>0.58276899999999998</c:v>
                </c:pt>
                <c:pt idx="439" formatCode="0%">
                  <c:v>0.580681</c:v>
                </c:pt>
                <c:pt idx="440" formatCode="0%">
                  <c:v>0.58065299999999997</c:v>
                </c:pt>
                <c:pt idx="441" formatCode="0%">
                  <c:v>0.57081899999999997</c:v>
                </c:pt>
                <c:pt idx="442" formatCode="0%">
                  <c:v>0.58015600000000001</c:v>
                </c:pt>
                <c:pt idx="443" formatCode="0%">
                  <c:v>0.589785</c:v>
                </c:pt>
                <c:pt idx="444" formatCode="0%">
                  <c:v>0.58606400000000003</c:v>
                </c:pt>
                <c:pt idx="445" formatCode="0%">
                  <c:v>0.58680699999999997</c:v>
                </c:pt>
                <c:pt idx="446" formatCode="0%">
                  <c:v>0.59084099999999995</c:v>
                </c:pt>
                <c:pt idx="447" formatCode="0%">
                  <c:v>0.58379999999999999</c:v>
                </c:pt>
                <c:pt idx="448" formatCode="0%">
                  <c:v>0.58777299999999999</c:v>
                </c:pt>
                <c:pt idx="449" formatCode="0%">
                  <c:v>0.57857599999999998</c:v>
                </c:pt>
                <c:pt idx="450" formatCode="0%">
                  <c:v>0.56859599999999999</c:v>
                </c:pt>
                <c:pt idx="451" formatCode="0%">
                  <c:v>0.57448500000000002</c:v>
                </c:pt>
                <c:pt idx="452" formatCode="0%">
                  <c:v>0.57397399999999998</c:v>
                </c:pt>
                <c:pt idx="453" formatCode="0%">
                  <c:v>0.56944600000000001</c:v>
                </c:pt>
                <c:pt idx="454" formatCode="0%">
                  <c:v>0.56499100000000002</c:v>
                </c:pt>
                <c:pt idx="455" formatCode="0%">
                  <c:v>0.55808599999999997</c:v>
                </c:pt>
                <c:pt idx="456" formatCode="0%">
                  <c:v>0.55366199999999999</c:v>
                </c:pt>
                <c:pt idx="457" formatCode="0%">
                  <c:v>0.55904100000000001</c:v>
                </c:pt>
                <c:pt idx="458" formatCode="0%">
                  <c:v>0.55559800000000004</c:v>
                </c:pt>
                <c:pt idx="459" formatCode="0%">
                  <c:v>0.54914600000000002</c:v>
                </c:pt>
                <c:pt idx="460" formatCode="0%">
                  <c:v>0.54858200000000001</c:v>
                </c:pt>
                <c:pt idx="461" formatCode="0%">
                  <c:v>0.55310599999999999</c:v>
                </c:pt>
                <c:pt idx="462" formatCode="0%">
                  <c:v>0.56502200000000002</c:v>
                </c:pt>
                <c:pt idx="463" formatCode="0%">
                  <c:v>0.56862999999999997</c:v>
                </c:pt>
                <c:pt idx="464" formatCode="0%">
                  <c:v>0.56730100000000006</c:v>
                </c:pt>
                <c:pt idx="465" formatCode="0%">
                  <c:v>0.57330300000000001</c:v>
                </c:pt>
                <c:pt idx="466" formatCode="0%">
                  <c:v>0.58019799999999999</c:v>
                </c:pt>
                <c:pt idx="467" formatCode="0%">
                  <c:v>0.57987500000000003</c:v>
                </c:pt>
                <c:pt idx="468" formatCode="0%">
                  <c:v>0.59142799999999995</c:v>
                </c:pt>
                <c:pt idx="469" formatCode="0%">
                  <c:v>0.58777400000000002</c:v>
                </c:pt>
                <c:pt idx="470" formatCode="0%">
                  <c:v>0.59523800000000004</c:v>
                </c:pt>
                <c:pt idx="471" formatCode="0%">
                  <c:v>0.61127600000000004</c:v>
                </c:pt>
                <c:pt idx="472" formatCode="0%">
                  <c:v>0.61233300000000002</c:v>
                </c:pt>
                <c:pt idx="473" formatCode="0%">
                  <c:v>0.60811700000000002</c:v>
                </c:pt>
                <c:pt idx="474" formatCode="0%">
                  <c:v>0.607159</c:v>
                </c:pt>
                <c:pt idx="475" formatCode="0%">
                  <c:v>0.60391499999999998</c:v>
                </c:pt>
                <c:pt idx="476" formatCode="0%">
                  <c:v>0.61895500000000003</c:v>
                </c:pt>
                <c:pt idx="477" formatCode="0%">
                  <c:v>0.62467799999999996</c:v>
                </c:pt>
                <c:pt idx="478" formatCode="0%">
                  <c:v>0.61632399999999998</c:v>
                </c:pt>
                <c:pt idx="479" formatCode="0%">
                  <c:v>0.62665400000000004</c:v>
                </c:pt>
                <c:pt idx="480" formatCode="0%">
                  <c:v>0.64698100000000003</c:v>
                </c:pt>
                <c:pt idx="481" formatCode="0%">
                  <c:v>0.65792200000000001</c:v>
                </c:pt>
                <c:pt idx="482" formatCode="0%">
                  <c:v>0.66534199999999999</c:v>
                </c:pt>
                <c:pt idx="483" formatCode="0%">
                  <c:v>0.65763700000000003</c:v>
                </c:pt>
                <c:pt idx="484" formatCode="0%">
                  <c:v>0.66305700000000001</c:v>
                </c:pt>
                <c:pt idx="485" formatCode="0%">
                  <c:v>0.65583199999999997</c:v>
                </c:pt>
                <c:pt idx="486" formatCode="0%">
                  <c:v>0.63679699999999995</c:v>
                </c:pt>
                <c:pt idx="487" formatCode="0%">
                  <c:v>0.62744999999999995</c:v>
                </c:pt>
                <c:pt idx="488" formatCode="0%">
                  <c:v>0.61922600000000005</c:v>
                </c:pt>
                <c:pt idx="489" formatCode="0%">
                  <c:v>0.58997500000000003</c:v>
                </c:pt>
                <c:pt idx="490" formatCode="0%">
                  <c:v>0.57663500000000001</c:v>
                </c:pt>
                <c:pt idx="491" formatCode="0%">
                  <c:v>0.55412300000000003</c:v>
                </c:pt>
                <c:pt idx="492" formatCode="0%">
                  <c:v>0.54175700000000004</c:v>
                </c:pt>
                <c:pt idx="493" formatCode="0%">
                  <c:v>0.54327800000000004</c:v>
                </c:pt>
                <c:pt idx="494" formatCode="0%">
                  <c:v>0.53934000000000004</c:v>
                </c:pt>
                <c:pt idx="495" formatCode="0%">
                  <c:v>0.54133799999999999</c:v>
                </c:pt>
                <c:pt idx="496" formatCode="0%">
                  <c:v>0.55013400000000001</c:v>
                </c:pt>
                <c:pt idx="497" formatCode="0%">
                  <c:v>0.562419</c:v>
                </c:pt>
                <c:pt idx="498" formatCode="0%">
                  <c:v>0.54917800000000006</c:v>
                </c:pt>
                <c:pt idx="499" formatCode="0%">
                  <c:v>0.53988700000000001</c:v>
                </c:pt>
                <c:pt idx="500" formatCode="0%">
                  <c:v>0.52770099999999998</c:v>
                </c:pt>
                <c:pt idx="501" formatCode="0%">
                  <c:v>0.49567899999999998</c:v>
                </c:pt>
                <c:pt idx="502" formatCode="0%">
                  <c:v>0.465662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DD-4BFC-A041-DB2D3DE35267}"/>
            </c:ext>
          </c:extLst>
        </c:ser>
        <c:ser>
          <c:idx val="1"/>
          <c:order val="2"/>
          <c:tx>
            <c:v>POZ_Po_ukonceni_s_posilujici</c:v>
          </c:tx>
          <c:spPr>
            <a:ln>
              <a:noFill/>
            </a:ln>
          </c:spPr>
          <c:marker>
            <c:symbol val="none"/>
          </c:marker>
          <c:trendline>
            <c:spPr>
              <a:ln w="19050">
                <a:solidFill>
                  <a:srgbClr val="70AD47"/>
                </a:solidFill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%">
                  <c:v>0.98351</c:v>
                </c:pt>
                <c:pt idx="427" formatCode="0.00%">
                  <c:v>0.97237799999999996</c:v>
                </c:pt>
                <c:pt idx="428" formatCode="0.00%">
                  <c:v>0.95941500000000002</c:v>
                </c:pt>
                <c:pt idx="429" formatCode="0.00%">
                  <c:v>0.94952300000000001</c:v>
                </c:pt>
                <c:pt idx="430" formatCode="0.00%">
                  <c:v>0.93958699999999995</c:v>
                </c:pt>
                <c:pt idx="431" formatCode="0.00%">
                  <c:v>0.93358099999999999</c:v>
                </c:pt>
                <c:pt idx="432" formatCode="0.00%">
                  <c:v>0.93154999999999999</c:v>
                </c:pt>
                <c:pt idx="433" formatCode="0.00%">
                  <c:v>0.93949199999999999</c:v>
                </c:pt>
                <c:pt idx="434" formatCode="0.00%">
                  <c:v>0.93692600000000004</c:v>
                </c:pt>
                <c:pt idx="435" formatCode="0.00%">
                  <c:v>0.94277599999999995</c:v>
                </c:pt>
                <c:pt idx="436" formatCode="0.00%">
                  <c:v>0.94190399999999996</c:v>
                </c:pt>
                <c:pt idx="437" formatCode="0.00%">
                  <c:v>0.94443100000000002</c:v>
                </c:pt>
                <c:pt idx="438" formatCode="0.00%">
                  <c:v>0.94481800000000005</c:v>
                </c:pt>
                <c:pt idx="439" formatCode="0.00%">
                  <c:v>0.94597299999999995</c:v>
                </c:pt>
                <c:pt idx="440" formatCode="0.00%">
                  <c:v>0.94084599999999996</c:v>
                </c:pt>
                <c:pt idx="441" formatCode="0.00%">
                  <c:v>0.94551300000000005</c:v>
                </c:pt>
                <c:pt idx="442" formatCode="0.00%">
                  <c:v>0.94639300000000004</c:v>
                </c:pt>
                <c:pt idx="443" formatCode="0.00%">
                  <c:v>0.94995499999999999</c:v>
                </c:pt>
                <c:pt idx="444" formatCode="0.00%">
                  <c:v>0.94981599999999999</c:v>
                </c:pt>
                <c:pt idx="445" formatCode="0.00%">
                  <c:v>0.95092600000000005</c:v>
                </c:pt>
                <c:pt idx="446" formatCode="0.00%">
                  <c:v>0.94973700000000005</c:v>
                </c:pt>
                <c:pt idx="447" formatCode="0.00%">
                  <c:v>0.94909900000000003</c:v>
                </c:pt>
                <c:pt idx="448" formatCode="0.00%">
                  <c:v>0.94821500000000003</c:v>
                </c:pt>
                <c:pt idx="449" formatCode="0.00%">
                  <c:v>0.94781400000000005</c:v>
                </c:pt>
                <c:pt idx="450" formatCode="0.00%">
                  <c:v>0.95051099999999999</c:v>
                </c:pt>
                <c:pt idx="451" formatCode="0.00%">
                  <c:v>0.95064199999999999</c:v>
                </c:pt>
                <c:pt idx="452" formatCode="0.00%">
                  <c:v>0.94891400000000004</c:v>
                </c:pt>
                <c:pt idx="453" formatCode="0.00%">
                  <c:v>0.94617200000000001</c:v>
                </c:pt>
                <c:pt idx="454" formatCode="0.00%">
                  <c:v>0.94791300000000001</c:v>
                </c:pt>
                <c:pt idx="455" formatCode="0.00%">
                  <c:v>0.94719399999999998</c:v>
                </c:pt>
                <c:pt idx="456" formatCode="0.00%">
                  <c:v>0.94524399999999997</c:v>
                </c:pt>
                <c:pt idx="457" formatCode="0.00%">
                  <c:v>0.93992900000000001</c:v>
                </c:pt>
                <c:pt idx="458" formatCode="0.00%">
                  <c:v>0.93810199999999999</c:v>
                </c:pt>
                <c:pt idx="459" formatCode="0.00%">
                  <c:v>0.93640400000000001</c:v>
                </c:pt>
                <c:pt idx="460" formatCode="0.00%">
                  <c:v>0.937052</c:v>
                </c:pt>
                <c:pt idx="461" formatCode="0.00%">
                  <c:v>0.93313999999999997</c:v>
                </c:pt>
                <c:pt idx="462" formatCode="0.00%">
                  <c:v>0.92999600000000004</c:v>
                </c:pt>
                <c:pt idx="463" formatCode="0.00%">
                  <c:v>0.92852400000000002</c:v>
                </c:pt>
                <c:pt idx="464" formatCode="0.00%">
                  <c:v>0.92639000000000005</c:v>
                </c:pt>
                <c:pt idx="465" formatCode="0.00%">
                  <c:v>0.92432300000000001</c:v>
                </c:pt>
                <c:pt idx="466" formatCode="0.00%">
                  <c:v>0.92450399999999999</c:v>
                </c:pt>
                <c:pt idx="467" formatCode="0.00%">
                  <c:v>0.92455299999999996</c:v>
                </c:pt>
                <c:pt idx="468" formatCode="0.00%">
                  <c:v>0.92633100000000002</c:v>
                </c:pt>
                <c:pt idx="469" formatCode="0.00%">
                  <c:v>0.92795099999999997</c:v>
                </c:pt>
                <c:pt idx="470" formatCode="0.00%">
                  <c:v>0.92477799999999999</c:v>
                </c:pt>
                <c:pt idx="471" formatCode="0.00%">
                  <c:v>0.92346700000000004</c:v>
                </c:pt>
                <c:pt idx="472" formatCode="0.00%">
                  <c:v>0.92230299999999998</c:v>
                </c:pt>
                <c:pt idx="473" formatCode="0.00%">
                  <c:v>0.920408</c:v>
                </c:pt>
                <c:pt idx="474" formatCode="0.00%">
                  <c:v>0.91974500000000003</c:v>
                </c:pt>
                <c:pt idx="475" formatCode="0.00%">
                  <c:v>0.91648600000000002</c:v>
                </c:pt>
                <c:pt idx="476" formatCode="0.00%">
                  <c:v>0.91241799999999995</c:v>
                </c:pt>
                <c:pt idx="477" formatCode="0.00%">
                  <c:v>0.90919499999999998</c:v>
                </c:pt>
                <c:pt idx="478" formatCode="0.00%">
                  <c:v>0.90754500000000005</c:v>
                </c:pt>
                <c:pt idx="479" formatCode="0.00%">
                  <c:v>0.90610900000000005</c:v>
                </c:pt>
                <c:pt idx="480" formatCode="0.00%">
                  <c:v>0.90674999999999994</c:v>
                </c:pt>
                <c:pt idx="481" formatCode="0.00%">
                  <c:v>0.90695000000000003</c:v>
                </c:pt>
                <c:pt idx="482" formatCode="0.00%">
                  <c:v>0.90324099999999996</c:v>
                </c:pt>
                <c:pt idx="483" formatCode="0.00%">
                  <c:v>0.89199499999999998</c:v>
                </c:pt>
                <c:pt idx="484" formatCode="0.00%">
                  <c:v>0.88468500000000005</c:v>
                </c:pt>
                <c:pt idx="485" formatCode="0.00%">
                  <c:v>0.87637699999999996</c:v>
                </c:pt>
                <c:pt idx="486" formatCode="0.00%">
                  <c:v>0.86904000000000003</c:v>
                </c:pt>
                <c:pt idx="487" formatCode="0.00%">
                  <c:v>0.86877899999999997</c:v>
                </c:pt>
                <c:pt idx="488" formatCode="0.00%">
                  <c:v>0.86413600000000002</c:v>
                </c:pt>
                <c:pt idx="489" formatCode="0.00%">
                  <c:v>0.845553</c:v>
                </c:pt>
                <c:pt idx="490" formatCode="0.00%">
                  <c:v>0.82704100000000003</c:v>
                </c:pt>
                <c:pt idx="491" formatCode="0.00%">
                  <c:v>0.81524700000000005</c:v>
                </c:pt>
                <c:pt idx="492" formatCode="0.00%">
                  <c:v>0.798763</c:v>
                </c:pt>
                <c:pt idx="493" formatCode="0.00%">
                  <c:v>0.79063899999999998</c:v>
                </c:pt>
                <c:pt idx="494" formatCode="0.00%">
                  <c:v>0.78490499999999996</c:v>
                </c:pt>
                <c:pt idx="495" formatCode="0.00%">
                  <c:v>0.78315900000000005</c:v>
                </c:pt>
                <c:pt idx="496" formatCode="0.00%">
                  <c:v>0.78015400000000001</c:v>
                </c:pt>
                <c:pt idx="497" formatCode="0.00%">
                  <c:v>0.76831700000000003</c:v>
                </c:pt>
                <c:pt idx="498" formatCode="0.00%">
                  <c:v>0.75994799999999996</c:v>
                </c:pt>
                <c:pt idx="499" formatCode="0.00%">
                  <c:v>0.76227299999999998</c:v>
                </c:pt>
                <c:pt idx="500" formatCode="0.00%">
                  <c:v>0.76178400000000002</c:v>
                </c:pt>
                <c:pt idx="501" formatCode="0.00%">
                  <c:v>0.75924999999999998</c:v>
                </c:pt>
                <c:pt idx="502" formatCode="0.00%">
                  <c:v>0.752479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DD-4BFC-A041-DB2D3DE35267}"/>
            </c:ext>
          </c:extLst>
        </c:ser>
        <c:ser>
          <c:idx val="2"/>
          <c:order val="3"/>
          <c:tx>
            <c:v>POZ_Po_ukonceni_s_posilujici_65</c:v>
          </c:tx>
          <c:spPr>
            <a:ln>
              <a:noFill/>
              <a:prstDash val="sysDash"/>
            </a:ln>
          </c:spPr>
          <c:marker>
            <c:symbol val="none"/>
          </c:marker>
          <c:trendline>
            <c:spPr>
              <a:ln w="19050">
                <a:solidFill>
                  <a:srgbClr val="70AD47"/>
                </a:solidFill>
                <a:prstDash val="sysDash"/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E$2:$E$505</c:f>
              <c:numCache>
                <c:formatCode>General</c:formatCode>
                <c:ptCount val="504"/>
                <c:pt idx="426" formatCode="0.00%">
                  <c:v>0.986676</c:v>
                </c:pt>
                <c:pt idx="427" formatCode="0.00%">
                  <c:v>0.97824800000000001</c:v>
                </c:pt>
                <c:pt idx="428" formatCode="0.00%">
                  <c:v>0.96855500000000005</c:v>
                </c:pt>
                <c:pt idx="429" formatCode="0.00%">
                  <c:v>0.96029299999999995</c:v>
                </c:pt>
                <c:pt idx="430" formatCode="0.00%">
                  <c:v>0.94552999999999998</c:v>
                </c:pt>
                <c:pt idx="431" formatCode="0.00%">
                  <c:v>0.93768799999999997</c:v>
                </c:pt>
                <c:pt idx="432" formatCode="0.00%">
                  <c:v>0.93528</c:v>
                </c:pt>
                <c:pt idx="433" formatCode="0.00%">
                  <c:v>0.94047999999999998</c:v>
                </c:pt>
                <c:pt idx="434" formatCode="0.00%">
                  <c:v>0.92486000000000002</c:v>
                </c:pt>
                <c:pt idx="435" formatCode="0.00%">
                  <c:v>0.92086299999999999</c:v>
                </c:pt>
                <c:pt idx="436" formatCode="0.00%">
                  <c:v>0.91619099999999998</c:v>
                </c:pt>
                <c:pt idx="437" formatCode="0.00%">
                  <c:v>0.91365600000000002</c:v>
                </c:pt>
                <c:pt idx="438" formatCode="0.00%">
                  <c:v>0.91562399999999999</c:v>
                </c:pt>
                <c:pt idx="439" formatCode="0.00%">
                  <c:v>0.91536300000000004</c:v>
                </c:pt>
                <c:pt idx="440" formatCode="0.00%">
                  <c:v>0.91011299999999995</c:v>
                </c:pt>
                <c:pt idx="441" formatCode="0.00%">
                  <c:v>0.92381000000000002</c:v>
                </c:pt>
                <c:pt idx="442" formatCode="0.00%">
                  <c:v>0.927921</c:v>
                </c:pt>
                <c:pt idx="443" formatCode="0.00%">
                  <c:v>0.93588499999999997</c:v>
                </c:pt>
                <c:pt idx="444" formatCode="0.00%">
                  <c:v>0.94188799999999995</c:v>
                </c:pt>
                <c:pt idx="445" formatCode="0.00%">
                  <c:v>0.94100300000000003</c:v>
                </c:pt>
                <c:pt idx="446" formatCode="0.00%">
                  <c:v>0.94298400000000004</c:v>
                </c:pt>
                <c:pt idx="447" formatCode="0.00%">
                  <c:v>0.94012399999999996</c:v>
                </c:pt>
                <c:pt idx="448" formatCode="0.00%">
                  <c:v>0.93821500000000002</c:v>
                </c:pt>
                <c:pt idx="449" formatCode="0.00%">
                  <c:v>0.93850500000000003</c:v>
                </c:pt>
                <c:pt idx="450" formatCode="0.00%">
                  <c:v>0.94064000000000003</c:v>
                </c:pt>
                <c:pt idx="451" formatCode="0.00%">
                  <c:v>0.94278700000000004</c:v>
                </c:pt>
                <c:pt idx="452" formatCode="0.00%">
                  <c:v>0.94347400000000003</c:v>
                </c:pt>
                <c:pt idx="453" formatCode="0.00%">
                  <c:v>0.94065500000000002</c:v>
                </c:pt>
                <c:pt idx="454" formatCode="0.00%">
                  <c:v>0.94597299999999995</c:v>
                </c:pt>
                <c:pt idx="455" formatCode="0.00%">
                  <c:v>0.94414299999999995</c:v>
                </c:pt>
                <c:pt idx="456" formatCode="0.00%">
                  <c:v>0.94127099999999997</c:v>
                </c:pt>
                <c:pt idx="457" formatCode="0.00%">
                  <c:v>0.93665100000000001</c:v>
                </c:pt>
                <c:pt idx="458" formatCode="0.00%">
                  <c:v>0.934249</c:v>
                </c:pt>
                <c:pt idx="459" formatCode="0.00%">
                  <c:v>0.933419</c:v>
                </c:pt>
                <c:pt idx="460" formatCode="0.00%">
                  <c:v>0.93338399999999999</c:v>
                </c:pt>
                <c:pt idx="461" formatCode="0.00%">
                  <c:v>0.92774299999999998</c:v>
                </c:pt>
                <c:pt idx="462" formatCode="0.00%">
                  <c:v>0.92985300000000004</c:v>
                </c:pt>
                <c:pt idx="463" formatCode="0.00%">
                  <c:v>0.93141700000000005</c:v>
                </c:pt>
                <c:pt idx="464" formatCode="0.00%">
                  <c:v>0.93138200000000004</c:v>
                </c:pt>
                <c:pt idx="465" formatCode="0.00%">
                  <c:v>0.93174400000000002</c:v>
                </c:pt>
                <c:pt idx="466" formatCode="0.00%">
                  <c:v>0.93032599999999999</c:v>
                </c:pt>
                <c:pt idx="467" formatCode="0.00%">
                  <c:v>0.92924499999999999</c:v>
                </c:pt>
                <c:pt idx="468" formatCode="0.00%">
                  <c:v>0.93192200000000003</c:v>
                </c:pt>
                <c:pt idx="469" formatCode="0.00%">
                  <c:v>0.92877200000000004</c:v>
                </c:pt>
                <c:pt idx="470" formatCode="0.00%">
                  <c:v>0.92808199999999996</c:v>
                </c:pt>
                <c:pt idx="471" formatCode="0.00%">
                  <c:v>0.92688899999999996</c:v>
                </c:pt>
                <c:pt idx="472" formatCode="0.00%">
                  <c:v>0.92141600000000001</c:v>
                </c:pt>
                <c:pt idx="473" formatCode="0.00%">
                  <c:v>0.919624</c:v>
                </c:pt>
                <c:pt idx="474" formatCode="0.00%">
                  <c:v>0.91891</c:v>
                </c:pt>
                <c:pt idx="475" formatCode="0.00%">
                  <c:v>0.91564400000000001</c:v>
                </c:pt>
                <c:pt idx="476" formatCode="0.00%">
                  <c:v>0.91759100000000005</c:v>
                </c:pt>
                <c:pt idx="477" formatCode="0.00%">
                  <c:v>0.91419700000000004</c:v>
                </c:pt>
                <c:pt idx="478" formatCode="0.00%">
                  <c:v>0.91040500000000002</c:v>
                </c:pt>
                <c:pt idx="479" formatCode="0.00%">
                  <c:v>0.91267299999999996</c:v>
                </c:pt>
                <c:pt idx="480" formatCode="0.00%">
                  <c:v>0.91971000000000003</c:v>
                </c:pt>
                <c:pt idx="481" formatCode="0.00%">
                  <c:v>0.92245999999999995</c:v>
                </c:pt>
                <c:pt idx="482" formatCode="0.00%">
                  <c:v>0.92536600000000002</c:v>
                </c:pt>
                <c:pt idx="483" formatCode="0.00%">
                  <c:v>0.92224499999999998</c:v>
                </c:pt>
                <c:pt idx="484" formatCode="0.00%">
                  <c:v>0.92665799999999998</c:v>
                </c:pt>
                <c:pt idx="485" formatCode="0.00%">
                  <c:v>0.92527800000000004</c:v>
                </c:pt>
                <c:pt idx="486" formatCode="0.00%">
                  <c:v>0.91838200000000003</c:v>
                </c:pt>
                <c:pt idx="487" formatCode="0.00%">
                  <c:v>0.91674199999999995</c:v>
                </c:pt>
                <c:pt idx="488" formatCode="0.00%">
                  <c:v>0.91637800000000003</c:v>
                </c:pt>
                <c:pt idx="489" formatCode="0.00%">
                  <c:v>0.90499600000000002</c:v>
                </c:pt>
                <c:pt idx="490" formatCode="0.00%">
                  <c:v>0.89357299999999995</c:v>
                </c:pt>
                <c:pt idx="491" formatCode="0.00%">
                  <c:v>0.87854900000000002</c:v>
                </c:pt>
                <c:pt idx="492" formatCode="0.00%">
                  <c:v>0.86827900000000002</c:v>
                </c:pt>
                <c:pt idx="493" formatCode="0.00%">
                  <c:v>0.86139100000000002</c:v>
                </c:pt>
                <c:pt idx="494" formatCode="0.00%">
                  <c:v>0.85277000000000003</c:v>
                </c:pt>
                <c:pt idx="495" formatCode="0.00%">
                  <c:v>0.84807999999999995</c:v>
                </c:pt>
                <c:pt idx="496" formatCode="0.00%">
                  <c:v>0.84203099999999997</c:v>
                </c:pt>
                <c:pt idx="497" formatCode="0.00%">
                  <c:v>0.82589000000000001</c:v>
                </c:pt>
                <c:pt idx="498" formatCode="0.00%">
                  <c:v>0.80213999999999996</c:v>
                </c:pt>
                <c:pt idx="499" formatCode="0.00%">
                  <c:v>0.78698800000000002</c:v>
                </c:pt>
                <c:pt idx="500" formatCode="0.00%">
                  <c:v>0.76426000000000005</c:v>
                </c:pt>
                <c:pt idx="501" formatCode="0.00%">
                  <c:v>0.74768999999999997</c:v>
                </c:pt>
                <c:pt idx="502" formatCode="0.00%">
                  <c:v>0.730253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849-4D97-A0E7-FC8139407D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1"/>
          <c:min val="0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HOS_Po_ukonceni</c:v>
          </c:tx>
          <c:spPr>
            <a:ln>
              <a:noFill/>
            </a:ln>
          </c:spPr>
          <c:marker>
            <c:symbol val="none"/>
          </c:marker>
          <c:trendline>
            <c:spPr>
              <a:ln w="19050">
                <a:solidFill>
                  <a:srgbClr val="4472C4"/>
                </a:solidFill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81" formatCode="0%">
                  <c:v>0.95060999999999996</c:v>
                </c:pt>
                <c:pt idx="182" formatCode="0%">
                  <c:v>0.86843999999999999</c:v>
                </c:pt>
                <c:pt idx="183" formatCode="0%">
                  <c:v>0.82529200000000003</c:v>
                </c:pt>
                <c:pt idx="184" formatCode="0%">
                  <c:v>0.80506100000000003</c:v>
                </c:pt>
                <c:pt idx="185" formatCode="0%">
                  <c:v>0.77859299999999998</c:v>
                </c:pt>
                <c:pt idx="186" formatCode="0%">
                  <c:v>0.75353199999999998</c:v>
                </c:pt>
                <c:pt idx="187" formatCode="0%">
                  <c:v>0.75009599999999998</c:v>
                </c:pt>
                <c:pt idx="188" formatCode="0%">
                  <c:v>0.78702799999999995</c:v>
                </c:pt>
                <c:pt idx="189" formatCode="0%">
                  <c:v>0.84950599999999998</c:v>
                </c:pt>
                <c:pt idx="190" formatCode="0%">
                  <c:v>0.83005499999999999</c:v>
                </c:pt>
                <c:pt idx="191" formatCode="0%">
                  <c:v>0.80359599999999998</c:v>
                </c:pt>
                <c:pt idx="192" formatCode="0%">
                  <c:v>0.79860399999999998</c:v>
                </c:pt>
                <c:pt idx="193" formatCode="0%">
                  <c:v>0.80822000000000005</c:v>
                </c:pt>
                <c:pt idx="194" formatCode="0%">
                  <c:v>0.801454</c:v>
                </c:pt>
                <c:pt idx="195" formatCode="0%">
                  <c:v>0.76201700000000006</c:v>
                </c:pt>
                <c:pt idx="196" formatCode="0%">
                  <c:v>0.72806000000000004</c:v>
                </c:pt>
                <c:pt idx="197" formatCode="0%">
                  <c:v>0.76132900000000003</c:v>
                </c:pt>
                <c:pt idx="198" formatCode="0%">
                  <c:v>0.78959100000000004</c:v>
                </c:pt>
                <c:pt idx="199" formatCode="0%">
                  <c:v>0.77431300000000003</c:v>
                </c:pt>
                <c:pt idx="200" formatCode="0%">
                  <c:v>0.74373800000000001</c:v>
                </c:pt>
                <c:pt idx="201" formatCode="0%">
                  <c:v>0.71634200000000003</c:v>
                </c:pt>
                <c:pt idx="202" formatCode="0%">
                  <c:v>0.73413799999999996</c:v>
                </c:pt>
                <c:pt idx="203" formatCode="0%">
                  <c:v>0.72580900000000004</c:v>
                </c:pt>
                <c:pt idx="204" formatCode="0%">
                  <c:v>0.71534699999999996</c:v>
                </c:pt>
                <c:pt idx="205" formatCode="0%">
                  <c:v>0.68874000000000002</c:v>
                </c:pt>
                <c:pt idx="206" formatCode="0%">
                  <c:v>0.70212399999999997</c:v>
                </c:pt>
                <c:pt idx="207" formatCode="0%">
                  <c:v>0.72556500000000002</c:v>
                </c:pt>
                <c:pt idx="208" formatCode="0%">
                  <c:v>0.74444999999999995</c:v>
                </c:pt>
                <c:pt idx="209" formatCode="0%">
                  <c:v>0.71242799999999995</c:v>
                </c:pt>
                <c:pt idx="210" formatCode="0%">
                  <c:v>0.73307100000000003</c:v>
                </c:pt>
                <c:pt idx="211" formatCode="0%">
                  <c:v>0.73987700000000001</c:v>
                </c:pt>
                <c:pt idx="212" formatCode="0%">
                  <c:v>0.75244900000000003</c:v>
                </c:pt>
                <c:pt idx="213" formatCode="0%">
                  <c:v>0.76431800000000005</c:v>
                </c:pt>
                <c:pt idx="214" formatCode="0%">
                  <c:v>0.77066400000000002</c:v>
                </c:pt>
                <c:pt idx="215" formatCode="0%">
                  <c:v>0.77078100000000005</c:v>
                </c:pt>
                <c:pt idx="216" formatCode="0%">
                  <c:v>0.80096999999999996</c:v>
                </c:pt>
                <c:pt idx="217" formatCode="0%">
                  <c:v>0.79792600000000002</c:v>
                </c:pt>
                <c:pt idx="218" formatCode="0%">
                  <c:v>0.779864</c:v>
                </c:pt>
                <c:pt idx="219" formatCode="0%">
                  <c:v>0.74281299999999995</c:v>
                </c:pt>
                <c:pt idx="220" formatCode="0%">
                  <c:v>0.71006999999999998</c:v>
                </c:pt>
                <c:pt idx="221" formatCode="0%">
                  <c:v>0.65503599999999995</c:v>
                </c:pt>
                <c:pt idx="222" formatCode="0%">
                  <c:v>0.62365800000000005</c:v>
                </c:pt>
                <c:pt idx="223" formatCode="0%">
                  <c:v>0.58086000000000004</c:v>
                </c:pt>
                <c:pt idx="224" formatCode="0%">
                  <c:v>0.60044799999999998</c:v>
                </c:pt>
                <c:pt idx="225" formatCode="0%">
                  <c:v>0.58948900000000004</c:v>
                </c:pt>
                <c:pt idx="226" formatCode="0%">
                  <c:v>0.60907199999999995</c:v>
                </c:pt>
                <c:pt idx="227" formatCode="0%">
                  <c:v>0.63987300000000003</c:v>
                </c:pt>
                <c:pt idx="228" formatCode="0%">
                  <c:v>0.69111699999999998</c:v>
                </c:pt>
                <c:pt idx="229" formatCode="0%">
                  <c:v>0.695496</c:v>
                </c:pt>
                <c:pt idx="230" formatCode="0%">
                  <c:v>0.72080299999999997</c:v>
                </c:pt>
                <c:pt idx="231" formatCode="0%">
                  <c:v>0.70191899999999996</c:v>
                </c:pt>
                <c:pt idx="232" formatCode="0%">
                  <c:v>0.69549499999999997</c:v>
                </c:pt>
                <c:pt idx="233" formatCode="0%">
                  <c:v>0.69308700000000001</c:v>
                </c:pt>
                <c:pt idx="234" formatCode="0%">
                  <c:v>0.65971999999999997</c:v>
                </c:pt>
                <c:pt idx="235" formatCode="0%">
                  <c:v>0.65307999999999999</c:v>
                </c:pt>
                <c:pt idx="236" formatCode="0%">
                  <c:v>0.65752299999999997</c:v>
                </c:pt>
                <c:pt idx="237" formatCode="0%">
                  <c:v>0.66555799999999998</c:v>
                </c:pt>
                <c:pt idx="238" formatCode="0%">
                  <c:v>0.63633099999999998</c:v>
                </c:pt>
                <c:pt idx="239" formatCode="0%">
                  <c:v>0.68123999999999996</c:v>
                </c:pt>
                <c:pt idx="240" formatCode="0%">
                  <c:v>0.69888099999999997</c:v>
                </c:pt>
                <c:pt idx="241" formatCode="0%">
                  <c:v>0.73494300000000001</c:v>
                </c:pt>
                <c:pt idx="242" formatCode="0%">
                  <c:v>0.731626</c:v>
                </c:pt>
                <c:pt idx="243" formatCode="0%">
                  <c:v>0.71690399999999999</c:v>
                </c:pt>
                <c:pt idx="244" formatCode="0%">
                  <c:v>0.74271200000000004</c:v>
                </c:pt>
                <c:pt idx="245" formatCode="0%">
                  <c:v>0.75734000000000001</c:v>
                </c:pt>
                <c:pt idx="246" formatCode="0%">
                  <c:v>0.73734299999999997</c:v>
                </c:pt>
                <c:pt idx="247" formatCode="0%">
                  <c:v>0.699542</c:v>
                </c:pt>
                <c:pt idx="248" formatCode="0%">
                  <c:v>0.66966599999999998</c:v>
                </c:pt>
                <c:pt idx="249" formatCode="0%">
                  <c:v>0.67289500000000002</c:v>
                </c:pt>
                <c:pt idx="250" formatCode="0%">
                  <c:v>0.67169699999999999</c:v>
                </c:pt>
                <c:pt idx="251" formatCode="0%">
                  <c:v>0.64558899999999997</c:v>
                </c:pt>
                <c:pt idx="252" formatCode="0%">
                  <c:v>0.67393999999999998</c:v>
                </c:pt>
                <c:pt idx="253" formatCode="0%">
                  <c:v>0.63184700000000005</c:v>
                </c:pt>
                <c:pt idx="254" formatCode="0%">
                  <c:v>0.70240400000000003</c:v>
                </c:pt>
                <c:pt idx="255" formatCode="0%">
                  <c:v>0.70008000000000004</c:v>
                </c:pt>
                <c:pt idx="256" formatCode="0%">
                  <c:v>0.690608</c:v>
                </c:pt>
                <c:pt idx="257" formatCode="0%">
                  <c:v>0.72275800000000001</c:v>
                </c:pt>
                <c:pt idx="258" formatCode="0%">
                  <c:v>0.74041000000000001</c:v>
                </c:pt>
                <c:pt idx="259" formatCode="0%">
                  <c:v>0.67337199999999997</c:v>
                </c:pt>
                <c:pt idx="260" formatCode="0%">
                  <c:v>0.73916099999999996</c:v>
                </c:pt>
                <c:pt idx="261" formatCode="0%">
                  <c:v>0.67625100000000005</c:v>
                </c:pt>
                <c:pt idx="262" formatCode="0%">
                  <c:v>0.67222099999999996</c:v>
                </c:pt>
                <c:pt idx="263" formatCode="0%">
                  <c:v>0.65397799999999995</c:v>
                </c:pt>
                <c:pt idx="264" formatCode="0%">
                  <c:v>0.67187699999999995</c:v>
                </c:pt>
                <c:pt idx="265" formatCode="0%">
                  <c:v>0.62766900000000003</c:v>
                </c:pt>
                <c:pt idx="266" formatCode="0%">
                  <c:v>0.69178300000000004</c:v>
                </c:pt>
                <c:pt idx="267" formatCode="0%">
                  <c:v>0.67599600000000004</c:v>
                </c:pt>
                <c:pt idx="268" formatCode="0%">
                  <c:v>0.67046300000000003</c:v>
                </c:pt>
                <c:pt idx="269" formatCode="0%">
                  <c:v>0.62637900000000002</c:v>
                </c:pt>
                <c:pt idx="270" formatCode="0%">
                  <c:v>0.63113600000000003</c:v>
                </c:pt>
                <c:pt idx="271" formatCode="0%">
                  <c:v>0.59273399999999998</c:v>
                </c:pt>
                <c:pt idx="272" formatCode="0%">
                  <c:v>0.64143099999999997</c:v>
                </c:pt>
                <c:pt idx="273" formatCode="0%">
                  <c:v>0.62004700000000001</c:v>
                </c:pt>
                <c:pt idx="274" formatCode="0%">
                  <c:v>0.61709099999999995</c:v>
                </c:pt>
                <c:pt idx="275" formatCode="0%">
                  <c:v>0.70470600000000005</c:v>
                </c:pt>
                <c:pt idx="276" formatCode="0%">
                  <c:v>0.81616299999999997</c:v>
                </c:pt>
                <c:pt idx="277" formatCode="0%">
                  <c:v>0.84708399999999995</c:v>
                </c:pt>
                <c:pt idx="278" formatCode="0%">
                  <c:v>0.80943299999999996</c:v>
                </c:pt>
                <c:pt idx="279" formatCode="0%">
                  <c:v>0.78869999999999996</c:v>
                </c:pt>
                <c:pt idx="280" formatCode="0%">
                  <c:v>0.75232100000000002</c:v>
                </c:pt>
                <c:pt idx="281" formatCode="0%">
                  <c:v>0.79352800000000001</c:v>
                </c:pt>
                <c:pt idx="282" formatCode="0%">
                  <c:v>0.72846200000000005</c:v>
                </c:pt>
                <c:pt idx="283" formatCode="0%">
                  <c:v>0.58042099999999996</c:v>
                </c:pt>
                <c:pt idx="284" formatCode="0%">
                  <c:v>0.55459700000000001</c:v>
                </c:pt>
                <c:pt idx="285" formatCode="0%">
                  <c:v>0.69298199999999999</c:v>
                </c:pt>
                <c:pt idx="286" formatCode="0%">
                  <c:v>0.69044099999999997</c:v>
                </c:pt>
                <c:pt idx="287" formatCode="0%">
                  <c:v>0.71206100000000006</c:v>
                </c:pt>
                <c:pt idx="288" formatCode="0%">
                  <c:v>0.62079200000000001</c:v>
                </c:pt>
                <c:pt idx="289" formatCode="0%">
                  <c:v>0.58830700000000002</c:v>
                </c:pt>
                <c:pt idx="290" formatCode="0%">
                  <c:v>0.73620600000000003</c:v>
                </c:pt>
                <c:pt idx="291" formatCode="0%">
                  <c:v>0.68990300000000004</c:v>
                </c:pt>
                <c:pt idx="292" formatCode="0%">
                  <c:v>0.62747299999999995</c:v>
                </c:pt>
                <c:pt idx="293" formatCode="0%">
                  <c:v>0.61546299999999998</c:v>
                </c:pt>
                <c:pt idx="294" formatCode="0%">
                  <c:v>0.53759400000000002</c:v>
                </c:pt>
                <c:pt idx="295" formatCode="0%">
                  <c:v>0.52255300000000005</c:v>
                </c:pt>
                <c:pt idx="296" formatCode="0%">
                  <c:v>0.60350599999999999</c:v>
                </c:pt>
                <c:pt idx="297" formatCode="0%">
                  <c:v>0.58175399999999999</c:v>
                </c:pt>
                <c:pt idx="298" formatCode="0%">
                  <c:v>0.57553100000000001</c:v>
                </c:pt>
                <c:pt idx="299" formatCode="0%">
                  <c:v>0.67903100000000005</c:v>
                </c:pt>
                <c:pt idx="300" formatCode="0%">
                  <c:v>0.78133699999999995</c:v>
                </c:pt>
                <c:pt idx="301" formatCode="0%">
                  <c:v>0.83272199999999996</c:v>
                </c:pt>
                <c:pt idx="302" formatCode="0%">
                  <c:v>0.80282399999999998</c:v>
                </c:pt>
                <c:pt idx="303" formatCode="0%">
                  <c:v>0.80421200000000004</c:v>
                </c:pt>
                <c:pt idx="304" formatCode="0%">
                  <c:v>0.77892799999999995</c:v>
                </c:pt>
                <c:pt idx="305" formatCode="0%">
                  <c:v>0.78909799999999997</c:v>
                </c:pt>
                <c:pt idx="306" formatCode="0%">
                  <c:v>0.76944100000000004</c:v>
                </c:pt>
                <c:pt idx="307" formatCode="0%">
                  <c:v>0.69935000000000003</c:v>
                </c:pt>
                <c:pt idx="308" formatCode="0%">
                  <c:v>0.67958300000000005</c:v>
                </c:pt>
                <c:pt idx="309" formatCode="0%">
                  <c:v>1</c:v>
                </c:pt>
                <c:pt idx="310" formatCode="0%">
                  <c:v>0.90895499999999996</c:v>
                </c:pt>
                <c:pt idx="311" formatCode="0%">
                  <c:v>0.920767</c:v>
                </c:pt>
                <c:pt idx="312" formatCode="0%">
                  <c:v>0.845244</c:v>
                </c:pt>
                <c:pt idx="313" formatCode="0%">
                  <c:v>0.80678899999999998</c:v>
                </c:pt>
                <c:pt idx="314" formatCode="0%">
                  <c:v>0.74006099999999997</c:v>
                </c:pt>
                <c:pt idx="315" formatCode="0%">
                  <c:v>0.74006099999999997</c:v>
                </c:pt>
                <c:pt idx="316" formatCode="0%">
                  <c:v>0.64935900000000002</c:v>
                </c:pt>
                <c:pt idx="317" formatCode="0%">
                  <c:v>0.76130600000000004</c:v>
                </c:pt>
                <c:pt idx="318" formatCode="0%">
                  <c:v>0.555006</c:v>
                </c:pt>
                <c:pt idx="319" formatCode="0%">
                  <c:v>0.62721099999999996</c:v>
                </c:pt>
                <c:pt idx="320" formatCode="0%">
                  <c:v>0.66464800000000002</c:v>
                </c:pt>
                <c:pt idx="321" formatCode="0%">
                  <c:v>0.66581599999999996</c:v>
                </c:pt>
                <c:pt idx="322" formatCode="0%">
                  <c:v>0.617035</c:v>
                </c:pt>
                <c:pt idx="323" formatCode="0%">
                  <c:v>0.68415700000000002</c:v>
                </c:pt>
                <c:pt idx="324" formatCode="0%">
                  <c:v>0.62646199999999996</c:v>
                </c:pt>
                <c:pt idx="325" formatCode="0%">
                  <c:v>0.75422800000000001</c:v>
                </c:pt>
                <c:pt idx="326" formatCode="0%">
                  <c:v>0.77988199999999996</c:v>
                </c:pt>
                <c:pt idx="327" formatCode="0%">
                  <c:v>0.81731200000000004</c:v>
                </c:pt>
                <c:pt idx="328" formatCode="0%">
                  <c:v>0.83506400000000003</c:v>
                </c:pt>
                <c:pt idx="329" formatCode="0%">
                  <c:v>0.88789700000000005</c:v>
                </c:pt>
                <c:pt idx="330" formatCode="0%">
                  <c:v>0.83761699999999994</c:v>
                </c:pt>
                <c:pt idx="331" formatCode="0%">
                  <c:v>0.78075000000000006</c:v>
                </c:pt>
                <c:pt idx="332" formatCode="0%">
                  <c:v>0.80950800000000001</c:v>
                </c:pt>
                <c:pt idx="333" formatCode="0%">
                  <c:v>0.80535599999999996</c:v>
                </c:pt>
                <c:pt idx="334" formatCode="0%">
                  <c:v>0.78359800000000002</c:v>
                </c:pt>
                <c:pt idx="335" formatCode="0%">
                  <c:v>0.73891799999999996</c:v>
                </c:pt>
                <c:pt idx="336" formatCode="0%">
                  <c:v>0.73058199999999995</c:v>
                </c:pt>
                <c:pt idx="337" formatCode="0%">
                  <c:v>0.75369399999999998</c:v>
                </c:pt>
                <c:pt idx="338" formatCode="0%">
                  <c:v>0.84615200000000002</c:v>
                </c:pt>
                <c:pt idx="339" formatCode="0%">
                  <c:v>0.78819799999999995</c:v>
                </c:pt>
                <c:pt idx="340" formatCode="0%">
                  <c:v>0.75856100000000004</c:v>
                </c:pt>
                <c:pt idx="341" formatCode="0%">
                  <c:v>0.74199700000000002</c:v>
                </c:pt>
                <c:pt idx="342" formatCode="0%">
                  <c:v>0.82424600000000003</c:v>
                </c:pt>
                <c:pt idx="343" formatCode="0%">
                  <c:v>0.79112499999999997</c:v>
                </c:pt>
                <c:pt idx="344" formatCode="0%">
                  <c:v>0.81726100000000002</c:v>
                </c:pt>
                <c:pt idx="345" formatCode="0%">
                  <c:v>0.77348799999999995</c:v>
                </c:pt>
                <c:pt idx="346" formatCode="0%">
                  <c:v>0.78554400000000002</c:v>
                </c:pt>
                <c:pt idx="347" formatCode="0%">
                  <c:v>0.80808500000000005</c:v>
                </c:pt>
                <c:pt idx="348" formatCode="0%">
                  <c:v>0.82528699999999999</c:v>
                </c:pt>
                <c:pt idx="349" formatCode="0%">
                  <c:v>0.84501599999999999</c:v>
                </c:pt>
                <c:pt idx="350" formatCode="0%">
                  <c:v>0.86714100000000005</c:v>
                </c:pt>
                <c:pt idx="351" formatCode="0%">
                  <c:v>0.85582800000000003</c:v>
                </c:pt>
                <c:pt idx="352" formatCode="0%">
                  <c:v>0.86744399999999999</c:v>
                </c:pt>
                <c:pt idx="353" formatCode="0%">
                  <c:v>0.89552699999999996</c:v>
                </c:pt>
                <c:pt idx="354" formatCode="0%">
                  <c:v>0.88937299999999997</c:v>
                </c:pt>
                <c:pt idx="355" formatCode="0%">
                  <c:v>0.87600199999999995</c:v>
                </c:pt>
                <c:pt idx="356" formatCode="0%">
                  <c:v>0.87123300000000004</c:v>
                </c:pt>
                <c:pt idx="357" formatCode="0%">
                  <c:v>0.87032500000000002</c:v>
                </c:pt>
                <c:pt idx="358" formatCode="0%">
                  <c:v>0.90316600000000002</c:v>
                </c:pt>
                <c:pt idx="359" formatCode="0%">
                  <c:v>0.91611799999999999</c:v>
                </c:pt>
                <c:pt idx="360" formatCode="0%">
                  <c:v>0.86575299999999999</c:v>
                </c:pt>
                <c:pt idx="361" formatCode="0%">
                  <c:v>0.88234900000000005</c:v>
                </c:pt>
                <c:pt idx="362" formatCode="0%">
                  <c:v>0.89102599999999998</c:v>
                </c:pt>
                <c:pt idx="363" formatCode="0%">
                  <c:v>0.89794600000000002</c:v>
                </c:pt>
                <c:pt idx="364" formatCode="0%">
                  <c:v>0.89390499999999995</c:v>
                </c:pt>
                <c:pt idx="365" formatCode="0%">
                  <c:v>0.88824999999999998</c:v>
                </c:pt>
                <c:pt idx="366" formatCode="0%">
                  <c:v>0.864896</c:v>
                </c:pt>
                <c:pt idx="367" formatCode="0%">
                  <c:v>0.86917599999999995</c:v>
                </c:pt>
                <c:pt idx="368" formatCode="0%">
                  <c:v>0.87207000000000001</c:v>
                </c:pt>
                <c:pt idx="369" formatCode="0%">
                  <c:v>0.86344100000000001</c:v>
                </c:pt>
                <c:pt idx="370" formatCode="0%">
                  <c:v>0.80589</c:v>
                </c:pt>
                <c:pt idx="371" formatCode="0%">
                  <c:v>0.816496</c:v>
                </c:pt>
                <c:pt idx="372" formatCode="0%">
                  <c:v>0.79576199999999997</c:v>
                </c:pt>
                <c:pt idx="373" formatCode="0%">
                  <c:v>0.755413</c:v>
                </c:pt>
                <c:pt idx="374" formatCode="0%">
                  <c:v>0.79408199999999995</c:v>
                </c:pt>
                <c:pt idx="375" formatCode="0%">
                  <c:v>0.74343000000000004</c:v>
                </c:pt>
                <c:pt idx="376" formatCode="0%">
                  <c:v>0.75522100000000003</c:v>
                </c:pt>
                <c:pt idx="377" formatCode="0%">
                  <c:v>0.76763300000000001</c:v>
                </c:pt>
                <c:pt idx="378" formatCode="0%">
                  <c:v>0.77141599999999999</c:v>
                </c:pt>
                <c:pt idx="379" formatCode="0%">
                  <c:v>0.75697300000000001</c:v>
                </c:pt>
                <c:pt idx="380" formatCode="0%">
                  <c:v>0.78311799999999998</c:v>
                </c:pt>
                <c:pt idx="381" formatCode="0%">
                  <c:v>0.70548500000000003</c:v>
                </c:pt>
                <c:pt idx="382" formatCode="0%">
                  <c:v>0.73203399999999996</c:v>
                </c:pt>
                <c:pt idx="383" formatCode="0%">
                  <c:v>0.71447000000000005</c:v>
                </c:pt>
                <c:pt idx="384" formatCode="0%">
                  <c:v>0.67817400000000005</c:v>
                </c:pt>
                <c:pt idx="385" formatCode="0%">
                  <c:v>0.63466100000000003</c:v>
                </c:pt>
                <c:pt idx="386" formatCode="0%">
                  <c:v>0.63545700000000005</c:v>
                </c:pt>
                <c:pt idx="387" formatCode="0%">
                  <c:v>0.68149499999999996</c:v>
                </c:pt>
                <c:pt idx="388" formatCode="0%">
                  <c:v>0.78065799999999996</c:v>
                </c:pt>
                <c:pt idx="389" formatCode="0%">
                  <c:v>0.78321499999999999</c:v>
                </c:pt>
                <c:pt idx="390" formatCode="0%">
                  <c:v>0.80267200000000005</c:v>
                </c:pt>
                <c:pt idx="391" formatCode="0%">
                  <c:v>0.83991800000000005</c:v>
                </c:pt>
                <c:pt idx="392" formatCode="0%">
                  <c:v>0.86661200000000005</c:v>
                </c:pt>
                <c:pt idx="393" formatCode="0%">
                  <c:v>0.82864599999999999</c:v>
                </c:pt>
                <c:pt idx="394" formatCode="0%">
                  <c:v>0.79722700000000002</c:v>
                </c:pt>
                <c:pt idx="395" formatCode="0%">
                  <c:v>0.79920999999999998</c:v>
                </c:pt>
                <c:pt idx="396" formatCode="0%">
                  <c:v>0.81795600000000002</c:v>
                </c:pt>
                <c:pt idx="397" formatCode="0%">
                  <c:v>0.80479100000000003</c:v>
                </c:pt>
                <c:pt idx="398" formatCode="0%">
                  <c:v>0.81211999999999995</c:v>
                </c:pt>
                <c:pt idx="399" formatCode="0%">
                  <c:v>0.78861599999999998</c:v>
                </c:pt>
                <c:pt idx="400" formatCode="0%">
                  <c:v>0.81608400000000003</c:v>
                </c:pt>
                <c:pt idx="401" formatCode="0%">
                  <c:v>0.82613999999999999</c:v>
                </c:pt>
                <c:pt idx="402" formatCode="0%">
                  <c:v>0.81517099999999998</c:v>
                </c:pt>
                <c:pt idx="403" formatCode="0%">
                  <c:v>0.80976199999999998</c:v>
                </c:pt>
                <c:pt idx="404" formatCode="0%">
                  <c:v>0.80584900000000004</c:v>
                </c:pt>
                <c:pt idx="405" formatCode="0%">
                  <c:v>0.77936300000000003</c:v>
                </c:pt>
                <c:pt idx="406" formatCode="0%">
                  <c:v>0.77701299999999995</c:v>
                </c:pt>
                <c:pt idx="407" formatCode="0%">
                  <c:v>0.77370000000000005</c:v>
                </c:pt>
                <c:pt idx="408" formatCode="0%">
                  <c:v>0.75824999999999998</c:v>
                </c:pt>
                <c:pt idx="409" formatCode="0%">
                  <c:v>0.74016599999999999</c:v>
                </c:pt>
                <c:pt idx="410" formatCode="0%">
                  <c:v>0.70705200000000001</c:v>
                </c:pt>
                <c:pt idx="411" formatCode="0%">
                  <c:v>0.71098499999999998</c:v>
                </c:pt>
                <c:pt idx="412" formatCode="0%">
                  <c:v>0.69267100000000004</c:v>
                </c:pt>
                <c:pt idx="413" formatCode="0%">
                  <c:v>0.68152100000000004</c:v>
                </c:pt>
                <c:pt idx="414" formatCode="0%">
                  <c:v>0.66827999999999999</c:v>
                </c:pt>
                <c:pt idx="415" formatCode="0%">
                  <c:v>0.66676400000000002</c:v>
                </c:pt>
                <c:pt idx="416" formatCode="0%">
                  <c:v>0.68295099999999997</c:v>
                </c:pt>
                <c:pt idx="417" formatCode="0%">
                  <c:v>0.68479699999999999</c:v>
                </c:pt>
                <c:pt idx="418" formatCode="0%">
                  <c:v>0.68664899999999995</c:v>
                </c:pt>
                <c:pt idx="419" formatCode="0%">
                  <c:v>0.66649199999999997</c:v>
                </c:pt>
                <c:pt idx="420" formatCode="0%">
                  <c:v>0.65737000000000001</c:v>
                </c:pt>
                <c:pt idx="421" formatCode="0%">
                  <c:v>0.64448700000000003</c:v>
                </c:pt>
                <c:pt idx="422" formatCode="0%">
                  <c:v>0.64093599999999995</c:v>
                </c:pt>
                <c:pt idx="423" formatCode="0%">
                  <c:v>0.610788</c:v>
                </c:pt>
                <c:pt idx="424" formatCode="0%">
                  <c:v>0.61900699999999997</c:v>
                </c:pt>
                <c:pt idx="425" formatCode="0%">
                  <c:v>0.62213499999999999</c:v>
                </c:pt>
                <c:pt idx="426" formatCode="0%">
                  <c:v>0.62624400000000002</c:v>
                </c:pt>
                <c:pt idx="427" formatCode="0%">
                  <c:v>0.60589499999999996</c:v>
                </c:pt>
                <c:pt idx="428" formatCode="0%">
                  <c:v>0.60912699999999997</c:v>
                </c:pt>
                <c:pt idx="429" formatCode="0%">
                  <c:v>0.60439600000000004</c:v>
                </c:pt>
                <c:pt idx="430" formatCode="0%">
                  <c:v>0.62689799999999996</c:v>
                </c:pt>
                <c:pt idx="431" formatCode="0%">
                  <c:v>0.62307800000000002</c:v>
                </c:pt>
                <c:pt idx="432" formatCode="0%">
                  <c:v>0.62843099999999996</c:v>
                </c:pt>
                <c:pt idx="433" formatCode="0%">
                  <c:v>0.62662600000000002</c:v>
                </c:pt>
                <c:pt idx="434" formatCode="0%">
                  <c:v>0.63118300000000005</c:v>
                </c:pt>
                <c:pt idx="435" formatCode="0%">
                  <c:v>0.62684899999999999</c:v>
                </c:pt>
                <c:pt idx="436" formatCode="0%">
                  <c:v>0.63341499999999995</c:v>
                </c:pt>
                <c:pt idx="437" formatCode="0%">
                  <c:v>0.62402299999999999</c:v>
                </c:pt>
                <c:pt idx="438" formatCode="0%">
                  <c:v>0.62417199999999995</c:v>
                </c:pt>
                <c:pt idx="439" formatCode="0%">
                  <c:v>0.62531000000000003</c:v>
                </c:pt>
                <c:pt idx="440" formatCode="0%">
                  <c:v>0.63492099999999996</c:v>
                </c:pt>
                <c:pt idx="441" formatCode="0%">
                  <c:v>0.63680199999999998</c:v>
                </c:pt>
                <c:pt idx="442" formatCode="0%">
                  <c:v>0.64991500000000002</c:v>
                </c:pt>
                <c:pt idx="443" formatCode="0%">
                  <c:v>0.64953099999999997</c:v>
                </c:pt>
                <c:pt idx="444" formatCode="0%">
                  <c:v>0.64855700000000005</c:v>
                </c:pt>
                <c:pt idx="445" formatCode="0%">
                  <c:v>0.64697300000000002</c:v>
                </c:pt>
                <c:pt idx="446" formatCode="0%">
                  <c:v>0.64022000000000001</c:v>
                </c:pt>
                <c:pt idx="447" formatCode="0%">
                  <c:v>0.63734000000000002</c:v>
                </c:pt>
                <c:pt idx="448" formatCode="0%">
                  <c:v>0.64681200000000005</c:v>
                </c:pt>
                <c:pt idx="449" formatCode="0%">
                  <c:v>0.63592199999999999</c:v>
                </c:pt>
                <c:pt idx="450" formatCode="0%">
                  <c:v>0.63851800000000003</c:v>
                </c:pt>
                <c:pt idx="451" formatCode="0%">
                  <c:v>0.64478100000000005</c:v>
                </c:pt>
                <c:pt idx="452" formatCode="0%">
                  <c:v>0.65708900000000003</c:v>
                </c:pt>
                <c:pt idx="453" formatCode="0%">
                  <c:v>0.66617000000000004</c:v>
                </c:pt>
                <c:pt idx="454" formatCode="0%">
                  <c:v>0.67335999999999996</c:v>
                </c:pt>
                <c:pt idx="455" formatCode="0%">
                  <c:v>0.67563799999999996</c:v>
                </c:pt>
                <c:pt idx="456" formatCode="0%">
                  <c:v>0.68510800000000005</c:v>
                </c:pt>
                <c:pt idx="457" formatCode="0%">
                  <c:v>0.68410000000000004</c:v>
                </c:pt>
                <c:pt idx="458" formatCode="0%">
                  <c:v>0.69147700000000001</c:v>
                </c:pt>
                <c:pt idx="459" formatCode="0%">
                  <c:v>0.69098999999999999</c:v>
                </c:pt>
                <c:pt idx="460" formatCode="0%">
                  <c:v>0.68924300000000005</c:v>
                </c:pt>
                <c:pt idx="461" formatCode="0%">
                  <c:v>0.68212099999999998</c:v>
                </c:pt>
                <c:pt idx="462" formatCode="0%">
                  <c:v>0.68527099999999996</c:v>
                </c:pt>
                <c:pt idx="463" formatCode="0%">
                  <c:v>0.68509900000000001</c:v>
                </c:pt>
                <c:pt idx="464" formatCode="0%">
                  <c:v>0.69097500000000001</c:v>
                </c:pt>
                <c:pt idx="465" formatCode="0%">
                  <c:v>0.683917</c:v>
                </c:pt>
                <c:pt idx="466" formatCode="0%">
                  <c:v>0.68201800000000001</c:v>
                </c:pt>
                <c:pt idx="467" formatCode="0%">
                  <c:v>0.68346700000000005</c:v>
                </c:pt>
                <c:pt idx="468" formatCode="0%">
                  <c:v>0.69083799999999995</c:v>
                </c:pt>
                <c:pt idx="469" formatCode="0%">
                  <c:v>0.68605000000000005</c:v>
                </c:pt>
                <c:pt idx="470" formatCode="0%">
                  <c:v>0.68464499999999995</c:v>
                </c:pt>
                <c:pt idx="471" formatCode="0%">
                  <c:v>0.69075500000000001</c:v>
                </c:pt>
                <c:pt idx="472" formatCode="0%">
                  <c:v>0.69560299999999997</c:v>
                </c:pt>
                <c:pt idx="473" formatCode="0%">
                  <c:v>0.69683399999999995</c:v>
                </c:pt>
                <c:pt idx="474" formatCode="0%">
                  <c:v>0.69545900000000005</c:v>
                </c:pt>
                <c:pt idx="475" formatCode="0%">
                  <c:v>0.69287200000000004</c:v>
                </c:pt>
                <c:pt idx="476" formatCode="0%">
                  <c:v>0.70304100000000003</c:v>
                </c:pt>
                <c:pt idx="477" formatCode="0%">
                  <c:v>0.71523199999999998</c:v>
                </c:pt>
                <c:pt idx="478" formatCode="0%">
                  <c:v>0.72542700000000004</c:v>
                </c:pt>
                <c:pt idx="479" formatCode="0%">
                  <c:v>0.73640899999999998</c:v>
                </c:pt>
                <c:pt idx="480" formatCode="0%">
                  <c:v>0.74457200000000001</c:v>
                </c:pt>
                <c:pt idx="481" formatCode="0%">
                  <c:v>0.75354299999999996</c:v>
                </c:pt>
                <c:pt idx="482" formatCode="0%">
                  <c:v>0.77895000000000003</c:v>
                </c:pt>
                <c:pt idx="483" formatCode="0%">
                  <c:v>0.78459699999999999</c:v>
                </c:pt>
                <c:pt idx="484" formatCode="0%">
                  <c:v>0.769038</c:v>
                </c:pt>
                <c:pt idx="485" formatCode="0%">
                  <c:v>0.76543600000000001</c:v>
                </c:pt>
                <c:pt idx="486" formatCode="0%">
                  <c:v>0.77108100000000002</c:v>
                </c:pt>
                <c:pt idx="487" formatCode="0%">
                  <c:v>0.76970000000000005</c:v>
                </c:pt>
                <c:pt idx="488" formatCode="0%">
                  <c:v>0.76233600000000001</c:v>
                </c:pt>
                <c:pt idx="489" formatCode="0%">
                  <c:v>0.75652399999999997</c:v>
                </c:pt>
                <c:pt idx="490" formatCode="0%">
                  <c:v>0.75819899999999996</c:v>
                </c:pt>
                <c:pt idx="491" formatCode="0%">
                  <c:v>0.77463899999999997</c:v>
                </c:pt>
                <c:pt idx="492" formatCode="0%">
                  <c:v>0.77207099999999995</c:v>
                </c:pt>
                <c:pt idx="493" formatCode="0%">
                  <c:v>0.76731300000000002</c:v>
                </c:pt>
                <c:pt idx="494" formatCode="0%">
                  <c:v>0.76721399999999995</c:v>
                </c:pt>
                <c:pt idx="495" formatCode="0%">
                  <c:v>0.76878500000000005</c:v>
                </c:pt>
                <c:pt idx="496" formatCode="0%">
                  <c:v>0.77764800000000001</c:v>
                </c:pt>
                <c:pt idx="497" formatCode="0%">
                  <c:v>0.77463099999999996</c:v>
                </c:pt>
                <c:pt idx="498" formatCode="0%">
                  <c:v>0.78792499999999999</c:v>
                </c:pt>
                <c:pt idx="499" formatCode="0%">
                  <c:v>0.78195899999999996</c:v>
                </c:pt>
                <c:pt idx="500" formatCode="0%">
                  <c:v>0.76717500000000005</c:v>
                </c:pt>
                <c:pt idx="501" formatCode="0%">
                  <c:v>0.75357399999999997</c:v>
                </c:pt>
                <c:pt idx="502" formatCode="0%">
                  <c:v>0.754396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C58-422A-9B74-A5BE8318111E}"/>
            </c:ext>
          </c:extLst>
        </c:ser>
        <c:ser>
          <c:idx val="0"/>
          <c:order val="1"/>
          <c:tx>
            <c:v>HOS_Po_ukonceni_65</c:v>
          </c:tx>
          <c:spPr>
            <a:ln>
              <a:noFill/>
              <a:prstDash val="sysDash"/>
            </a:ln>
          </c:spPr>
          <c:marker>
            <c:symbol val="none"/>
          </c:marker>
          <c:trendline>
            <c:spPr>
              <a:ln w="19050">
                <a:solidFill>
                  <a:srgbClr val="4472C4"/>
                </a:solidFill>
                <a:prstDash val="sysDash"/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0%">
                  <c:v>0.95986800000000005</c:v>
                </c:pt>
                <c:pt idx="182" formatCode="0%">
                  <c:v>0.88947399999999999</c:v>
                </c:pt>
                <c:pt idx="183" formatCode="0%">
                  <c:v>0.84979300000000002</c:v>
                </c:pt>
                <c:pt idx="184" formatCode="0%">
                  <c:v>0.83160299999999998</c:v>
                </c:pt>
                <c:pt idx="185" formatCode="0%">
                  <c:v>0.81643500000000002</c:v>
                </c:pt>
                <c:pt idx="186" formatCode="0%">
                  <c:v>0.79999399999999998</c:v>
                </c:pt>
                <c:pt idx="187" formatCode="0%">
                  <c:v>0.79703100000000004</c:v>
                </c:pt>
                <c:pt idx="188" formatCode="0%">
                  <c:v>0.82655100000000004</c:v>
                </c:pt>
                <c:pt idx="189" formatCode="0%">
                  <c:v>0.88566400000000001</c:v>
                </c:pt>
                <c:pt idx="190" formatCode="0%">
                  <c:v>0.87388100000000002</c:v>
                </c:pt>
                <c:pt idx="191" formatCode="0%">
                  <c:v>0.86501600000000001</c:v>
                </c:pt>
                <c:pt idx="192" formatCode="0%">
                  <c:v>0.85684899999999997</c:v>
                </c:pt>
                <c:pt idx="193" formatCode="0%">
                  <c:v>0.86137699999999995</c:v>
                </c:pt>
                <c:pt idx="194" formatCode="0%">
                  <c:v>0.85769399999999996</c:v>
                </c:pt>
                <c:pt idx="195" formatCode="0%">
                  <c:v>0.83306199999999997</c:v>
                </c:pt>
                <c:pt idx="196" formatCode="0%">
                  <c:v>0.81311999999999995</c:v>
                </c:pt>
                <c:pt idx="197" formatCode="0%">
                  <c:v>0.84949300000000005</c:v>
                </c:pt>
                <c:pt idx="198" formatCode="0%">
                  <c:v>0.868228</c:v>
                </c:pt>
                <c:pt idx="199" formatCode="0%">
                  <c:v>0.86513799999999996</c:v>
                </c:pt>
                <c:pt idx="200" formatCode="0%">
                  <c:v>0.85025399999999995</c:v>
                </c:pt>
                <c:pt idx="201" formatCode="0%">
                  <c:v>0.83180100000000001</c:v>
                </c:pt>
                <c:pt idx="202" formatCode="0%">
                  <c:v>0.847557</c:v>
                </c:pt>
                <c:pt idx="203" formatCode="0%">
                  <c:v>0.84409800000000001</c:v>
                </c:pt>
                <c:pt idx="204" formatCode="0%">
                  <c:v>0.83676899999999999</c:v>
                </c:pt>
                <c:pt idx="205" formatCode="0%">
                  <c:v>0.81584699999999999</c:v>
                </c:pt>
                <c:pt idx="206" formatCode="0%">
                  <c:v>0.83115700000000003</c:v>
                </c:pt>
                <c:pt idx="207" formatCode="0%">
                  <c:v>0.84398700000000004</c:v>
                </c:pt>
                <c:pt idx="208" formatCode="0%">
                  <c:v>0.85896700000000004</c:v>
                </c:pt>
                <c:pt idx="209" formatCode="0%">
                  <c:v>0.83784499999999995</c:v>
                </c:pt>
                <c:pt idx="210" formatCode="0%">
                  <c:v>0.84806599999999999</c:v>
                </c:pt>
                <c:pt idx="211" formatCode="0%">
                  <c:v>0.852715</c:v>
                </c:pt>
                <c:pt idx="212" formatCode="0%">
                  <c:v>0.86631599999999997</c:v>
                </c:pt>
                <c:pt idx="213" formatCode="0%">
                  <c:v>0.86590699999999998</c:v>
                </c:pt>
                <c:pt idx="214" formatCode="0%">
                  <c:v>0.87019100000000005</c:v>
                </c:pt>
                <c:pt idx="215" formatCode="0%">
                  <c:v>0.869861</c:v>
                </c:pt>
                <c:pt idx="216" formatCode="0%">
                  <c:v>0.89181299999999997</c:v>
                </c:pt>
                <c:pt idx="217" formatCode="0%">
                  <c:v>0.88872799999999996</c:v>
                </c:pt>
                <c:pt idx="218" formatCode="0%">
                  <c:v>0.87829400000000002</c:v>
                </c:pt>
                <c:pt idx="219" formatCode="0%">
                  <c:v>0.85377599999999998</c:v>
                </c:pt>
                <c:pt idx="220" formatCode="0%">
                  <c:v>0.841248</c:v>
                </c:pt>
                <c:pt idx="221" formatCode="0%">
                  <c:v>0.81481899999999996</c:v>
                </c:pt>
                <c:pt idx="222" formatCode="0%">
                  <c:v>0.80075200000000002</c:v>
                </c:pt>
                <c:pt idx="223" formatCode="0%">
                  <c:v>0.779949</c:v>
                </c:pt>
                <c:pt idx="224" formatCode="0%">
                  <c:v>0.79453399999999996</c:v>
                </c:pt>
                <c:pt idx="225" formatCode="0%">
                  <c:v>0.791717</c:v>
                </c:pt>
                <c:pt idx="226" formatCode="0%">
                  <c:v>0.80446300000000004</c:v>
                </c:pt>
                <c:pt idx="227" formatCode="0%">
                  <c:v>0.81909600000000005</c:v>
                </c:pt>
                <c:pt idx="228" formatCode="0%">
                  <c:v>0.84516199999999997</c:v>
                </c:pt>
                <c:pt idx="229" formatCode="0%">
                  <c:v>0.85121800000000003</c:v>
                </c:pt>
                <c:pt idx="230" formatCode="0%">
                  <c:v>0.86558500000000005</c:v>
                </c:pt>
                <c:pt idx="231" formatCode="0%">
                  <c:v>0.85912900000000003</c:v>
                </c:pt>
                <c:pt idx="232" formatCode="0%">
                  <c:v>0.86954600000000004</c:v>
                </c:pt>
                <c:pt idx="233" formatCode="0%">
                  <c:v>0.87200299999999997</c:v>
                </c:pt>
                <c:pt idx="234" formatCode="0%">
                  <c:v>0.86071699999999995</c:v>
                </c:pt>
                <c:pt idx="235" formatCode="0%">
                  <c:v>0.85726500000000005</c:v>
                </c:pt>
                <c:pt idx="236" formatCode="0%">
                  <c:v>0.86953100000000005</c:v>
                </c:pt>
                <c:pt idx="237" formatCode="0%">
                  <c:v>0.87783299999999997</c:v>
                </c:pt>
                <c:pt idx="238" formatCode="0%">
                  <c:v>0.87038800000000005</c:v>
                </c:pt>
                <c:pt idx="239" formatCode="0%">
                  <c:v>0.880278</c:v>
                </c:pt>
                <c:pt idx="240" formatCode="0%">
                  <c:v>0.89535100000000001</c:v>
                </c:pt>
                <c:pt idx="241" formatCode="0%">
                  <c:v>0.90814399999999995</c:v>
                </c:pt>
                <c:pt idx="242" formatCode="0%">
                  <c:v>0.90943099999999999</c:v>
                </c:pt>
                <c:pt idx="243" formatCode="0%">
                  <c:v>0.89681599999999995</c:v>
                </c:pt>
                <c:pt idx="244" formatCode="0%">
                  <c:v>0.90622100000000005</c:v>
                </c:pt>
                <c:pt idx="245" formatCode="0%">
                  <c:v>0.91219799999999995</c:v>
                </c:pt>
                <c:pt idx="246" formatCode="0%">
                  <c:v>0.90740900000000002</c:v>
                </c:pt>
                <c:pt idx="247" formatCode="0%">
                  <c:v>0.89344599999999996</c:v>
                </c:pt>
                <c:pt idx="248" formatCode="0%">
                  <c:v>0.88634800000000002</c:v>
                </c:pt>
                <c:pt idx="249" formatCode="0%">
                  <c:v>0.88886799999999999</c:v>
                </c:pt>
                <c:pt idx="250" formatCode="0%">
                  <c:v>0.89173100000000005</c:v>
                </c:pt>
                <c:pt idx="251" formatCode="0%">
                  <c:v>0.89437299999999997</c:v>
                </c:pt>
                <c:pt idx="252" formatCode="0%">
                  <c:v>0.90361899999999995</c:v>
                </c:pt>
                <c:pt idx="253" formatCode="0%">
                  <c:v>0.88687499999999997</c:v>
                </c:pt>
                <c:pt idx="254" formatCode="0%">
                  <c:v>0.90733600000000003</c:v>
                </c:pt>
                <c:pt idx="255" formatCode="0%">
                  <c:v>0.90742500000000004</c:v>
                </c:pt>
                <c:pt idx="256" formatCode="0%">
                  <c:v>0.90364299999999997</c:v>
                </c:pt>
                <c:pt idx="257" formatCode="0%">
                  <c:v>0.91181299999999998</c:v>
                </c:pt>
                <c:pt idx="258" formatCode="0%">
                  <c:v>0.912991</c:v>
                </c:pt>
                <c:pt idx="259" formatCode="0%">
                  <c:v>0.889571</c:v>
                </c:pt>
                <c:pt idx="260" formatCode="0%">
                  <c:v>0.91487099999999999</c:v>
                </c:pt>
                <c:pt idx="261" formatCode="0%">
                  <c:v>0.89709099999999997</c:v>
                </c:pt>
                <c:pt idx="262" formatCode="0%">
                  <c:v>0.893015</c:v>
                </c:pt>
                <c:pt idx="263" formatCode="0%">
                  <c:v>0.90034000000000003</c:v>
                </c:pt>
                <c:pt idx="264" formatCode="0%">
                  <c:v>0.90705000000000002</c:v>
                </c:pt>
                <c:pt idx="265" formatCode="0%">
                  <c:v>0.89918900000000002</c:v>
                </c:pt>
                <c:pt idx="266" formatCode="0%">
                  <c:v>0.92280200000000001</c:v>
                </c:pt>
                <c:pt idx="267" formatCode="0%">
                  <c:v>0.91845900000000003</c:v>
                </c:pt>
                <c:pt idx="268" formatCode="0%">
                  <c:v>0.91752500000000003</c:v>
                </c:pt>
                <c:pt idx="269" formatCode="0%">
                  <c:v>0.90979299999999996</c:v>
                </c:pt>
                <c:pt idx="270" formatCode="0%">
                  <c:v>0.90264599999999995</c:v>
                </c:pt>
                <c:pt idx="271" formatCode="0%">
                  <c:v>0.89140900000000001</c:v>
                </c:pt>
                <c:pt idx="272" formatCode="0%">
                  <c:v>0.90089600000000003</c:v>
                </c:pt>
                <c:pt idx="273" formatCode="0%">
                  <c:v>0.89111499999999999</c:v>
                </c:pt>
                <c:pt idx="274" formatCode="0%">
                  <c:v>0.88998600000000005</c:v>
                </c:pt>
                <c:pt idx="275" formatCode="0%">
                  <c:v>0.91400300000000001</c:v>
                </c:pt>
                <c:pt idx="276" formatCode="0%">
                  <c:v>0.95101400000000003</c:v>
                </c:pt>
                <c:pt idx="277" formatCode="0%">
                  <c:v>0.95801099999999995</c:v>
                </c:pt>
                <c:pt idx="278" formatCode="0%">
                  <c:v>0.95753100000000002</c:v>
                </c:pt>
                <c:pt idx="279" formatCode="0%">
                  <c:v>0.95489800000000002</c:v>
                </c:pt>
                <c:pt idx="280" formatCode="0%">
                  <c:v>0.94606699999999999</c:v>
                </c:pt>
                <c:pt idx="281" formatCode="0%">
                  <c:v>0.96218599999999999</c:v>
                </c:pt>
                <c:pt idx="282" formatCode="0%">
                  <c:v>0.951129</c:v>
                </c:pt>
                <c:pt idx="283" formatCode="0%">
                  <c:v>0.90695899999999996</c:v>
                </c:pt>
                <c:pt idx="284" formatCode="0%">
                  <c:v>0.90742199999999995</c:v>
                </c:pt>
                <c:pt idx="285" formatCode="0%">
                  <c:v>0.935415</c:v>
                </c:pt>
                <c:pt idx="286" formatCode="0%">
                  <c:v>0.89819400000000005</c:v>
                </c:pt>
                <c:pt idx="287" formatCode="0%">
                  <c:v>0.90040100000000001</c:v>
                </c:pt>
                <c:pt idx="288" formatCode="0%">
                  <c:v>0.85626800000000003</c:v>
                </c:pt>
                <c:pt idx="289" formatCode="0%">
                  <c:v>0.85153299999999998</c:v>
                </c:pt>
                <c:pt idx="290" formatCode="0%">
                  <c:v>0.90317000000000003</c:v>
                </c:pt>
                <c:pt idx="291" formatCode="0%">
                  <c:v>0.89107499999999995</c:v>
                </c:pt>
                <c:pt idx="292" formatCode="0%">
                  <c:v>0.86856299999999997</c:v>
                </c:pt>
                <c:pt idx="293" formatCode="0%">
                  <c:v>0.87832600000000005</c:v>
                </c:pt>
                <c:pt idx="294" formatCode="0%">
                  <c:v>0.86314900000000006</c:v>
                </c:pt>
                <c:pt idx="295" formatCode="0%">
                  <c:v>0.87237200000000004</c:v>
                </c:pt>
                <c:pt idx="296" formatCode="0%">
                  <c:v>0.88993</c:v>
                </c:pt>
                <c:pt idx="297" formatCode="0%">
                  <c:v>0.89034000000000002</c:v>
                </c:pt>
                <c:pt idx="298" formatCode="0%">
                  <c:v>0.89375199999999999</c:v>
                </c:pt>
                <c:pt idx="299" formatCode="0%">
                  <c:v>0.92175200000000002</c:v>
                </c:pt>
                <c:pt idx="300" formatCode="0%">
                  <c:v>0.93943500000000002</c:v>
                </c:pt>
                <c:pt idx="301" formatCode="0%">
                  <c:v>0.96377400000000002</c:v>
                </c:pt>
                <c:pt idx="302" formatCode="0%">
                  <c:v>0.87687099999999996</c:v>
                </c:pt>
                <c:pt idx="303" formatCode="0%">
                  <c:v>0.87784899999999999</c:v>
                </c:pt>
                <c:pt idx="304" formatCode="0%">
                  <c:v>0.82960400000000001</c:v>
                </c:pt>
                <c:pt idx="305" formatCode="0%">
                  <c:v>0.78759699999999999</c:v>
                </c:pt>
                <c:pt idx="306" formatCode="0%">
                  <c:v>0.71800200000000003</c:v>
                </c:pt>
                <c:pt idx="307" formatCode="0%">
                  <c:v>0.71800200000000003</c:v>
                </c:pt>
                <c:pt idx="308" formatCode="0%">
                  <c:v>0.57847099999999996</c:v>
                </c:pt>
                <c:pt idx="309" formatCode="0%">
                  <c:v>1</c:v>
                </c:pt>
                <c:pt idx="310" formatCode="0%">
                  <c:v>0.94955100000000003</c:v>
                </c:pt>
                <c:pt idx="311" formatCode="0%">
                  <c:v>0.95802600000000004</c:v>
                </c:pt>
                <c:pt idx="312" formatCode="0%">
                  <c:v>0.96406899999999995</c:v>
                </c:pt>
                <c:pt idx="313" formatCode="0%">
                  <c:v>0.92865600000000004</c:v>
                </c:pt>
                <c:pt idx="314" formatCode="0%">
                  <c:v>0.87642100000000001</c:v>
                </c:pt>
                <c:pt idx="315" formatCode="0%">
                  <c:v>0.87642100000000001</c:v>
                </c:pt>
                <c:pt idx="316" formatCode="0%">
                  <c:v>0.69466799999999995</c:v>
                </c:pt>
                <c:pt idx="317" formatCode="0%">
                  <c:v>0.75890400000000002</c:v>
                </c:pt>
                <c:pt idx="318" formatCode="0%">
                  <c:v>0.58779000000000003</c:v>
                </c:pt>
                <c:pt idx="319" formatCode="0%">
                  <c:v>0.45309300000000002</c:v>
                </c:pt>
                <c:pt idx="320" formatCode="0%">
                  <c:v>0.533466</c:v>
                </c:pt>
                <c:pt idx="321" formatCode="0%">
                  <c:v>0.72761299999999995</c:v>
                </c:pt>
                <c:pt idx="322" formatCode="0%">
                  <c:v>0.63748300000000002</c:v>
                </c:pt>
                <c:pt idx="323" formatCode="0%">
                  <c:v>0.73700500000000002</c:v>
                </c:pt>
                <c:pt idx="324" formatCode="0%">
                  <c:v>0.738209</c:v>
                </c:pt>
                <c:pt idx="325" formatCode="0%">
                  <c:v>0.81504500000000002</c:v>
                </c:pt>
                <c:pt idx="326" formatCode="0%">
                  <c:v>0.86175900000000005</c:v>
                </c:pt>
                <c:pt idx="327" formatCode="0%">
                  <c:v>0.87727100000000002</c:v>
                </c:pt>
                <c:pt idx="328" formatCode="0%">
                  <c:v>0.85606199999999999</c:v>
                </c:pt>
                <c:pt idx="329" formatCode="0%">
                  <c:v>0.90488400000000002</c:v>
                </c:pt>
                <c:pt idx="330" formatCode="0%">
                  <c:v>0.87275000000000003</c:v>
                </c:pt>
                <c:pt idx="331" formatCode="0%">
                  <c:v>0.82804199999999994</c:v>
                </c:pt>
                <c:pt idx="332" formatCode="0%">
                  <c:v>0.84780900000000003</c:v>
                </c:pt>
                <c:pt idx="333" formatCode="0%">
                  <c:v>0.81442499999999995</c:v>
                </c:pt>
                <c:pt idx="334" formatCode="0%">
                  <c:v>0.79154199999999997</c:v>
                </c:pt>
                <c:pt idx="335" formatCode="0%">
                  <c:v>0.73722299999999996</c:v>
                </c:pt>
                <c:pt idx="336" formatCode="0%">
                  <c:v>0.73722299999999996</c:v>
                </c:pt>
                <c:pt idx="337" formatCode="0%">
                  <c:v>0.76892700000000003</c:v>
                </c:pt>
                <c:pt idx="338" formatCode="0%">
                  <c:v>0.79937999999999998</c:v>
                </c:pt>
                <c:pt idx="339" formatCode="0%">
                  <c:v>0.73537399999999997</c:v>
                </c:pt>
                <c:pt idx="340" formatCode="0%">
                  <c:v>0.74539100000000003</c:v>
                </c:pt>
                <c:pt idx="341" formatCode="0%">
                  <c:v>0.77743499999999999</c:v>
                </c:pt>
                <c:pt idx="342" formatCode="0%">
                  <c:v>0.877722</c:v>
                </c:pt>
                <c:pt idx="343" formatCode="0%">
                  <c:v>0.84828800000000004</c:v>
                </c:pt>
                <c:pt idx="344" formatCode="0%">
                  <c:v>0.870618</c:v>
                </c:pt>
                <c:pt idx="345" formatCode="0%">
                  <c:v>0.86445700000000003</c:v>
                </c:pt>
                <c:pt idx="346" formatCode="0%">
                  <c:v>0.85571299999999995</c:v>
                </c:pt>
                <c:pt idx="347" formatCode="0%">
                  <c:v>0.91304200000000002</c:v>
                </c:pt>
                <c:pt idx="348" formatCode="0%">
                  <c:v>0.92042599999999997</c:v>
                </c:pt>
                <c:pt idx="349" formatCode="0%">
                  <c:v>0.91217700000000002</c:v>
                </c:pt>
                <c:pt idx="350" formatCode="0%">
                  <c:v>0.932369</c:v>
                </c:pt>
                <c:pt idx="351" formatCode="0%">
                  <c:v>0.89834499999999995</c:v>
                </c:pt>
                <c:pt idx="352" formatCode="0%">
                  <c:v>0.89251000000000003</c:v>
                </c:pt>
                <c:pt idx="353" formatCode="0%">
                  <c:v>0.91797799999999996</c:v>
                </c:pt>
                <c:pt idx="354" formatCode="0%">
                  <c:v>0.87526199999999998</c:v>
                </c:pt>
                <c:pt idx="355" formatCode="0%">
                  <c:v>0.86004400000000003</c:v>
                </c:pt>
                <c:pt idx="356" formatCode="0%">
                  <c:v>0.88067300000000004</c:v>
                </c:pt>
                <c:pt idx="357" formatCode="0%">
                  <c:v>0.88447600000000004</c:v>
                </c:pt>
                <c:pt idx="358" formatCode="0%">
                  <c:v>0.92981400000000003</c:v>
                </c:pt>
                <c:pt idx="359" formatCode="0%">
                  <c:v>0.93877999999999995</c:v>
                </c:pt>
                <c:pt idx="360" formatCode="0%">
                  <c:v>0.91328399999999998</c:v>
                </c:pt>
                <c:pt idx="361" formatCode="0%">
                  <c:v>0.93035599999999996</c:v>
                </c:pt>
                <c:pt idx="362" formatCode="0%">
                  <c:v>0.94196599999999997</c:v>
                </c:pt>
                <c:pt idx="363" formatCode="0%">
                  <c:v>0.93935900000000006</c:v>
                </c:pt>
                <c:pt idx="364" formatCode="0%">
                  <c:v>0.94674700000000001</c:v>
                </c:pt>
                <c:pt idx="365" formatCode="0%">
                  <c:v>0.94311</c:v>
                </c:pt>
                <c:pt idx="366" formatCode="0%">
                  <c:v>0.93383899999999997</c:v>
                </c:pt>
                <c:pt idx="367" formatCode="0%">
                  <c:v>0.933006</c:v>
                </c:pt>
                <c:pt idx="368" formatCode="0%">
                  <c:v>0.93575399999999997</c:v>
                </c:pt>
                <c:pt idx="369" formatCode="0%">
                  <c:v>0.92160699999999995</c:v>
                </c:pt>
                <c:pt idx="370" formatCode="0%">
                  <c:v>0.90189699999999995</c:v>
                </c:pt>
                <c:pt idx="371" formatCode="0%">
                  <c:v>0.90268999999999999</c:v>
                </c:pt>
                <c:pt idx="372" formatCode="0%">
                  <c:v>0.86550400000000005</c:v>
                </c:pt>
                <c:pt idx="373" formatCode="0%">
                  <c:v>0.81607600000000002</c:v>
                </c:pt>
                <c:pt idx="374" formatCode="0%">
                  <c:v>0.83868299999999996</c:v>
                </c:pt>
                <c:pt idx="375" formatCode="0%">
                  <c:v>0.79228900000000002</c:v>
                </c:pt>
                <c:pt idx="376" formatCode="0%">
                  <c:v>0.78473800000000005</c:v>
                </c:pt>
                <c:pt idx="377" formatCode="0%">
                  <c:v>0.76170800000000005</c:v>
                </c:pt>
                <c:pt idx="378" formatCode="0%">
                  <c:v>0.75009700000000001</c:v>
                </c:pt>
                <c:pt idx="379" formatCode="0%">
                  <c:v>0.766011</c:v>
                </c:pt>
                <c:pt idx="380" formatCode="0%">
                  <c:v>0.80785899999999999</c:v>
                </c:pt>
                <c:pt idx="381" formatCode="0%">
                  <c:v>0.73747700000000005</c:v>
                </c:pt>
                <c:pt idx="382" formatCode="0%">
                  <c:v>0.77855399999999997</c:v>
                </c:pt>
                <c:pt idx="383" formatCode="0%">
                  <c:v>0.76403500000000002</c:v>
                </c:pt>
                <c:pt idx="384" formatCode="0%">
                  <c:v>0.75312400000000002</c:v>
                </c:pt>
                <c:pt idx="385" formatCode="0%">
                  <c:v>0.71350800000000003</c:v>
                </c:pt>
                <c:pt idx="386" formatCode="0%">
                  <c:v>0.72044699999999995</c:v>
                </c:pt>
                <c:pt idx="387" formatCode="0%">
                  <c:v>0.78212800000000005</c:v>
                </c:pt>
                <c:pt idx="388" formatCode="0%">
                  <c:v>0.84388200000000002</c:v>
                </c:pt>
                <c:pt idx="389" formatCode="0%">
                  <c:v>0.82948</c:v>
                </c:pt>
                <c:pt idx="390" formatCode="0%">
                  <c:v>0.84303399999999995</c:v>
                </c:pt>
                <c:pt idx="391" formatCode="0%">
                  <c:v>0.88285599999999997</c:v>
                </c:pt>
                <c:pt idx="392" formatCode="0%">
                  <c:v>0.91332599999999997</c:v>
                </c:pt>
                <c:pt idx="393" formatCode="0%">
                  <c:v>0.87365499999999996</c:v>
                </c:pt>
                <c:pt idx="394" formatCode="0%">
                  <c:v>0.85582400000000003</c:v>
                </c:pt>
                <c:pt idx="395" formatCode="0%">
                  <c:v>0.85</c:v>
                </c:pt>
                <c:pt idx="396" formatCode="0%">
                  <c:v>0.86098799999999998</c:v>
                </c:pt>
                <c:pt idx="397" formatCode="0%">
                  <c:v>0.86148000000000002</c:v>
                </c:pt>
                <c:pt idx="398" formatCode="0%">
                  <c:v>0.86394300000000002</c:v>
                </c:pt>
                <c:pt idx="399" formatCode="0%">
                  <c:v>0.83449099999999998</c:v>
                </c:pt>
                <c:pt idx="400" formatCode="0%">
                  <c:v>0.87273299999999998</c:v>
                </c:pt>
                <c:pt idx="401" formatCode="0%">
                  <c:v>0.87346000000000001</c:v>
                </c:pt>
                <c:pt idx="402" formatCode="0%">
                  <c:v>0.86115399999999998</c:v>
                </c:pt>
                <c:pt idx="403" formatCode="0%">
                  <c:v>0.87185699999999999</c:v>
                </c:pt>
                <c:pt idx="404" formatCode="0%">
                  <c:v>0.86406700000000003</c:v>
                </c:pt>
                <c:pt idx="405" formatCode="0%">
                  <c:v>0.85013000000000005</c:v>
                </c:pt>
                <c:pt idx="406" formatCode="0%">
                  <c:v>0.85472899999999996</c:v>
                </c:pt>
                <c:pt idx="407" formatCode="0%">
                  <c:v>0.84867099999999995</c:v>
                </c:pt>
                <c:pt idx="408" formatCode="0%">
                  <c:v>0.85064300000000004</c:v>
                </c:pt>
                <c:pt idx="409" formatCode="0%">
                  <c:v>0.84902900000000003</c:v>
                </c:pt>
                <c:pt idx="410" formatCode="0%">
                  <c:v>0.82042899999999996</c:v>
                </c:pt>
                <c:pt idx="411" formatCode="0%">
                  <c:v>0.81645400000000001</c:v>
                </c:pt>
                <c:pt idx="412" formatCode="0%">
                  <c:v>0.80583800000000005</c:v>
                </c:pt>
                <c:pt idx="413" formatCode="0%">
                  <c:v>0.80469299999999999</c:v>
                </c:pt>
                <c:pt idx="414" formatCode="0%">
                  <c:v>0.79117099999999996</c:v>
                </c:pt>
                <c:pt idx="415" formatCode="0%">
                  <c:v>0.78734099999999996</c:v>
                </c:pt>
                <c:pt idx="416" formatCode="0%">
                  <c:v>0.80786599999999997</c:v>
                </c:pt>
                <c:pt idx="417" formatCode="0%">
                  <c:v>0.80796699999999999</c:v>
                </c:pt>
                <c:pt idx="418" formatCode="0%">
                  <c:v>0.81360299999999997</c:v>
                </c:pt>
                <c:pt idx="419" formatCode="0%">
                  <c:v>0.79757400000000001</c:v>
                </c:pt>
                <c:pt idx="420" formatCode="0%">
                  <c:v>0.797933</c:v>
                </c:pt>
                <c:pt idx="421" formatCode="0%">
                  <c:v>0.79672600000000005</c:v>
                </c:pt>
                <c:pt idx="422" formatCode="0%">
                  <c:v>0.79522300000000001</c:v>
                </c:pt>
                <c:pt idx="423" formatCode="0%">
                  <c:v>0.775258</c:v>
                </c:pt>
                <c:pt idx="424" formatCode="0%">
                  <c:v>0.78090199999999999</c:v>
                </c:pt>
                <c:pt idx="425" formatCode="0%">
                  <c:v>0.78226200000000001</c:v>
                </c:pt>
                <c:pt idx="426" formatCode="0%">
                  <c:v>0.78937599999999997</c:v>
                </c:pt>
                <c:pt idx="427" formatCode="0%">
                  <c:v>0.76407199999999997</c:v>
                </c:pt>
                <c:pt idx="428" formatCode="0%">
                  <c:v>0.76981599999999994</c:v>
                </c:pt>
                <c:pt idx="429" formatCode="0%">
                  <c:v>0.76340200000000003</c:v>
                </c:pt>
                <c:pt idx="430" formatCode="0%">
                  <c:v>0.78296100000000002</c:v>
                </c:pt>
                <c:pt idx="431" formatCode="0%">
                  <c:v>0.776362</c:v>
                </c:pt>
                <c:pt idx="432" formatCode="0%">
                  <c:v>0.78054900000000005</c:v>
                </c:pt>
                <c:pt idx="433" formatCode="0%">
                  <c:v>0.77541899999999997</c:v>
                </c:pt>
                <c:pt idx="434" formatCode="0%">
                  <c:v>0.78332900000000005</c:v>
                </c:pt>
                <c:pt idx="435" formatCode="0%">
                  <c:v>0.77846499999999996</c:v>
                </c:pt>
                <c:pt idx="436" formatCode="0%">
                  <c:v>0.779895</c:v>
                </c:pt>
                <c:pt idx="437" formatCode="0%">
                  <c:v>0.76912999999999998</c:v>
                </c:pt>
                <c:pt idx="438" formatCode="0%">
                  <c:v>0.77149599999999996</c:v>
                </c:pt>
                <c:pt idx="439" formatCode="0%">
                  <c:v>0.77107099999999995</c:v>
                </c:pt>
                <c:pt idx="440" formatCode="0%">
                  <c:v>0.77924800000000005</c:v>
                </c:pt>
                <c:pt idx="441" formatCode="0%">
                  <c:v>0.78212700000000002</c:v>
                </c:pt>
                <c:pt idx="442" formatCode="0%">
                  <c:v>0.79113299999999998</c:v>
                </c:pt>
                <c:pt idx="443" formatCode="0%">
                  <c:v>0.79560299999999995</c:v>
                </c:pt>
                <c:pt idx="444" formatCode="0%">
                  <c:v>0.79673700000000003</c:v>
                </c:pt>
                <c:pt idx="445" formatCode="0%">
                  <c:v>0.79459100000000005</c:v>
                </c:pt>
                <c:pt idx="446" formatCode="0%">
                  <c:v>0.78945799999999999</c:v>
                </c:pt>
                <c:pt idx="447" formatCode="0%">
                  <c:v>0.78438200000000002</c:v>
                </c:pt>
                <c:pt idx="448" formatCode="0%">
                  <c:v>0.78426099999999999</c:v>
                </c:pt>
                <c:pt idx="449" formatCode="0%">
                  <c:v>0.777397</c:v>
                </c:pt>
                <c:pt idx="450" formatCode="0%">
                  <c:v>0.77165799999999996</c:v>
                </c:pt>
                <c:pt idx="451" formatCode="0%">
                  <c:v>0.768544</c:v>
                </c:pt>
                <c:pt idx="452" formatCode="0%">
                  <c:v>0.77539999999999998</c:v>
                </c:pt>
                <c:pt idx="453" formatCode="0%">
                  <c:v>0.77920500000000004</c:v>
                </c:pt>
                <c:pt idx="454" formatCode="0%">
                  <c:v>0.78382700000000005</c:v>
                </c:pt>
                <c:pt idx="455" formatCode="0%">
                  <c:v>0.78325900000000004</c:v>
                </c:pt>
                <c:pt idx="456" formatCode="0%">
                  <c:v>0.78415599999999996</c:v>
                </c:pt>
                <c:pt idx="457" formatCode="0%">
                  <c:v>0.78567600000000004</c:v>
                </c:pt>
                <c:pt idx="458" formatCode="0%">
                  <c:v>0.79474900000000004</c:v>
                </c:pt>
                <c:pt idx="459" formatCode="0%">
                  <c:v>0.79392099999999999</c:v>
                </c:pt>
                <c:pt idx="460" formatCode="0%">
                  <c:v>0.79534700000000003</c:v>
                </c:pt>
                <c:pt idx="461" formatCode="0%">
                  <c:v>0.79020100000000004</c:v>
                </c:pt>
                <c:pt idx="462" formatCode="0%">
                  <c:v>0.79425100000000004</c:v>
                </c:pt>
                <c:pt idx="463" formatCode="0%">
                  <c:v>0.79713400000000001</c:v>
                </c:pt>
                <c:pt idx="464" formatCode="0%">
                  <c:v>0.79997300000000005</c:v>
                </c:pt>
                <c:pt idx="465" formatCode="0%">
                  <c:v>0.78966800000000004</c:v>
                </c:pt>
                <c:pt idx="466" formatCode="0%">
                  <c:v>0.78788100000000005</c:v>
                </c:pt>
                <c:pt idx="467" formatCode="0%">
                  <c:v>0.78838299999999994</c:v>
                </c:pt>
                <c:pt idx="468" formatCode="0%">
                  <c:v>0.79054999999999997</c:v>
                </c:pt>
                <c:pt idx="469" formatCode="0%">
                  <c:v>0.78569</c:v>
                </c:pt>
                <c:pt idx="470" formatCode="0%">
                  <c:v>0.78017800000000004</c:v>
                </c:pt>
                <c:pt idx="471" formatCode="0%">
                  <c:v>0.78537400000000002</c:v>
                </c:pt>
                <c:pt idx="472" formatCode="0%">
                  <c:v>0.78622000000000003</c:v>
                </c:pt>
                <c:pt idx="473" formatCode="0%">
                  <c:v>0.78696500000000003</c:v>
                </c:pt>
                <c:pt idx="474" formatCode="0%">
                  <c:v>0.78100400000000003</c:v>
                </c:pt>
                <c:pt idx="475" formatCode="0%">
                  <c:v>0.771563</c:v>
                </c:pt>
                <c:pt idx="476" formatCode="0%">
                  <c:v>0.779617</c:v>
                </c:pt>
                <c:pt idx="477" formatCode="0%">
                  <c:v>0.78217499999999995</c:v>
                </c:pt>
                <c:pt idx="478" formatCode="0%">
                  <c:v>0.78413900000000003</c:v>
                </c:pt>
                <c:pt idx="479" formatCode="0%">
                  <c:v>0.79516200000000004</c:v>
                </c:pt>
                <c:pt idx="480" formatCode="0%">
                  <c:v>0.80532899999999996</c:v>
                </c:pt>
                <c:pt idx="481" formatCode="0%">
                  <c:v>0.81629600000000002</c:v>
                </c:pt>
                <c:pt idx="482" formatCode="0%">
                  <c:v>0.83412699999999995</c:v>
                </c:pt>
                <c:pt idx="483" formatCode="0%">
                  <c:v>0.83274999999999999</c:v>
                </c:pt>
                <c:pt idx="484" formatCode="0%">
                  <c:v>0.82503000000000004</c:v>
                </c:pt>
                <c:pt idx="485" formatCode="0%">
                  <c:v>0.81934600000000002</c:v>
                </c:pt>
                <c:pt idx="486" formatCode="0%">
                  <c:v>0.81544899999999998</c:v>
                </c:pt>
                <c:pt idx="487" formatCode="0%">
                  <c:v>0.803589</c:v>
                </c:pt>
                <c:pt idx="488" formatCode="0%">
                  <c:v>0.79088199999999997</c:v>
                </c:pt>
                <c:pt idx="489" formatCode="0%">
                  <c:v>0.77498999999999996</c:v>
                </c:pt>
                <c:pt idx="490" formatCode="0%">
                  <c:v>0.76732500000000003</c:v>
                </c:pt>
                <c:pt idx="491" formatCode="0%">
                  <c:v>0.77427000000000001</c:v>
                </c:pt>
                <c:pt idx="492" formatCode="0%">
                  <c:v>0.77034000000000002</c:v>
                </c:pt>
                <c:pt idx="493" formatCode="0%">
                  <c:v>0.77515599999999996</c:v>
                </c:pt>
                <c:pt idx="494" formatCode="0%">
                  <c:v>0.77875499999999998</c:v>
                </c:pt>
                <c:pt idx="495" formatCode="0%">
                  <c:v>0.77857399999999999</c:v>
                </c:pt>
                <c:pt idx="496" formatCode="0%">
                  <c:v>0.79325299999999999</c:v>
                </c:pt>
                <c:pt idx="497" formatCode="0%">
                  <c:v>0.799099</c:v>
                </c:pt>
                <c:pt idx="498" formatCode="0%">
                  <c:v>0.80582200000000004</c:v>
                </c:pt>
                <c:pt idx="499" formatCode="0%">
                  <c:v>0.80260799999999999</c:v>
                </c:pt>
                <c:pt idx="500" formatCode="0%">
                  <c:v>0.77643499999999999</c:v>
                </c:pt>
                <c:pt idx="501" formatCode="0%">
                  <c:v>0.76351599999999997</c:v>
                </c:pt>
                <c:pt idx="502" formatCode="0%">
                  <c:v>0.767121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C58-422A-9B74-A5BE8318111E}"/>
            </c:ext>
          </c:extLst>
        </c:ser>
        <c:ser>
          <c:idx val="1"/>
          <c:order val="2"/>
          <c:tx>
            <c:v>HOS_Po_ukonceni_s_posilujici</c:v>
          </c:tx>
          <c:spPr>
            <a:ln>
              <a:noFill/>
            </a:ln>
          </c:spPr>
          <c:marker>
            <c:symbol val="none"/>
          </c:marker>
          <c:trendline>
            <c:spPr>
              <a:ln w="19050">
                <a:solidFill>
                  <a:srgbClr val="70AD47"/>
                </a:solidFill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%">
                  <c:v>1</c:v>
                </c:pt>
                <c:pt idx="427" formatCode="0.00%">
                  <c:v>1</c:v>
                </c:pt>
                <c:pt idx="428" formatCode="0.00%">
                  <c:v>0.93137899999999996</c:v>
                </c:pt>
                <c:pt idx="429" formatCode="0.00%">
                  <c:v>0.887158</c:v>
                </c:pt>
                <c:pt idx="430" formatCode="0.00%">
                  <c:v>0.85485199999999995</c:v>
                </c:pt>
                <c:pt idx="431" formatCode="0.00%">
                  <c:v>0.82339099999999998</c:v>
                </c:pt>
                <c:pt idx="432" formatCode="0.00%">
                  <c:v>0.83066600000000002</c:v>
                </c:pt>
                <c:pt idx="433" formatCode="0.00%">
                  <c:v>0.82499500000000003</c:v>
                </c:pt>
                <c:pt idx="434" formatCode="0.00%">
                  <c:v>0.81323599999999996</c:v>
                </c:pt>
                <c:pt idx="435" formatCode="0.00%">
                  <c:v>0.84553199999999995</c:v>
                </c:pt>
                <c:pt idx="436" formatCode="0.00%">
                  <c:v>0.87146800000000002</c:v>
                </c:pt>
                <c:pt idx="437" formatCode="0.00%">
                  <c:v>0.88321300000000003</c:v>
                </c:pt>
                <c:pt idx="438" formatCode="0.00%">
                  <c:v>0.89172200000000001</c:v>
                </c:pt>
                <c:pt idx="439" formatCode="0.00%">
                  <c:v>0.87973500000000004</c:v>
                </c:pt>
                <c:pt idx="440" formatCode="0.00%">
                  <c:v>0.86264700000000005</c:v>
                </c:pt>
                <c:pt idx="441" formatCode="0.00%">
                  <c:v>0.86900200000000005</c:v>
                </c:pt>
                <c:pt idx="442" formatCode="0.00%">
                  <c:v>0.87242600000000003</c:v>
                </c:pt>
                <c:pt idx="443" formatCode="0.00%">
                  <c:v>0.878911</c:v>
                </c:pt>
                <c:pt idx="444" formatCode="0.00%">
                  <c:v>0.87411300000000003</c:v>
                </c:pt>
                <c:pt idx="445" formatCode="0.00%">
                  <c:v>0.87462499999999999</c:v>
                </c:pt>
                <c:pt idx="446" formatCode="0.00%">
                  <c:v>0.88327900000000004</c:v>
                </c:pt>
                <c:pt idx="447" formatCode="0.00%">
                  <c:v>0.88034900000000005</c:v>
                </c:pt>
                <c:pt idx="448" formatCode="0.00%">
                  <c:v>0.86890100000000003</c:v>
                </c:pt>
                <c:pt idx="449" formatCode="0.00%">
                  <c:v>0.86667000000000005</c:v>
                </c:pt>
                <c:pt idx="450" formatCode="0.00%">
                  <c:v>0.86470499999999995</c:v>
                </c:pt>
                <c:pt idx="451" formatCode="0.00%">
                  <c:v>0.88075899999999996</c:v>
                </c:pt>
                <c:pt idx="452" formatCode="0.00%">
                  <c:v>0.89032299999999998</c:v>
                </c:pt>
                <c:pt idx="453" formatCode="0.00%">
                  <c:v>0.89128499999999999</c:v>
                </c:pt>
                <c:pt idx="454" formatCode="0.00%">
                  <c:v>0.89978599999999997</c:v>
                </c:pt>
                <c:pt idx="455" formatCode="0.00%">
                  <c:v>0.90437000000000001</c:v>
                </c:pt>
                <c:pt idx="456" formatCode="0.00%">
                  <c:v>0.90387099999999998</c:v>
                </c:pt>
                <c:pt idx="457" formatCode="0.00%">
                  <c:v>0.89704300000000003</c:v>
                </c:pt>
                <c:pt idx="458" formatCode="0.00%">
                  <c:v>0.89716700000000005</c:v>
                </c:pt>
                <c:pt idx="459" formatCode="0.00%">
                  <c:v>0.89244100000000004</c:v>
                </c:pt>
                <c:pt idx="460" formatCode="0.00%">
                  <c:v>0.87824400000000002</c:v>
                </c:pt>
                <c:pt idx="461" formatCode="0.00%">
                  <c:v>0.86792000000000002</c:v>
                </c:pt>
                <c:pt idx="462" formatCode="0.00%">
                  <c:v>0.87140700000000004</c:v>
                </c:pt>
                <c:pt idx="463" formatCode="0.00%">
                  <c:v>0.87311300000000003</c:v>
                </c:pt>
                <c:pt idx="464" formatCode="0.00%">
                  <c:v>0.86830700000000005</c:v>
                </c:pt>
                <c:pt idx="465" formatCode="0.00%">
                  <c:v>0.85235799999999995</c:v>
                </c:pt>
                <c:pt idx="466" formatCode="0.00%">
                  <c:v>0.85261900000000002</c:v>
                </c:pt>
                <c:pt idx="467" formatCode="0.00%">
                  <c:v>0.85594300000000001</c:v>
                </c:pt>
                <c:pt idx="468" formatCode="0.00%">
                  <c:v>0.85965100000000005</c:v>
                </c:pt>
                <c:pt idx="469" formatCode="0.00%">
                  <c:v>0.85591200000000001</c:v>
                </c:pt>
                <c:pt idx="470" formatCode="0.00%">
                  <c:v>0.83887400000000001</c:v>
                </c:pt>
                <c:pt idx="471" formatCode="0.00%">
                  <c:v>0.84648800000000002</c:v>
                </c:pt>
                <c:pt idx="472" formatCode="0.00%">
                  <c:v>0.84075999999999995</c:v>
                </c:pt>
                <c:pt idx="473" formatCode="0.00%">
                  <c:v>0.83100200000000002</c:v>
                </c:pt>
                <c:pt idx="474" formatCode="0.00%">
                  <c:v>0.84006400000000003</c:v>
                </c:pt>
                <c:pt idx="475" formatCode="0.00%">
                  <c:v>0.84126000000000001</c:v>
                </c:pt>
                <c:pt idx="476" formatCode="0.00%">
                  <c:v>0.840526</c:v>
                </c:pt>
                <c:pt idx="477" formatCode="0.00%">
                  <c:v>0.84396800000000005</c:v>
                </c:pt>
                <c:pt idx="478" formatCode="0.00%">
                  <c:v>0.84618700000000002</c:v>
                </c:pt>
                <c:pt idx="479" formatCode="0.00%">
                  <c:v>0.857016</c:v>
                </c:pt>
                <c:pt idx="480" formatCode="0.00%">
                  <c:v>0.87547200000000003</c:v>
                </c:pt>
                <c:pt idx="481" formatCode="0.00%">
                  <c:v>0.87314099999999994</c:v>
                </c:pt>
                <c:pt idx="482" formatCode="0.00%">
                  <c:v>0.88236099999999995</c:v>
                </c:pt>
                <c:pt idx="483" formatCode="0.00%">
                  <c:v>0.88246000000000002</c:v>
                </c:pt>
                <c:pt idx="484" formatCode="0.00%">
                  <c:v>0.89889699999999995</c:v>
                </c:pt>
                <c:pt idx="485" formatCode="0.00%">
                  <c:v>0.90338600000000002</c:v>
                </c:pt>
                <c:pt idx="486" formatCode="0.00%">
                  <c:v>0.90218900000000002</c:v>
                </c:pt>
                <c:pt idx="487" formatCode="0.00%">
                  <c:v>0.89983299999999999</c:v>
                </c:pt>
                <c:pt idx="488" formatCode="0.00%">
                  <c:v>0.89379500000000001</c:v>
                </c:pt>
                <c:pt idx="489" formatCode="0.00%">
                  <c:v>0.88757600000000003</c:v>
                </c:pt>
                <c:pt idx="490" formatCode="0.00%">
                  <c:v>0.88449299999999997</c:v>
                </c:pt>
                <c:pt idx="491" formatCode="0.00%">
                  <c:v>0.881104</c:v>
                </c:pt>
                <c:pt idx="492" formatCode="0.00%">
                  <c:v>0.87456500000000004</c:v>
                </c:pt>
                <c:pt idx="493" formatCode="0.00%">
                  <c:v>0.88304000000000005</c:v>
                </c:pt>
                <c:pt idx="494" formatCode="0.00%">
                  <c:v>0.87905</c:v>
                </c:pt>
                <c:pt idx="495" formatCode="0.00%">
                  <c:v>0.88376500000000002</c:v>
                </c:pt>
                <c:pt idx="496" formatCode="0.00%">
                  <c:v>0.89533799999999997</c:v>
                </c:pt>
                <c:pt idx="497" formatCode="0.00%">
                  <c:v>0.89453199999999999</c:v>
                </c:pt>
                <c:pt idx="498" formatCode="0.00%">
                  <c:v>0.89939199999999997</c:v>
                </c:pt>
                <c:pt idx="499" formatCode="0.00%">
                  <c:v>0.88905100000000004</c:v>
                </c:pt>
                <c:pt idx="500" formatCode="0.00%">
                  <c:v>0.87163900000000005</c:v>
                </c:pt>
                <c:pt idx="501" formatCode="0.00%">
                  <c:v>0.85774399999999995</c:v>
                </c:pt>
                <c:pt idx="502" formatCode="0.00%">
                  <c:v>0.83650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C58-422A-9B74-A5BE8318111E}"/>
            </c:ext>
          </c:extLst>
        </c:ser>
        <c:ser>
          <c:idx val="2"/>
          <c:order val="3"/>
          <c:tx>
            <c:v>HOS_Po_ukonceni_s_posilujici_65</c:v>
          </c:tx>
          <c:spPr>
            <a:ln>
              <a:noFill/>
              <a:prstDash val="sysDash"/>
            </a:ln>
          </c:spPr>
          <c:marker>
            <c:symbol val="none"/>
          </c:marker>
          <c:trendline>
            <c:spPr>
              <a:ln w="19050">
                <a:solidFill>
                  <a:srgbClr val="70AD47"/>
                </a:solidFill>
                <a:prstDash val="sysDash"/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E$2:$E$505</c:f>
              <c:numCache>
                <c:formatCode>General</c:formatCode>
                <c:ptCount val="504"/>
                <c:pt idx="426" formatCode="0.00%">
                  <c:v>1</c:v>
                </c:pt>
                <c:pt idx="427" formatCode="0.00%">
                  <c:v>1</c:v>
                </c:pt>
                <c:pt idx="428" formatCode="0.00%">
                  <c:v>0.98624500000000004</c:v>
                </c:pt>
                <c:pt idx="429" formatCode="0.00%">
                  <c:v>0.96867700000000001</c:v>
                </c:pt>
                <c:pt idx="430" formatCode="0.00%">
                  <c:v>0.96401899999999996</c:v>
                </c:pt>
                <c:pt idx="431" formatCode="0.00%">
                  <c:v>0.95166899999999999</c:v>
                </c:pt>
                <c:pt idx="432" formatCode="0.00%">
                  <c:v>0.95408199999999999</c:v>
                </c:pt>
                <c:pt idx="433" formatCode="0.00%">
                  <c:v>0.95080100000000001</c:v>
                </c:pt>
                <c:pt idx="434" formatCode="0.00%">
                  <c:v>0.95127399999999995</c:v>
                </c:pt>
                <c:pt idx="435" formatCode="0.00%">
                  <c:v>0.95517300000000005</c:v>
                </c:pt>
                <c:pt idx="436" formatCode="0.00%">
                  <c:v>0.96473500000000001</c:v>
                </c:pt>
                <c:pt idx="437" formatCode="0.00%">
                  <c:v>0.96373299999999995</c:v>
                </c:pt>
                <c:pt idx="438" formatCode="0.00%">
                  <c:v>0.96976300000000004</c:v>
                </c:pt>
                <c:pt idx="439" formatCode="0.00%">
                  <c:v>0.96550999999999998</c:v>
                </c:pt>
                <c:pt idx="440" formatCode="0.00%">
                  <c:v>0.96251399999999998</c:v>
                </c:pt>
                <c:pt idx="441" formatCode="0.00%">
                  <c:v>0.96207200000000004</c:v>
                </c:pt>
                <c:pt idx="442" formatCode="0.00%">
                  <c:v>0.96486400000000005</c:v>
                </c:pt>
                <c:pt idx="443" formatCode="0.00%">
                  <c:v>0.96752300000000002</c:v>
                </c:pt>
                <c:pt idx="444" formatCode="0.00%">
                  <c:v>0.96668299999999996</c:v>
                </c:pt>
                <c:pt idx="445" formatCode="0.00%">
                  <c:v>0.96647300000000003</c:v>
                </c:pt>
                <c:pt idx="446" formatCode="0.00%">
                  <c:v>0.96898200000000001</c:v>
                </c:pt>
                <c:pt idx="447" formatCode="0.00%">
                  <c:v>0.96728099999999995</c:v>
                </c:pt>
                <c:pt idx="448" formatCode="0.00%">
                  <c:v>0.96415600000000001</c:v>
                </c:pt>
                <c:pt idx="449" formatCode="0.00%">
                  <c:v>0.96308899999999997</c:v>
                </c:pt>
                <c:pt idx="450" formatCode="0.00%">
                  <c:v>0.96227200000000002</c:v>
                </c:pt>
                <c:pt idx="451" formatCode="0.00%">
                  <c:v>0.96695600000000004</c:v>
                </c:pt>
                <c:pt idx="452" formatCode="0.00%">
                  <c:v>0.968997</c:v>
                </c:pt>
                <c:pt idx="453" formatCode="0.00%">
                  <c:v>0.96979000000000004</c:v>
                </c:pt>
                <c:pt idx="454" formatCode="0.00%">
                  <c:v>0.97192299999999998</c:v>
                </c:pt>
                <c:pt idx="455" formatCode="0.00%">
                  <c:v>0.97238199999999997</c:v>
                </c:pt>
                <c:pt idx="456" formatCode="0.00%">
                  <c:v>0.97127200000000002</c:v>
                </c:pt>
                <c:pt idx="457" formatCode="0.00%">
                  <c:v>0.96888399999999997</c:v>
                </c:pt>
                <c:pt idx="458" formatCode="0.00%">
                  <c:v>0.96897900000000003</c:v>
                </c:pt>
                <c:pt idx="459" formatCode="0.00%">
                  <c:v>0.96753299999999998</c:v>
                </c:pt>
                <c:pt idx="460" formatCode="0.00%">
                  <c:v>0.96338900000000005</c:v>
                </c:pt>
                <c:pt idx="461" formatCode="0.00%">
                  <c:v>0.96051900000000001</c:v>
                </c:pt>
                <c:pt idx="462" formatCode="0.00%">
                  <c:v>0.96251399999999998</c:v>
                </c:pt>
                <c:pt idx="463" formatCode="0.00%">
                  <c:v>0.96410200000000001</c:v>
                </c:pt>
                <c:pt idx="464" formatCode="0.00%">
                  <c:v>0.96364099999999997</c:v>
                </c:pt>
                <c:pt idx="465" formatCode="0.00%">
                  <c:v>0.95918499999999995</c:v>
                </c:pt>
                <c:pt idx="466" formatCode="0.00%">
                  <c:v>0.95943599999999996</c:v>
                </c:pt>
                <c:pt idx="467" formatCode="0.00%">
                  <c:v>0.96030000000000004</c:v>
                </c:pt>
                <c:pt idx="468" formatCode="0.00%">
                  <c:v>0.96150800000000003</c:v>
                </c:pt>
                <c:pt idx="469" formatCode="0.00%">
                  <c:v>0.960978</c:v>
                </c:pt>
                <c:pt idx="470" formatCode="0.00%">
                  <c:v>0.955291</c:v>
                </c:pt>
                <c:pt idx="471" formatCode="0.00%">
                  <c:v>0.95811599999999997</c:v>
                </c:pt>
                <c:pt idx="472" formatCode="0.00%">
                  <c:v>0.95691199999999998</c:v>
                </c:pt>
                <c:pt idx="473" formatCode="0.00%">
                  <c:v>0.95543199999999995</c:v>
                </c:pt>
                <c:pt idx="474" formatCode="0.00%">
                  <c:v>0.95730099999999996</c:v>
                </c:pt>
                <c:pt idx="475" formatCode="0.00%">
                  <c:v>0.95748900000000003</c:v>
                </c:pt>
                <c:pt idx="476" formatCode="0.00%">
                  <c:v>0.95687999999999995</c:v>
                </c:pt>
                <c:pt idx="477" formatCode="0.00%">
                  <c:v>0.95757000000000003</c:v>
                </c:pt>
                <c:pt idx="478" formatCode="0.00%">
                  <c:v>0.95743299999999998</c:v>
                </c:pt>
                <c:pt idx="479" formatCode="0.00%">
                  <c:v>0.95993600000000001</c:v>
                </c:pt>
                <c:pt idx="480" formatCode="0.00%">
                  <c:v>0.96489400000000003</c:v>
                </c:pt>
                <c:pt idx="481" formatCode="0.00%">
                  <c:v>0.96517500000000001</c:v>
                </c:pt>
                <c:pt idx="482" formatCode="0.00%">
                  <c:v>0.96844600000000003</c:v>
                </c:pt>
                <c:pt idx="483" formatCode="0.00%">
                  <c:v>0.96960000000000002</c:v>
                </c:pt>
                <c:pt idx="484" formatCode="0.00%">
                  <c:v>0.975352</c:v>
                </c:pt>
                <c:pt idx="485" formatCode="0.00%">
                  <c:v>0.97627600000000003</c:v>
                </c:pt>
                <c:pt idx="486" formatCode="0.00%">
                  <c:v>0.97527399999999997</c:v>
                </c:pt>
                <c:pt idx="487" formatCode="0.00%">
                  <c:v>0.97419199999999995</c:v>
                </c:pt>
                <c:pt idx="488" formatCode="0.00%">
                  <c:v>0.97270900000000005</c:v>
                </c:pt>
                <c:pt idx="489" formatCode="0.00%">
                  <c:v>0.97097500000000003</c:v>
                </c:pt>
                <c:pt idx="490" formatCode="0.00%">
                  <c:v>0.96824100000000002</c:v>
                </c:pt>
                <c:pt idx="491" formatCode="0.00%">
                  <c:v>0.96543199999999996</c:v>
                </c:pt>
                <c:pt idx="492" formatCode="0.00%">
                  <c:v>0.96247499999999997</c:v>
                </c:pt>
                <c:pt idx="493" formatCode="0.00%">
                  <c:v>0.96561900000000001</c:v>
                </c:pt>
                <c:pt idx="494" formatCode="0.00%">
                  <c:v>0.96512100000000001</c:v>
                </c:pt>
                <c:pt idx="495" formatCode="0.00%">
                  <c:v>0.96575299999999997</c:v>
                </c:pt>
                <c:pt idx="496" formatCode="0.00%">
                  <c:v>0.96794500000000006</c:v>
                </c:pt>
                <c:pt idx="497" formatCode="0.00%">
                  <c:v>0.96810600000000002</c:v>
                </c:pt>
                <c:pt idx="498" formatCode="0.00%">
                  <c:v>0.96982900000000005</c:v>
                </c:pt>
                <c:pt idx="499" formatCode="0.00%">
                  <c:v>0.96809100000000003</c:v>
                </c:pt>
                <c:pt idx="500" formatCode="0.00%">
                  <c:v>0.96148299999999998</c:v>
                </c:pt>
                <c:pt idx="501" formatCode="0.00%">
                  <c:v>0.95618999999999998</c:v>
                </c:pt>
                <c:pt idx="502" formatCode="0.00%">
                  <c:v>0.949617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C58-422A-9B74-A5BE831811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1"/>
          <c:min val="0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JIP_Po_ukonceni</c:v>
          </c:tx>
          <c:spPr>
            <a:ln>
              <a:noFill/>
            </a:ln>
          </c:spPr>
          <c:marker>
            <c:symbol val="none"/>
          </c:marker>
          <c:trendline>
            <c:spPr>
              <a:ln w="19050">
                <a:solidFill>
                  <a:srgbClr val="4472C4"/>
                </a:solidFill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181" formatCode="0%">
                  <c:v>1</c:v>
                </c:pt>
                <c:pt idx="182" formatCode="0%">
                  <c:v>0.96505799999999997</c:v>
                </c:pt>
                <c:pt idx="183" formatCode="0%">
                  <c:v>0.93419200000000002</c:v>
                </c:pt>
                <c:pt idx="184" formatCode="0%">
                  <c:v>0.93464100000000006</c:v>
                </c:pt>
                <c:pt idx="185" formatCode="0%">
                  <c:v>0.93705000000000005</c:v>
                </c:pt>
                <c:pt idx="186" formatCode="0%">
                  <c:v>0.93636799999999998</c:v>
                </c:pt>
                <c:pt idx="187" formatCode="0%">
                  <c:v>0.93679000000000001</c:v>
                </c:pt>
                <c:pt idx="188" formatCode="0%">
                  <c:v>0.90864199999999995</c:v>
                </c:pt>
                <c:pt idx="189" formatCode="0%">
                  <c:v>0.94161799999999996</c:v>
                </c:pt>
                <c:pt idx="190" formatCode="0%">
                  <c:v>0.94674599999999998</c:v>
                </c:pt>
                <c:pt idx="191" formatCode="0%">
                  <c:v>0.94674400000000003</c:v>
                </c:pt>
                <c:pt idx="192" formatCode="0%">
                  <c:v>0.89733499999999999</c:v>
                </c:pt>
                <c:pt idx="193" formatCode="0%">
                  <c:v>0.84841</c:v>
                </c:pt>
                <c:pt idx="194" formatCode="0%">
                  <c:v>0.84901000000000004</c:v>
                </c:pt>
                <c:pt idx="195" formatCode="0%">
                  <c:v>0.87611799999999995</c:v>
                </c:pt>
                <c:pt idx="196" formatCode="0%">
                  <c:v>0.87561199999999995</c:v>
                </c:pt>
                <c:pt idx="197" formatCode="0%">
                  <c:v>0.85076200000000002</c:v>
                </c:pt>
                <c:pt idx="198" formatCode="0%">
                  <c:v>0.84864600000000001</c:v>
                </c:pt>
                <c:pt idx="199" formatCode="0%">
                  <c:v>0.89626300000000003</c:v>
                </c:pt>
                <c:pt idx="200" formatCode="0%">
                  <c:v>0.94913000000000003</c:v>
                </c:pt>
                <c:pt idx="201" formatCode="0%">
                  <c:v>0.89795999999999998</c:v>
                </c:pt>
                <c:pt idx="202" formatCode="0%">
                  <c:v>0.895204</c:v>
                </c:pt>
                <c:pt idx="203" formatCode="0%">
                  <c:v>0.84278799999999998</c:v>
                </c:pt>
                <c:pt idx="204" formatCode="0%">
                  <c:v>0.894922</c:v>
                </c:pt>
                <c:pt idx="205" formatCode="0%">
                  <c:v>0.87034999999999996</c:v>
                </c:pt>
                <c:pt idx="206" formatCode="0%">
                  <c:v>0.84498200000000001</c:v>
                </c:pt>
                <c:pt idx="207" formatCode="0%">
                  <c:v>0.83965999999999996</c:v>
                </c:pt>
                <c:pt idx="208" formatCode="0%">
                  <c:v>0.89478999999999997</c:v>
                </c:pt>
                <c:pt idx="209" formatCode="0%">
                  <c:v>0.89148099999999997</c:v>
                </c:pt>
                <c:pt idx="210" formatCode="0%">
                  <c:v>0.86989300000000003</c:v>
                </c:pt>
                <c:pt idx="211" formatCode="0%">
                  <c:v>0.84326900000000005</c:v>
                </c:pt>
                <c:pt idx="212" formatCode="0%">
                  <c:v>0.86459799999999998</c:v>
                </c:pt>
                <c:pt idx="213" formatCode="0%">
                  <c:v>0.86456</c:v>
                </c:pt>
                <c:pt idx="214" formatCode="0%">
                  <c:v>0.86153299999999999</c:v>
                </c:pt>
                <c:pt idx="215" formatCode="0%">
                  <c:v>0.83035599999999998</c:v>
                </c:pt>
                <c:pt idx="216" formatCode="0%">
                  <c:v>0.81665699999999997</c:v>
                </c:pt>
                <c:pt idx="217" formatCode="0%">
                  <c:v>0.91100400000000004</c:v>
                </c:pt>
                <c:pt idx="218" formatCode="0%">
                  <c:v>0.94064700000000001</c:v>
                </c:pt>
                <c:pt idx="219" formatCode="0%">
                  <c:v>0.91344499999999995</c:v>
                </c:pt>
                <c:pt idx="220" formatCode="0%">
                  <c:v>0.94345500000000004</c:v>
                </c:pt>
                <c:pt idx="221" formatCode="0%">
                  <c:v>0.86729699999999998</c:v>
                </c:pt>
                <c:pt idx="222" formatCode="0%">
                  <c:v>0.86995900000000004</c:v>
                </c:pt>
                <c:pt idx="223" formatCode="0%">
                  <c:v>0.86995500000000003</c:v>
                </c:pt>
                <c:pt idx="224" formatCode="0%">
                  <c:v>0.86534</c:v>
                </c:pt>
                <c:pt idx="225" formatCode="0%">
                  <c:v>0.81444499999999997</c:v>
                </c:pt>
                <c:pt idx="226" formatCode="0%">
                  <c:v>0.81169100000000005</c:v>
                </c:pt>
                <c:pt idx="227" formatCode="0%">
                  <c:v>0.78727000000000003</c:v>
                </c:pt>
                <c:pt idx="228" formatCode="0%">
                  <c:v>0.843221</c:v>
                </c:pt>
                <c:pt idx="229" formatCode="0%">
                  <c:v>0.82059899999999997</c:v>
                </c:pt>
                <c:pt idx="230" formatCode="0%">
                  <c:v>0.77134499999999995</c:v>
                </c:pt>
                <c:pt idx="231" formatCode="0%">
                  <c:v>0.76325100000000001</c:v>
                </c:pt>
                <c:pt idx="232" formatCode="0%">
                  <c:v>0.81081000000000003</c:v>
                </c:pt>
                <c:pt idx="233" formatCode="0%">
                  <c:v>0.73862700000000003</c:v>
                </c:pt>
                <c:pt idx="234" formatCode="0%">
                  <c:v>0.70078499999999999</c:v>
                </c:pt>
                <c:pt idx="235" formatCode="0%">
                  <c:v>0.69454000000000005</c:v>
                </c:pt>
                <c:pt idx="236" formatCode="0%">
                  <c:v>0.67780600000000002</c:v>
                </c:pt>
                <c:pt idx="237" formatCode="0%">
                  <c:v>0.60847799999999996</c:v>
                </c:pt>
                <c:pt idx="238" formatCode="0%">
                  <c:v>0.58641799999999999</c:v>
                </c:pt>
                <c:pt idx="239" formatCode="0%">
                  <c:v>0.55128900000000003</c:v>
                </c:pt>
                <c:pt idx="240" formatCode="0%">
                  <c:v>0.667852</c:v>
                </c:pt>
                <c:pt idx="241" formatCode="0%">
                  <c:v>0.66737500000000005</c:v>
                </c:pt>
                <c:pt idx="242" formatCode="0%">
                  <c:v>0.69144600000000001</c:v>
                </c:pt>
                <c:pt idx="243" formatCode="0%">
                  <c:v>0.75584499999999999</c:v>
                </c:pt>
                <c:pt idx="244" formatCode="0%">
                  <c:v>0.88292499999999996</c:v>
                </c:pt>
                <c:pt idx="245" formatCode="0%">
                  <c:v>0.82288499999999998</c:v>
                </c:pt>
                <c:pt idx="246" formatCode="0%">
                  <c:v>0.81482299999999996</c:v>
                </c:pt>
                <c:pt idx="247" formatCode="0%">
                  <c:v>0.70334399999999997</c:v>
                </c:pt>
                <c:pt idx="248" formatCode="0%">
                  <c:v>0.76391100000000001</c:v>
                </c:pt>
                <c:pt idx="249" formatCode="0%">
                  <c:v>0.76440900000000001</c:v>
                </c:pt>
                <c:pt idx="250" formatCode="0%">
                  <c:v>0.76651400000000003</c:v>
                </c:pt>
                <c:pt idx="251" formatCode="0%">
                  <c:v>0.69491199999999997</c:v>
                </c:pt>
                <c:pt idx="252" formatCode="0%">
                  <c:v>0.72763299999999997</c:v>
                </c:pt>
                <c:pt idx="253" formatCode="0%">
                  <c:v>0.75112500000000004</c:v>
                </c:pt>
                <c:pt idx="254" formatCode="0%">
                  <c:v>0.86082400000000003</c:v>
                </c:pt>
                <c:pt idx="255" formatCode="0%">
                  <c:v>0.82675900000000002</c:v>
                </c:pt>
                <c:pt idx="256" formatCode="0%">
                  <c:v>0.82000499999999998</c:v>
                </c:pt>
                <c:pt idx="257" formatCode="0%">
                  <c:v>0.84460400000000002</c:v>
                </c:pt>
                <c:pt idx="258" formatCode="0%">
                  <c:v>0.880826</c:v>
                </c:pt>
                <c:pt idx="259" formatCode="0%">
                  <c:v>0.91467399999999999</c:v>
                </c:pt>
                <c:pt idx="260" formatCode="0%">
                  <c:v>0.91095800000000005</c:v>
                </c:pt>
                <c:pt idx="261" formatCode="0%">
                  <c:v>0.90327800000000003</c:v>
                </c:pt>
                <c:pt idx="262" formatCode="0%">
                  <c:v>0.89886900000000003</c:v>
                </c:pt>
                <c:pt idx="263" formatCode="0%">
                  <c:v>0.84785200000000005</c:v>
                </c:pt>
                <c:pt idx="264" formatCode="0%">
                  <c:v>0.77581199999999995</c:v>
                </c:pt>
                <c:pt idx="265" formatCode="0%">
                  <c:v>0.82604100000000003</c:v>
                </c:pt>
                <c:pt idx="266" formatCode="0%">
                  <c:v>0.727827</c:v>
                </c:pt>
                <c:pt idx="267" formatCode="0%">
                  <c:v>0.69827399999999995</c:v>
                </c:pt>
                <c:pt idx="268" formatCode="0%">
                  <c:v>0.53383899999999995</c:v>
                </c:pt>
                <c:pt idx="269" formatCode="0%">
                  <c:v>0.50592199999999998</c:v>
                </c:pt>
                <c:pt idx="270" formatCode="0%">
                  <c:v>0.54584600000000005</c:v>
                </c:pt>
                <c:pt idx="271" formatCode="0%">
                  <c:v>0.56479299999999999</c:v>
                </c:pt>
                <c:pt idx="272" formatCode="0%">
                  <c:v>0.48767100000000002</c:v>
                </c:pt>
                <c:pt idx="273" formatCode="0%">
                  <c:v>0.597603</c:v>
                </c:pt>
                <c:pt idx="274" formatCode="0%">
                  <c:v>0.44346099999999999</c:v>
                </c:pt>
                <c:pt idx="275" formatCode="0%">
                  <c:v>0.72889700000000002</c:v>
                </c:pt>
                <c:pt idx="276" formatCode="0%">
                  <c:v>0.74658800000000003</c:v>
                </c:pt>
                <c:pt idx="277" formatCode="0%">
                  <c:v>0.71459700000000004</c:v>
                </c:pt>
                <c:pt idx="278" formatCode="0%">
                  <c:v>0.67605800000000005</c:v>
                </c:pt>
                <c:pt idx="279" formatCode="0%">
                  <c:v>0.48840499999999998</c:v>
                </c:pt>
                <c:pt idx="280" formatCode="0%">
                  <c:v>0.55281999999999998</c:v>
                </c:pt>
                <c:pt idx="281" formatCode="0%">
                  <c:v>0.67628100000000002</c:v>
                </c:pt>
                <c:pt idx="282" formatCode="0%">
                  <c:v>0.46891899999999997</c:v>
                </c:pt>
                <c:pt idx="283" formatCode="0%">
                  <c:v>0.34157999999999999</c:v>
                </c:pt>
                <c:pt idx="284" formatCode="0%">
                  <c:v>0.47994700000000001</c:v>
                </c:pt>
                <c:pt idx="285" formatCode="0%">
                  <c:v>0.64463499999999996</c:v>
                </c:pt>
                <c:pt idx="286" formatCode="0%">
                  <c:v>0.81195899999999999</c:v>
                </c:pt>
                <c:pt idx="287" formatCode="0%">
                  <c:v>0.75718099999999999</c:v>
                </c:pt>
                <c:pt idx="288" formatCode="0%">
                  <c:v>0.715978</c:v>
                </c:pt>
                <c:pt idx="289" formatCode="0%">
                  <c:v>1</c:v>
                </c:pt>
                <c:pt idx="290" formatCode="0%">
                  <c:v>0.79627400000000004</c:v>
                </c:pt>
                <c:pt idx="291" formatCode="0%">
                  <c:v>0.70025099999999996</c:v>
                </c:pt>
                <c:pt idx="292" formatCode="0%">
                  <c:v>0.47360200000000002</c:v>
                </c:pt>
                <c:pt idx="293" formatCode="0%">
                  <c:v>0.40998099999999998</c:v>
                </c:pt>
                <c:pt idx="294" formatCode="0%">
                  <c:v>0.32788899999999999</c:v>
                </c:pt>
                <c:pt idx="295" formatCode="0%">
                  <c:v>0.21796499999999999</c:v>
                </c:pt>
                <c:pt idx="296" formatCode="0%">
                  <c:v>0.23144300000000001</c:v>
                </c:pt>
                <c:pt idx="297" formatCode="0%">
                  <c:v>0.67991299999999999</c:v>
                </c:pt>
                <c:pt idx="298" formatCode="0%">
                  <c:v>0.62839199999999995</c:v>
                </c:pt>
                <c:pt idx="299" formatCode="0%">
                  <c:v>1</c:v>
                </c:pt>
                <c:pt idx="300" formatCode="0%">
                  <c:v>1</c:v>
                </c:pt>
                <c:pt idx="301" formatCode="0%">
                  <c:v>1</c:v>
                </c:pt>
                <c:pt idx="302" formatCode="0%">
                  <c:v>1</c:v>
                </c:pt>
                <c:pt idx="303" formatCode="0%">
                  <c:v>1</c:v>
                </c:pt>
                <c:pt idx="304" formatCode="0%">
                  <c:v>1</c:v>
                </c:pt>
                <c:pt idx="305" formatCode="0%">
                  <c:v>1</c:v>
                </c:pt>
                <c:pt idx="306" formatCode="0%">
                  <c:v>1</c:v>
                </c:pt>
                <c:pt idx="307" formatCode="0%">
                  <c:v>1</c:v>
                </c:pt>
                <c:pt idx="308" formatCode="0%">
                  <c:v>1</c:v>
                </c:pt>
                <c:pt idx="309" formatCode="0%">
                  <c:v>1</c:v>
                </c:pt>
                <c:pt idx="310" formatCode="0%">
                  <c:v>1</c:v>
                </c:pt>
                <c:pt idx="311" formatCode="0%">
                  <c:v>1</c:v>
                </c:pt>
                <c:pt idx="312" formatCode="0%">
                  <c:v>1</c:v>
                </c:pt>
                <c:pt idx="313" formatCode="0%">
                  <c:v>1</c:v>
                </c:pt>
                <c:pt idx="314" formatCode="0%">
                  <c:v>1</c:v>
                </c:pt>
                <c:pt idx="315" formatCode="0%">
                  <c:v>0.81233100000000003</c:v>
                </c:pt>
                <c:pt idx="316" formatCode="0%">
                  <c:v>0.72513300000000003</c:v>
                </c:pt>
                <c:pt idx="317" formatCode="0%">
                  <c:v>0.75617199999999996</c:v>
                </c:pt>
                <c:pt idx="318" formatCode="0%">
                  <c:v>0.64354100000000003</c:v>
                </c:pt>
                <c:pt idx="319" formatCode="0%">
                  <c:v>0.645034</c:v>
                </c:pt>
                <c:pt idx="320" formatCode="0%">
                  <c:v>0.64651999999999998</c:v>
                </c:pt>
                <c:pt idx="321" formatCode="0%">
                  <c:v>0.64938099999999999</c:v>
                </c:pt>
                <c:pt idx="322" formatCode="0%">
                  <c:v>0.770459</c:v>
                </c:pt>
                <c:pt idx="323" formatCode="0%">
                  <c:v>0.72209299999999998</c:v>
                </c:pt>
                <c:pt idx="324" formatCode="0%">
                  <c:v>0.78561199999999998</c:v>
                </c:pt>
                <c:pt idx="325" formatCode="0%">
                  <c:v>0.76978000000000002</c:v>
                </c:pt>
                <c:pt idx="326" formatCode="0%">
                  <c:v>0.737398</c:v>
                </c:pt>
                <c:pt idx="327" formatCode="0%">
                  <c:v>0.73855499999999996</c:v>
                </c:pt>
                <c:pt idx="328" formatCode="0%">
                  <c:v>0.69715499999999997</c:v>
                </c:pt>
                <c:pt idx="329" formatCode="0%">
                  <c:v>0.74107100000000004</c:v>
                </c:pt>
                <c:pt idx="330" formatCode="0%">
                  <c:v>0.87351599999999996</c:v>
                </c:pt>
                <c:pt idx="331" formatCode="0%">
                  <c:v>0.34061999999999998</c:v>
                </c:pt>
                <c:pt idx="332" formatCode="0%">
                  <c:v>0.65582099999999999</c:v>
                </c:pt>
                <c:pt idx="333" formatCode="0%">
                  <c:v>0.43200300000000003</c:v>
                </c:pt>
                <c:pt idx="334" formatCode="0%">
                  <c:v>0.43452400000000002</c:v>
                </c:pt>
                <c:pt idx="335" formatCode="0%">
                  <c:v>0.34184300000000001</c:v>
                </c:pt>
                <c:pt idx="336" formatCode="0%">
                  <c:v>0.51033799999999996</c:v>
                </c:pt>
                <c:pt idx="337" formatCode="0%">
                  <c:v>0.51203299999999996</c:v>
                </c:pt>
                <c:pt idx="338" formatCode="0%">
                  <c:v>0.78064199999999995</c:v>
                </c:pt>
                <c:pt idx="339" formatCode="0%">
                  <c:v>0.68135299999999999</c:v>
                </c:pt>
                <c:pt idx="340" formatCode="0%">
                  <c:v>0.91185300000000002</c:v>
                </c:pt>
                <c:pt idx="341" formatCode="0%">
                  <c:v>0.84473500000000001</c:v>
                </c:pt>
                <c:pt idx="342" formatCode="0%">
                  <c:v>0.87319599999999997</c:v>
                </c:pt>
                <c:pt idx="343" formatCode="0%">
                  <c:v>0.69535800000000003</c:v>
                </c:pt>
                <c:pt idx="344" formatCode="0%">
                  <c:v>0.75161599999999995</c:v>
                </c:pt>
                <c:pt idx="345" formatCode="0%">
                  <c:v>0.71734299999999995</c:v>
                </c:pt>
                <c:pt idx="346" formatCode="0%">
                  <c:v>0.73065500000000005</c:v>
                </c:pt>
                <c:pt idx="347" formatCode="0%">
                  <c:v>0.73110200000000003</c:v>
                </c:pt>
                <c:pt idx="348" formatCode="0%">
                  <c:v>0.77796699999999996</c:v>
                </c:pt>
                <c:pt idx="349" formatCode="0%">
                  <c:v>0.80098999999999998</c:v>
                </c:pt>
                <c:pt idx="350" formatCode="0%">
                  <c:v>0.89271199999999995</c:v>
                </c:pt>
                <c:pt idx="351" formatCode="0%">
                  <c:v>0.90137</c:v>
                </c:pt>
                <c:pt idx="352" formatCode="0%">
                  <c:v>0.80809399999999998</c:v>
                </c:pt>
                <c:pt idx="353" formatCode="0%">
                  <c:v>0.75176299999999996</c:v>
                </c:pt>
                <c:pt idx="354" formatCode="0%">
                  <c:v>0.75200699999999998</c:v>
                </c:pt>
                <c:pt idx="355" formatCode="0%">
                  <c:v>0.75225200000000003</c:v>
                </c:pt>
                <c:pt idx="356" formatCode="0%">
                  <c:v>0.73522799999999999</c:v>
                </c:pt>
                <c:pt idx="357" formatCode="0%">
                  <c:v>0.69402200000000003</c:v>
                </c:pt>
                <c:pt idx="358" formatCode="0%">
                  <c:v>0.63427599999999995</c:v>
                </c:pt>
                <c:pt idx="359" formatCode="0%">
                  <c:v>0.81879199999999996</c:v>
                </c:pt>
                <c:pt idx="360" formatCode="0%">
                  <c:v>0.88250799999999996</c:v>
                </c:pt>
                <c:pt idx="361" formatCode="0%">
                  <c:v>0.88267499999999999</c:v>
                </c:pt>
                <c:pt idx="362" formatCode="0%">
                  <c:v>0.86974899999999999</c:v>
                </c:pt>
                <c:pt idx="363" formatCode="0%">
                  <c:v>0.83279800000000004</c:v>
                </c:pt>
                <c:pt idx="364" formatCode="0%">
                  <c:v>0.92780300000000004</c:v>
                </c:pt>
                <c:pt idx="365" formatCode="0%">
                  <c:v>0.93605000000000005</c:v>
                </c:pt>
                <c:pt idx="366" formatCode="0%">
                  <c:v>0.87389899999999998</c:v>
                </c:pt>
                <c:pt idx="367" formatCode="0%">
                  <c:v>0.88867399999999996</c:v>
                </c:pt>
                <c:pt idx="368" formatCode="0%">
                  <c:v>0.90738700000000005</c:v>
                </c:pt>
                <c:pt idx="369" formatCode="0%">
                  <c:v>0.92065600000000003</c:v>
                </c:pt>
                <c:pt idx="370" formatCode="0%">
                  <c:v>0.877525</c:v>
                </c:pt>
                <c:pt idx="371" formatCode="0%">
                  <c:v>0.84743999999999997</c:v>
                </c:pt>
                <c:pt idx="372" formatCode="0%">
                  <c:v>0.82858699999999996</c:v>
                </c:pt>
                <c:pt idx="373" formatCode="0%">
                  <c:v>0.82971899999999998</c:v>
                </c:pt>
                <c:pt idx="374" formatCode="0%">
                  <c:v>0.819631</c:v>
                </c:pt>
                <c:pt idx="375" formatCode="0%">
                  <c:v>0.76891100000000001</c:v>
                </c:pt>
                <c:pt idx="376" formatCode="0%">
                  <c:v>0.74915100000000001</c:v>
                </c:pt>
                <c:pt idx="377" formatCode="0%">
                  <c:v>0.73385599999999995</c:v>
                </c:pt>
                <c:pt idx="378" formatCode="0%">
                  <c:v>0.76163099999999995</c:v>
                </c:pt>
                <c:pt idx="379" formatCode="0%">
                  <c:v>0.74807599999999996</c:v>
                </c:pt>
                <c:pt idx="380" formatCode="0%">
                  <c:v>0.79710000000000003</c:v>
                </c:pt>
                <c:pt idx="381" formatCode="0%">
                  <c:v>0.74755300000000002</c:v>
                </c:pt>
                <c:pt idx="382" formatCode="0%">
                  <c:v>0.74801600000000001</c:v>
                </c:pt>
                <c:pt idx="383" formatCode="0%">
                  <c:v>0.74855899999999997</c:v>
                </c:pt>
                <c:pt idx="384" formatCode="0%">
                  <c:v>0.77306699999999995</c:v>
                </c:pt>
                <c:pt idx="385" formatCode="0%">
                  <c:v>0.72630700000000004</c:v>
                </c:pt>
                <c:pt idx="386" formatCode="0%">
                  <c:v>0.71158100000000002</c:v>
                </c:pt>
                <c:pt idx="387" formatCode="0%">
                  <c:v>0.67659000000000002</c:v>
                </c:pt>
                <c:pt idx="388" formatCode="0%">
                  <c:v>0.803535</c:v>
                </c:pt>
                <c:pt idx="389" formatCode="0%">
                  <c:v>0.80712099999999998</c:v>
                </c:pt>
                <c:pt idx="390" formatCode="0%">
                  <c:v>0.81322700000000003</c:v>
                </c:pt>
                <c:pt idx="391" formatCode="0%">
                  <c:v>0.80471899999999996</c:v>
                </c:pt>
                <c:pt idx="392" formatCode="0%">
                  <c:v>0.87721899999999997</c:v>
                </c:pt>
                <c:pt idx="393" formatCode="0%">
                  <c:v>0.88651000000000002</c:v>
                </c:pt>
                <c:pt idx="394" formatCode="0%">
                  <c:v>0.88675400000000004</c:v>
                </c:pt>
                <c:pt idx="395" formatCode="0%">
                  <c:v>0.87286900000000001</c:v>
                </c:pt>
                <c:pt idx="396" formatCode="0%">
                  <c:v>0.88979399999999997</c:v>
                </c:pt>
                <c:pt idx="397" formatCode="0%">
                  <c:v>0.84423199999999998</c:v>
                </c:pt>
                <c:pt idx="398" formatCode="0%">
                  <c:v>0.84315700000000005</c:v>
                </c:pt>
                <c:pt idx="399" formatCode="0%">
                  <c:v>0.78396699999999997</c:v>
                </c:pt>
                <c:pt idx="400" formatCode="0%">
                  <c:v>0.75404499999999997</c:v>
                </c:pt>
                <c:pt idx="401" formatCode="0%">
                  <c:v>0.760042</c:v>
                </c:pt>
                <c:pt idx="402" formatCode="0%">
                  <c:v>0.77555399999999997</c:v>
                </c:pt>
                <c:pt idx="403" formatCode="0%">
                  <c:v>0.78490599999999999</c:v>
                </c:pt>
                <c:pt idx="404" formatCode="0%">
                  <c:v>0.78517300000000001</c:v>
                </c:pt>
                <c:pt idx="405" formatCode="0%">
                  <c:v>0.76661199999999996</c:v>
                </c:pt>
                <c:pt idx="406" formatCode="0%">
                  <c:v>0.81177999999999995</c:v>
                </c:pt>
                <c:pt idx="407" formatCode="0%">
                  <c:v>0.82420000000000004</c:v>
                </c:pt>
                <c:pt idx="408" formatCode="0%">
                  <c:v>0.78179699999999996</c:v>
                </c:pt>
                <c:pt idx="409" formatCode="0%">
                  <c:v>0.77637800000000001</c:v>
                </c:pt>
                <c:pt idx="410" formatCode="0%">
                  <c:v>0.76779399999999998</c:v>
                </c:pt>
                <c:pt idx="411" formatCode="0%">
                  <c:v>0.77110199999999995</c:v>
                </c:pt>
                <c:pt idx="412" formatCode="0%">
                  <c:v>0.736734</c:v>
                </c:pt>
                <c:pt idx="413" formatCode="0%">
                  <c:v>0.72997100000000004</c:v>
                </c:pt>
                <c:pt idx="414" formatCode="0%">
                  <c:v>0.72301000000000004</c:v>
                </c:pt>
                <c:pt idx="415" formatCode="0%">
                  <c:v>0.72053900000000004</c:v>
                </c:pt>
                <c:pt idx="416" formatCode="0%">
                  <c:v>0.70882299999999998</c:v>
                </c:pt>
                <c:pt idx="417" formatCode="0%">
                  <c:v>0.71894199999999997</c:v>
                </c:pt>
                <c:pt idx="418" formatCode="0%">
                  <c:v>0.70821800000000001</c:v>
                </c:pt>
                <c:pt idx="419" formatCode="0%">
                  <c:v>0.74814499999999995</c:v>
                </c:pt>
                <c:pt idx="420" formatCode="0%">
                  <c:v>0.72230899999999998</c:v>
                </c:pt>
                <c:pt idx="421" formatCode="0%">
                  <c:v>0.70696499999999995</c:v>
                </c:pt>
                <c:pt idx="422" formatCode="0%">
                  <c:v>0.714306</c:v>
                </c:pt>
                <c:pt idx="423" formatCode="0%">
                  <c:v>0.706453</c:v>
                </c:pt>
                <c:pt idx="424" formatCode="0%">
                  <c:v>0.70547499999999996</c:v>
                </c:pt>
                <c:pt idx="425" formatCode="0%">
                  <c:v>0.72238599999999997</c:v>
                </c:pt>
                <c:pt idx="426" formatCode="0%">
                  <c:v>0.71973200000000004</c:v>
                </c:pt>
                <c:pt idx="427" formatCode="0%">
                  <c:v>0.71048999999999995</c:v>
                </c:pt>
                <c:pt idx="428" formatCode="0%">
                  <c:v>0.739707</c:v>
                </c:pt>
                <c:pt idx="429" formatCode="0%">
                  <c:v>0.75156699999999999</c:v>
                </c:pt>
                <c:pt idx="430" formatCode="0%">
                  <c:v>0.78112999999999999</c:v>
                </c:pt>
                <c:pt idx="431" formatCode="0%">
                  <c:v>0.76365099999999997</c:v>
                </c:pt>
                <c:pt idx="432" formatCode="0%">
                  <c:v>0.76998100000000003</c:v>
                </c:pt>
                <c:pt idx="433" formatCode="0%">
                  <c:v>0.77644500000000005</c:v>
                </c:pt>
                <c:pt idx="434" formatCode="0%">
                  <c:v>0.78178800000000004</c:v>
                </c:pt>
                <c:pt idx="435" formatCode="0%">
                  <c:v>0.77964100000000003</c:v>
                </c:pt>
                <c:pt idx="436" formatCode="0%">
                  <c:v>0.78210000000000002</c:v>
                </c:pt>
                <c:pt idx="437" formatCode="0%">
                  <c:v>0.76053700000000002</c:v>
                </c:pt>
                <c:pt idx="438" formatCode="0%">
                  <c:v>0.77000900000000005</c:v>
                </c:pt>
                <c:pt idx="439" formatCode="0%">
                  <c:v>0.76220399999999999</c:v>
                </c:pt>
                <c:pt idx="440" formatCode="0%">
                  <c:v>0.77432100000000004</c:v>
                </c:pt>
                <c:pt idx="441" formatCode="0%">
                  <c:v>0.77005100000000004</c:v>
                </c:pt>
                <c:pt idx="442" formatCode="0%">
                  <c:v>0.74760400000000005</c:v>
                </c:pt>
                <c:pt idx="443" formatCode="0%">
                  <c:v>0.74715200000000004</c:v>
                </c:pt>
                <c:pt idx="444" formatCode="0%">
                  <c:v>0.76548400000000005</c:v>
                </c:pt>
                <c:pt idx="445" formatCode="0%">
                  <c:v>0.75087499999999996</c:v>
                </c:pt>
                <c:pt idx="446" formatCode="0%">
                  <c:v>0.74278500000000003</c:v>
                </c:pt>
                <c:pt idx="447" formatCode="0%">
                  <c:v>0.72391000000000005</c:v>
                </c:pt>
                <c:pt idx="448" formatCode="0%">
                  <c:v>0.74735700000000005</c:v>
                </c:pt>
                <c:pt idx="449" formatCode="0%">
                  <c:v>0.761714</c:v>
                </c:pt>
                <c:pt idx="450" formatCode="0%">
                  <c:v>0.766683</c:v>
                </c:pt>
                <c:pt idx="451" formatCode="0%">
                  <c:v>0.76331000000000004</c:v>
                </c:pt>
                <c:pt idx="452" formatCode="0%">
                  <c:v>0.77387700000000004</c:v>
                </c:pt>
                <c:pt idx="453" formatCode="0%">
                  <c:v>0.78664900000000004</c:v>
                </c:pt>
                <c:pt idx="454" formatCode="0%">
                  <c:v>0.796933</c:v>
                </c:pt>
                <c:pt idx="455" formatCode="0%">
                  <c:v>0.79977100000000001</c:v>
                </c:pt>
                <c:pt idx="456" formatCode="0%">
                  <c:v>0.80251600000000001</c:v>
                </c:pt>
                <c:pt idx="457" formatCode="0%">
                  <c:v>0.796794</c:v>
                </c:pt>
                <c:pt idx="458" formatCode="0%">
                  <c:v>0.80837499999999995</c:v>
                </c:pt>
                <c:pt idx="459" formatCode="0%">
                  <c:v>0.80717799999999995</c:v>
                </c:pt>
                <c:pt idx="460" formatCode="0%">
                  <c:v>0.80767800000000001</c:v>
                </c:pt>
                <c:pt idx="461" formatCode="0%">
                  <c:v>0.79463499999999998</c:v>
                </c:pt>
                <c:pt idx="462" formatCode="0%">
                  <c:v>0.77822400000000003</c:v>
                </c:pt>
                <c:pt idx="463" formatCode="0%">
                  <c:v>0.77947200000000005</c:v>
                </c:pt>
                <c:pt idx="464" formatCode="0%">
                  <c:v>0.77022599999999997</c:v>
                </c:pt>
                <c:pt idx="465" formatCode="0%">
                  <c:v>0.76030200000000003</c:v>
                </c:pt>
                <c:pt idx="466" formatCode="0%">
                  <c:v>0.76910299999999998</c:v>
                </c:pt>
                <c:pt idx="467" formatCode="0%">
                  <c:v>0.76709700000000003</c:v>
                </c:pt>
                <c:pt idx="468" formatCode="0%">
                  <c:v>0.77616399999999997</c:v>
                </c:pt>
                <c:pt idx="469" formatCode="0%">
                  <c:v>0.77551800000000004</c:v>
                </c:pt>
                <c:pt idx="470" formatCode="0%">
                  <c:v>0.78500700000000001</c:v>
                </c:pt>
                <c:pt idx="471" formatCode="0%">
                  <c:v>0.80239300000000002</c:v>
                </c:pt>
                <c:pt idx="472" formatCode="0%">
                  <c:v>0.80360200000000004</c:v>
                </c:pt>
                <c:pt idx="473" formatCode="0%">
                  <c:v>0.80292300000000005</c:v>
                </c:pt>
                <c:pt idx="474" formatCode="0%">
                  <c:v>0.81769599999999998</c:v>
                </c:pt>
                <c:pt idx="475" formatCode="0%">
                  <c:v>0.81726100000000002</c:v>
                </c:pt>
                <c:pt idx="476" formatCode="0%">
                  <c:v>0.81982299999999997</c:v>
                </c:pt>
                <c:pt idx="477" formatCode="0%">
                  <c:v>0.80320999999999998</c:v>
                </c:pt>
                <c:pt idx="478" formatCode="0%">
                  <c:v>0.79869999999999997</c:v>
                </c:pt>
                <c:pt idx="479" formatCode="0%">
                  <c:v>0.80258300000000005</c:v>
                </c:pt>
                <c:pt idx="480" formatCode="0%">
                  <c:v>0.78600800000000004</c:v>
                </c:pt>
                <c:pt idx="481" formatCode="0%">
                  <c:v>0.781748</c:v>
                </c:pt>
                <c:pt idx="482" formatCode="0%">
                  <c:v>0.79327700000000001</c:v>
                </c:pt>
                <c:pt idx="483" formatCode="0%">
                  <c:v>0.80581199999999997</c:v>
                </c:pt>
                <c:pt idx="484" formatCode="0%">
                  <c:v>0.81674800000000003</c:v>
                </c:pt>
                <c:pt idx="485" formatCode="0%">
                  <c:v>0.82388399999999995</c:v>
                </c:pt>
                <c:pt idx="486" formatCode="0%">
                  <c:v>0.81523599999999996</c:v>
                </c:pt>
                <c:pt idx="487" formatCode="0%">
                  <c:v>0.82029600000000003</c:v>
                </c:pt>
                <c:pt idx="488" formatCode="0%">
                  <c:v>0.80447000000000002</c:v>
                </c:pt>
                <c:pt idx="489" formatCode="0%">
                  <c:v>0.79339400000000004</c:v>
                </c:pt>
                <c:pt idx="490" formatCode="0%">
                  <c:v>0.78691599999999995</c:v>
                </c:pt>
                <c:pt idx="491" formatCode="0%">
                  <c:v>0.79910000000000003</c:v>
                </c:pt>
                <c:pt idx="492" formatCode="0%">
                  <c:v>0.802172</c:v>
                </c:pt>
                <c:pt idx="493" formatCode="0%">
                  <c:v>0.81113599999999997</c:v>
                </c:pt>
                <c:pt idx="494" formatCode="0%">
                  <c:v>0.83544099999999999</c:v>
                </c:pt>
                <c:pt idx="495" formatCode="0%">
                  <c:v>0.838418</c:v>
                </c:pt>
                <c:pt idx="496" formatCode="0%">
                  <c:v>0.86174099999999998</c:v>
                </c:pt>
                <c:pt idx="497" formatCode="0%">
                  <c:v>0.86158100000000004</c:v>
                </c:pt>
                <c:pt idx="498" formatCode="0%">
                  <c:v>0.85184199999999999</c:v>
                </c:pt>
                <c:pt idx="499" formatCode="0%">
                  <c:v>0.83869700000000003</c:v>
                </c:pt>
                <c:pt idx="500" formatCode="0%">
                  <c:v>0.81765699999999997</c:v>
                </c:pt>
                <c:pt idx="501" formatCode="0%">
                  <c:v>0.81251399999999996</c:v>
                </c:pt>
                <c:pt idx="502" formatCode="0%">
                  <c:v>0.819076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9-4BFB-B801-E3B316A0342A}"/>
            </c:ext>
          </c:extLst>
        </c:ser>
        <c:ser>
          <c:idx val="0"/>
          <c:order val="1"/>
          <c:tx>
            <c:v>JIP_Po_ukonceni_65</c:v>
          </c:tx>
          <c:spPr>
            <a:ln>
              <a:noFill/>
              <a:prstDash val="sysDash"/>
            </a:ln>
          </c:spPr>
          <c:marker>
            <c:symbol val="none"/>
          </c:marker>
          <c:trendline>
            <c:spPr>
              <a:ln w="19050">
                <a:solidFill>
                  <a:srgbClr val="4472C4"/>
                </a:solidFill>
                <a:prstDash val="sysDash"/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181" formatCode="0%">
                  <c:v>1</c:v>
                </c:pt>
                <c:pt idx="182" formatCode="0%">
                  <c:v>0.96531100000000003</c:v>
                </c:pt>
                <c:pt idx="183" formatCode="0%">
                  <c:v>0.93544899999999997</c:v>
                </c:pt>
                <c:pt idx="184" formatCode="0%">
                  <c:v>0.936114</c:v>
                </c:pt>
                <c:pt idx="185" formatCode="0%">
                  <c:v>0.93963799999999997</c:v>
                </c:pt>
                <c:pt idx="186" formatCode="0%">
                  <c:v>0.93949199999999999</c:v>
                </c:pt>
                <c:pt idx="187" formatCode="0%">
                  <c:v>0.94030999999999998</c:v>
                </c:pt>
                <c:pt idx="188" formatCode="0%">
                  <c:v>0.91503900000000005</c:v>
                </c:pt>
                <c:pt idx="189" formatCode="0%">
                  <c:v>0.94759099999999996</c:v>
                </c:pt>
                <c:pt idx="190" formatCode="0%">
                  <c:v>0.95575100000000002</c:v>
                </c:pt>
                <c:pt idx="191" formatCode="0%">
                  <c:v>0.95586199999999999</c:v>
                </c:pt>
                <c:pt idx="192" formatCode="0%">
                  <c:v>0.91586900000000004</c:v>
                </c:pt>
                <c:pt idx="193" formatCode="0%">
                  <c:v>0.87738099999999997</c:v>
                </c:pt>
                <c:pt idx="194" formatCode="0%">
                  <c:v>0.87888999999999995</c:v>
                </c:pt>
                <c:pt idx="195" formatCode="0%">
                  <c:v>0.90141099999999996</c:v>
                </c:pt>
                <c:pt idx="196" formatCode="0%">
                  <c:v>0.90035799999999999</c:v>
                </c:pt>
                <c:pt idx="197" formatCode="0%">
                  <c:v>0.90148399999999995</c:v>
                </c:pt>
                <c:pt idx="198" formatCode="0%">
                  <c:v>0.90232500000000004</c:v>
                </c:pt>
                <c:pt idx="199" formatCode="0%">
                  <c:v>0.94082699999999997</c:v>
                </c:pt>
                <c:pt idx="200" formatCode="0%">
                  <c:v>0.98124199999999995</c:v>
                </c:pt>
                <c:pt idx="201" formatCode="0%">
                  <c:v>0.945295</c:v>
                </c:pt>
                <c:pt idx="202" formatCode="0%">
                  <c:v>0.945017</c:v>
                </c:pt>
                <c:pt idx="203" formatCode="0%">
                  <c:v>0.91182600000000003</c:v>
                </c:pt>
                <c:pt idx="204" formatCode="0%">
                  <c:v>0.92880200000000002</c:v>
                </c:pt>
                <c:pt idx="205" formatCode="0%">
                  <c:v>0.92845299999999997</c:v>
                </c:pt>
                <c:pt idx="206" formatCode="0%">
                  <c:v>0.91122599999999998</c:v>
                </c:pt>
                <c:pt idx="207" formatCode="0%">
                  <c:v>0.90905400000000003</c:v>
                </c:pt>
                <c:pt idx="208" formatCode="0%">
                  <c:v>0.94736600000000004</c:v>
                </c:pt>
                <c:pt idx="209" formatCode="0%">
                  <c:v>0.94703400000000004</c:v>
                </c:pt>
                <c:pt idx="210" formatCode="0%">
                  <c:v>0.95176799999999995</c:v>
                </c:pt>
                <c:pt idx="211" formatCode="0%">
                  <c:v>0.95184599999999997</c:v>
                </c:pt>
                <c:pt idx="212" formatCode="0%">
                  <c:v>0.94920800000000005</c:v>
                </c:pt>
                <c:pt idx="213" formatCode="0%">
                  <c:v>0.95182900000000004</c:v>
                </c:pt>
                <c:pt idx="214" formatCode="0%">
                  <c:v>0.95064599999999999</c:v>
                </c:pt>
                <c:pt idx="215" formatCode="0%">
                  <c:v>0.93238900000000002</c:v>
                </c:pt>
                <c:pt idx="216" formatCode="0%">
                  <c:v>0.92581400000000003</c:v>
                </c:pt>
                <c:pt idx="217" formatCode="0%">
                  <c:v>0.96579700000000002</c:v>
                </c:pt>
                <c:pt idx="218" formatCode="0%">
                  <c:v>0.96614</c:v>
                </c:pt>
                <c:pt idx="219" formatCode="0%">
                  <c:v>0.95230700000000001</c:v>
                </c:pt>
                <c:pt idx="220" formatCode="0%">
                  <c:v>0.96865100000000004</c:v>
                </c:pt>
                <c:pt idx="221" formatCode="0%">
                  <c:v>0.941195</c:v>
                </c:pt>
                <c:pt idx="222" formatCode="0%">
                  <c:v>0.94530599999999998</c:v>
                </c:pt>
                <c:pt idx="223" formatCode="0%">
                  <c:v>0.94581499999999996</c:v>
                </c:pt>
                <c:pt idx="224" formatCode="0%">
                  <c:v>0.94463900000000001</c:v>
                </c:pt>
                <c:pt idx="225" formatCode="0%">
                  <c:v>0.91878499999999996</c:v>
                </c:pt>
                <c:pt idx="226" formatCode="0%">
                  <c:v>0.92168399999999995</c:v>
                </c:pt>
                <c:pt idx="227" formatCode="0%">
                  <c:v>0.91359699999999999</c:v>
                </c:pt>
                <c:pt idx="228" formatCode="0%">
                  <c:v>0.92901500000000004</c:v>
                </c:pt>
                <c:pt idx="229" formatCode="0%">
                  <c:v>0.91977799999999998</c:v>
                </c:pt>
                <c:pt idx="230" formatCode="0%">
                  <c:v>0.89951300000000001</c:v>
                </c:pt>
                <c:pt idx="231" formatCode="0%">
                  <c:v>0.89486100000000002</c:v>
                </c:pt>
                <c:pt idx="232" formatCode="0%">
                  <c:v>0.91829000000000005</c:v>
                </c:pt>
                <c:pt idx="233" formatCode="0%">
                  <c:v>0.88333300000000003</c:v>
                </c:pt>
                <c:pt idx="234" formatCode="0%">
                  <c:v>0.88218099999999999</c:v>
                </c:pt>
                <c:pt idx="235" formatCode="0%">
                  <c:v>0.89216399999999996</c:v>
                </c:pt>
                <c:pt idx="236" formatCode="0%">
                  <c:v>0.88317100000000004</c:v>
                </c:pt>
                <c:pt idx="237" formatCode="0%">
                  <c:v>0.87523200000000001</c:v>
                </c:pt>
                <c:pt idx="238" formatCode="0%">
                  <c:v>0.87397000000000002</c:v>
                </c:pt>
                <c:pt idx="239" formatCode="0%">
                  <c:v>0.859209</c:v>
                </c:pt>
                <c:pt idx="240" formatCode="0%">
                  <c:v>0.91034599999999999</c:v>
                </c:pt>
                <c:pt idx="241" formatCode="0%">
                  <c:v>0.89781900000000003</c:v>
                </c:pt>
                <c:pt idx="242" formatCode="0%">
                  <c:v>0.89612400000000003</c:v>
                </c:pt>
                <c:pt idx="243" formatCode="0%">
                  <c:v>0.92408199999999996</c:v>
                </c:pt>
                <c:pt idx="244" formatCode="0%">
                  <c:v>0.95656600000000003</c:v>
                </c:pt>
                <c:pt idx="245" formatCode="0%">
                  <c:v>0.93911800000000001</c:v>
                </c:pt>
                <c:pt idx="246" formatCode="0%">
                  <c:v>0.938751</c:v>
                </c:pt>
                <c:pt idx="247" formatCode="0%">
                  <c:v>0.90198299999999998</c:v>
                </c:pt>
                <c:pt idx="248" formatCode="0%">
                  <c:v>0.924068</c:v>
                </c:pt>
                <c:pt idx="249" formatCode="0%">
                  <c:v>0.92419399999999996</c:v>
                </c:pt>
                <c:pt idx="250" formatCode="0%">
                  <c:v>0.92546399999999995</c:v>
                </c:pt>
                <c:pt idx="251" formatCode="0%">
                  <c:v>0.92574299999999998</c:v>
                </c:pt>
                <c:pt idx="252" formatCode="0%">
                  <c:v>0.93271999999999999</c:v>
                </c:pt>
                <c:pt idx="253" formatCode="0%">
                  <c:v>0.94058799999999998</c:v>
                </c:pt>
                <c:pt idx="254" formatCode="0%">
                  <c:v>0.97703099999999998</c:v>
                </c:pt>
                <c:pt idx="255" formatCode="0%">
                  <c:v>0.96796300000000002</c:v>
                </c:pt>
                <c:pt idx="256" formatCode="0%">
                  <c:v>0.96575900000000003</c:v>
                </c:pt>
                <c:pt idx="257" formatCode="0%">
                  <c:v>0.97615799999999997</c:v>
                </c:pt>
                <c:pt idx="258" formatCode="0%">
                  <c:v>0.96236299999999997</c:v>
                </c:pt>
                <c:pt idx="259" formatCode="0%">
                  <c:v>0.97325499999999998</c:v>
                </c:pt>
                <c:pt idx="260" formatCode="0%">
                  <c:v>0.97237399999999996</c:v>
                </c:pt>
                <c:pt idx="261" formatCode="0%">
                  <c:v>0.96974300000000002</c:v>
                </c:pt>
                <c:pt idx="262" formatCode="0%">
                  <c:v>0.96409</c:v>
                </c:pt>
                <c:pt idx="263" formatCode="0%">
                  <c:v>0.96600900000000001</c:v>
                </c:pt>
                <c:pt idx="264" formatCode="0%">
                  <c:v>0.94534399999999996</c:v>
                </c:pt>
                <c:pt idx="265" formatCode="0%">
                  <c:v>0.96375500000000003</c:v>
                </c:pt>
                <c:pt idx="266" formatCode="0%">
                  <c:v>0.93809100000000001</c:v>
                </c:pt>
                <c:pt idx="267" formatCode="0%">
                  <c:v>0.93135599999999996</c:v>
                </c:pt>
                <c:pt idx="268" formatCode="0%">
                  <c:v>0.880104</c:v>
                </c:pt>
                <c:pt idx="269" formatCode="0%">
                  <c:v>0.88210999999999995</c:v>
                </c:pt>
                <c:pt idx="270" formatCode="0%">
                  <c:v>0.86150199999999999</c:v>
                </c:pt>
                <c:pt idx="271" formatCode="0%">
                  <c:v>0.86433400000000005</c:v>
                </c:pt>
                <c:pt idx="272" formatCode="0%">
                  <c:v>0.84473500000000001</c:v>
                </c:pt>
                <c:pt idx="273" formatCode="0%">
                  <c:v>0.86247600000000002</c:v>
                </c:pt>
                <c:pt idx="274" formatCode="0%">
                  <c:v>0.80751799999999996</c:v>
                </c:pt>
                <c:pt idx="275" formatCode="0%">
                  <c:v>0.91189600000000004</c:v>
                </c:pt>
                <c:pt idx="276" formatCode="0%">
                  <c:v>0.92264699999999999</c:v>
                </c:pt>
                <c:pt idx="277" formatCode="0%">
                  <c:v>0.90649999999999997</c:v>
                </c:pt>
                <c:pt idx="278" formatCode="0%">
                  <c:v>0.88729599999999997</c:v>
                </c:pt>
                <c:pt idx="279" formatCode="0%">
                  <c:v>0.86478100000000002</c:v>
                </c:pt>
                <c:pt idx="280" formatCode="0%">
                  <c:v>0.90001399999999998</c:v>
                </c:pt>
                <c:pt idx="281" formatCode="0%">
                  <c:v>0.94767400000000002</c:v>
                </c:pt>
                <c:pt idx="282" formatCode="0%">
                  <c:v>0.94823299999999999</c:v>
                </c:pt>
                <c:pt idx="283" formatCode="0%">
                  <c:v>0.93708800000000003</c:v>
                </c:pt>
                <c:pt idx="284" formatCode="0%">
                  <c:v>0.95315499999999997</c:v>
                </c:pt>
                <c:pt idx="285" formatCode="0%">
                  <c:v>1</c:v>
                </c:pt>
                <c:pt idx="286" formatCode="0%">
                  <c:v>1</c:v>
                </c:pt>
                <c:pt idx="287" formatCode="0%">
                  <c:v>1</c:v>
                </c:pt>
                <c:pt idx="288" formatCode="0%">
                  <c:v>1</c:v>
                </c:pt>
                <c:pt idx="289" formatCode="0%">
                  <c:v>1</c:v>
                </c:pt>
                <c:pt idx="290" formatCode="0%">
                  <c:v>0.93615400000000004</c:v>
                </c:pt>
                <c:pt idx="291" formatCode="0%">
                  <c:v>0.87448499999999996</c:v>
                </c:pt>
                <c:pt idx="292" formatCode="0%">
                  <c:v>0.81379999999999997</c:v>
                </c:pt>
                <c:pt idx="293" formatCode="0%">
                  <c:v>0.81379999999999997</c:v>
                </c:pt>
                <c:pt idx="294" formatCode="0%">
                  <c:v>0.81379999999999997</c:v>
                </c:pt>
                <c:pt idx="295" formatCode="0%">
                  <c:v>0.81379999999999997</c:v>
                </c:pt>
                <c:pt idx="296" formatCode="0%">
                  <c:v>0.81524300000000005</c:v>
                </c:pt>
                <c:pt idx="297" formatCode="0%">
                  <c:v>0.87953099999999995</c:v>
                </c:pt>
                <c:pt idx="298" formatCode="0%">
                  <c:v>0.87953099999999995</c:v>
                </c:pt>
                <c:pt idx="299" formatCode="0%">
                  <c:v>1</c:v>
                </c:pt>
                <c:pt idx="300" formatCode="0%">
                  <c:v>1</c:v>
                </c:pt>
                <c:pt idx="301" formatCode="0%">
                  <c:v>1</c:v>
                </c:pt>
                <c:pt idx="302" formatCode="0%">
                  <c:v>1</c:v>
                </c:pt>
                <c:pt idx="303" formatCode="0%">
                  <c:v>1</c:v>
                </c:pt>
                <c:pt idx="304" formatCode="0%">
                  <c:v>0</c:v>
                </c:pt>
                <c:pt idx="305" formatCode="0%">
                  <c:v>0</c:v>
                </c:pt>
                <c:pt idx="306" formatCode="0%">
                  <c:v>0</c:v>
                </c:pt>
                <c:pt idx="307" formatCode="0%">
                  <c:v>0</c:v>
                </c:pt>
                <c:pt idx="308" formatCode="0%">
                  <c:v>0</c:v>
                </c:pt>
                <c:pt idx="309" formatCode="0%">
                  <c:v>1</c:v>
                </c:pt>
                <c:pt idx="310" formatCode="0%">
                  <c:v>1</c:v>
                </c:pt>
                <c:pt idx="311" formatCode="0%">
                  <c:v>1</c:v>
                </c:pt>
                <c:pt idx="312" formatCode="0%">
                  <c:v>1</c:v>
                </c:pt>
                <c:pt idx="313" formatCode="0%">
                  <c:v>1</c:v>
                </c:pt>
                <c:pt idx="314" formatCode="0%">
                  <c:v>1</c:v>
                </c:pt>
                <c:pt idx="315" formatCode="0%">
                  <c:v>1</c:v>
                </c:pt>
                <c:pt idx="316" formatCode="0%">
                  <c:v>0.88118099999999999</c:v>
                </c:pt>
                <c:pt idx="317" formatCode="0%">
                  <c:v>0.88118099999999999</c:v>
                </c:pt>
                <c:pt idx="318" formatCode="0%">
                  <c:v>0.76451800000000003</c:v>
                </c:pt>
                <c:pt idx="319" formatCode="0%">
                  <c:v>0.53051300000000001</c:v>
                </c:pt>
                <c:pt idx="320" formatCode="0%">
                  <c:v>0.53051300000000001</c:v>
                </c:pt>
                <c:pt idx="321" formatCode="0%">
                  <c:v>0.77215100000000003</c:v>
                </c:pt>
                <c:pt idx="322" formatCode="0%">
                  <c:v>0.77215100000000003</c:v>
                </c:pt>
                <c:pt idx="323" formatCode="0%">
                  <c:v>0.77573700000000001</c:v>
                </c:pt>
                <c:pt idx="324" formatCode="0%">
                  <c:v>0.77573700000000001</c:v>
                </c:pt>
                <c:pt idx="325" formatCode="0%">
                  <c:v>0.77866599999999997</c:v>
                </c:pt>
                <c:pt idx="326" formatCode="0%">
                  <c:v>0.77866599999999997</c:v>
                </c:pt>
                <c:pt idx="327" formatCode="0%">
                  <c:v>0.77866599999999997</c:v>
                </c:pt>
                <c:pt idx="328" formatCode="0%">
                  <c:v>0.56920499999999996</c:v>
                </c:pt>
                <c:pt idx="329" formatCode="0%">
                  <c:v>0.78517400000000004</c:v>
                </c:pt>
                <c:pt idx="330" formatCode="0%">
                  <c:v>0.92903800000000003</c:v>
                </c:pt>
                <c:pt idx="331" formatCode="0%">
                  <c:v>0.895173</c:v>
                </c:pt>
                <c:pt idx="332" formatCode="0%">
                  <c:v>0.95870900000000003</c:v>
                </c:pt>
                <c:pt idx="333" formatCode="0%">
                  <c:v>0.87655499999999997</c:v>
                </c:pt>
                <c:pt idx="334" formatCode="0%">
                  <c:v>0.87655499999999997</c:v>
                </c:pt>
                <c:pt idx="335" formatCode="0%">
                  <c:v>0.84607699999999997</c:v>
                </c:pt>
                <c:pt idx="336" formatCode="0%">
                  <c:v>0.79525900000000005</c:v>
                </c:pt>
                <c:pt idx="337" formatCode="0%">
                  <c:v>0.79683899999999996</c:v>
                </c:pt>
                <c:pt idx="338" formatCode="0%">
                  <c:v>0.79796299999999998</c:v>
                </c:pt>
                <c:pt idx="339" formatCode="0%">
                  <c:v>0.70209600000000005</c:v>
                </c:pt>
                <c:pt idx="340" formatCode="0%">
                  <c:v>0.90198</c:v>
                </c:pt>
                <c:pt idx="341" formatCode="0%">
                  <c:v>0.86959600000000004</c:v>
                </c:pt>
                <c:pt idx="342" formatCode="0%">
                  <c:v>0.86959600000000004</c:v>
                </c:pt>
                <c:pt idx="343" formatCode="0%">
                  <c:v>0.73995999999999995</c:v>
                </c:pt>
                <c:pt idx="344" formatCode="0%">
                  <c:v>0.74145799999999995</c:v>
                </c:pt>
                <c:pt idx="345" formatCode="0%">
                  <c:v>0.80654300000000001</c:v>
                </c:pt>
                <c:pt idx="346" formatCode="0%">
                  <c:v>0.80716500000000002</c:v>
                </c:pt>
                <c:pt idx="347" formatCode="0%">
                  <c:v>0.80716500000000002</c:v>
                </c:pt>
                <c:pt idx="348" formatCode="0%">
                  <c:v>0.872305</c:v>
                </c:pt>
                <c:pt idx="349" formatCode="0%">
                  <c:v>0.90435399999999999</c:v>
                </c:pt>
                <c:pt idx="350" formatCode="0%">
                  <c:v>1</c:v>
                </c:pt>
                <c:pt idx="351" formatCode="0%">
                  <c:v>1</c:v>
                </c:pt>
                <c:pt idx="352" formatCode="0%">
                  <c:v>0.91984200000000005</c:v>
                </c:pt>
                <c:pt idx="353" formatCode="0%">
                  <c:v>0.89634000000000003</c:v>
                </c:pt>
                <c:pt idx="354" formatCode="0%">
                  <c:v>0.89634000000000003</c:v>
                </c:pt>
                <c:pt idx="355" formatCode="0%">
                  <c:v>0.88347799999999999</c:v>
                </c:pt>
                <c:pt idx="356" formatCode="0%">
                  <c:v>0.89668700000000001</c:v>
                </c:pt>
                <c:pt idx="357" formatCode="0%">
                  <c:v>0.84130899999999997</c:v>
                </c:pt>
                <c:pt idx="358" formatCode="0%">
                  <c:v>0.84162700000000001</c:v>
                </c:pt>
                <c:pt idx="359" formatCode="0%">
                  <c:v>0.92109200000000002</c:v>
                </c:pt>
                <c:pt idx="360" formatCode="0%">
                  <c:v>0.92691299999999999</c:v>
                </c:pt>
                <c:pt idx="361" formatCode="0%">
                  <c:v>0.92691299999999999</c:v>
                </c:pt>
                <c:pt idx="362" formatCode="0%">
                  <c:v>0.92691299999999999</c:v>
                </c:pt>
                <c:pt idx="363" formatCode="0%">
                  <c:v>0.87844</c:v>
                </c:pt>
                <c:pt idx="364" formatCode="0%">
                  <c:v>0.93962599999999996</c:v>
                </c:pt>
                <c:pt idx="365" formatCode="0%">
                  <c:v>0.96396000000000004</c:v>
                </c:pt>
                <c:pt idx="366" formatCode="0%">
                  <c:v>0.96404000000000001</c:v>
                </c:pt>
                <c:pt idx="367" formatCode="0%">
                  <c:v>0.977746</c:v>
                </c:pt>
                <c:pt idx="368" formatCode="0%">
                  <c:v>0.977746</c:v>
                </c:pt>
                <c:pt idx="369" formatCode="0%">
                  <c:v>0.982209</c:v>
                </c:pt>
                <c:pt idx="370" formatCode="0%">
                  <c:v>0.98632900000000001</c:v>
                </c:pt>
                <c:pt idx="371" formatCode="0%">
                  <c:v>0.97468299999999997</c:v>
                </c:pt>
                <c:pt idx="372" formatCode="0%">
                  <c:v>0.96781600000000001</c:v>
                </c:pt>
                <c:pt idx="373" formatCode="0%">
                  <c:v>0.94699100000000003</c:v>
                </c:pt>
                <c:pt idx="374" formatCode="0%">
                  <c:v>0.92450399999999999</c:v>
                </c:pt>
                <c:pt idx="375" formatCode="0%">
                  <c:v>0.91205199999999997</c:v>
                </c:pt>
                <c:pt idx="376" formatCode="0%">
                  <c:v>0.89038700000000004</c:v>
                </c:pt>
                <c:pt idx="377" formatCode="0%">
                  <c:v>0.84489800000000004</c:v>
                </c:pt>
                <c:pt idx="378" formatCode="0%">
                  <c:v>0.84352300000000002</c:v>
                </c:pt>
                <c:pt idx="379" formatCode="0%">
                  <c:v>0.85524</c:v>
                </c:pt>
                <c:pt idx="380" formatCode="0%">
                  <c:v>0.87607299999999999</c:v>
                </c:pt>
                <c:pt idx="381" formatCode="0%">
                  <c:v>0.86136199999999996</c:v>
                </c:pt>
                <c:pt idx="382" formatCode="0%">
                  <c:v>0.85154799999999997</c:v>
                </c:pt>
                <c:pt idx="383" formatCode="0%">
                  <c:v>0.84036299999999997</c:v>
                </c:pt>
                <c:pt idx="384" formatCode="0%">
                  <c:v>0.82753299999999996</c:v>
                </c:pt>
                <c:pt idx="385" formatCode="0%">
                  <c:v>0.78499300000000005</c:v>
                </c:pt>
                <c:pt idx="386" formatCode="0%">
                  <c:v>0.74232900000000002</c:v>
                </c:pt>
                <c:pt idx="387" formatCode="0%">
                  <c:v>0.69161399999999995</c:v>
                </c:pt>
                <c:pt idx="388" formatCode="0%">
                  <c:v>0.70054300000000003</c:v>
                </c:pt>
                <c:pt idx="389" formatCode="0%">
                  <c:v>0.80505499999999997</c:v>
                </c:pt>
                <c:pt idx="390" formatCode="0%">
                  <c:v>0.82968200000000003</c:v>
                </c:pt>
                <c:pt idx="391" formatCode="0%">
                  <c:v>0.85422699999999996</c:v>
                </c:pt>
                <c:pt idx="392" formatCode="0%">
                  <c:v>0.92454599999999998</c:v>
                </c:pt>
                <c:pt idx="393" formatCode="0%">
                  <c:v>0.91515899999999994</c:v>
                </c:pt>
                <c:pt idx="394" formatCode="0%">
                  <c:v>0.92297899999999999</c:v>
                </c:pt>
                <c:pt idx="395" formatCode="0%">
                  <c:v>0.92945299999999997</c:v>
                </c:pt>
                <c:pt idx="396" formatCode="0%">
                  <c:v>0.94369099999999995</c:v>
                </c:pt>
                <c:pt idx="397" formatCode="0%">
                  <c:v>0.91561700000000001</c:v>
                </c:pt>
                <c:pt idx="398" formatCode="0%">
                  <c:v>0.89156400000000002</c:v>
                </c:pt>
                <c:pt idx="399" formatCode="0%">
                  <c:v>0.83160299999999998</c:v>
                </c:pt>
                <c:pt idx="400" formatCode="0%">
                  <c:v>0.80382399999999998</c:v>
                </c:pt>
                <c:pt idx="401" formatCode="0%">
                  <c:v>0.813307</c:v>
                </c:pt>
                <c:pt idx="402" formatCode="0%">
                  <c:v>0.82324699999999995</c:v>
                </c:pt>
                <c:pt idx="403" formatCode="0%">
                  <c:v>0.82344200000000001</c:v>
                </c:pt>
                <c:pt idx="404" formatCode="0%">
                  <c:v>0.790516</c:v>
                </c:pt>
                <c:pt idx="405" formatCode="0%">
                  <c:v>0.83914699999999998</c:v>
                </c:pt>
                <c:pt idx="406" formatCode="0%">
                  <c:v>0.88681399999999999</c:v>
                </c:pt>
                <c:pt idx="407" formatCode="0%">
                  <c:v>0.90462799999999999</c:v>
                </c:pt>
                <c:pt idx="408" formatCode="0%">
                  <c:v>0.880158</c:v>
                </c:pt>
                <c:pt idx="409" formatCode="0%">
                  <c:v>0.88238099999999997</c:v>
                </c:pt>
                <c:pt idx="410" formatCode="0%">
                  <c:v>0.88106200000000001</c:v>
                </c:pt>
                <c:pt idx="411" formatCode="0%">
                  <c:v>0.88583100000000004</c:v>
                </c:pt>
                <c:pt idx="412" formatCode="0%">
                  <c:v>0.83380500000000002</c:v>
                </c:pt>
                <c:pt idx="413" formatCode="0%">
                  <c:v>0.80216200000000004</c:v>
                </c:pt>
                <c:pt idx="414" formatCode="0%">
                  <c:v>0.80108400000000002</c:v>
                </c:pt>
                <c:pt idx="415" formatCode="0%">
                  <c:v>0.77924499999999997</c:v>
                </c:pt>
                <c:pt idx="416" formatCode="0%">
                  <c:v>0.77413900000000002</c:v>
                </c:pt>
                <c:pt idx="417" formatCode="0%">
                  <c:v>0.78341300000000003</c:v>
                </c:pt>
                <c:pt idx="418" formatCode="0%">
                  <c:v>0.79167299999999996</c:v>
                </c:pt>
                <c:pt idx="419" formatCode="0%">
                  <c:v>0.83534900000000001</c:v>
                </c:pt>
                <c:pt idx="420" formatCode="0%">
                  <c:v>0.84889300000000001</c:v>
                </c:pt>
                <c:pt idx="421" formatCode="0%">
                  <c:v>0.83600399999999997</c:v>
                </c:pt>
                <c:pt idx="422" formatCode="0%">
                  <c:v>0.850526</c:v>
                </c:pt>
                <c:pt idx="423" formatCode="0%">
                  <c:v>0.84166700000000005</c:v>
                </c:pt>
                <c:pt idx="424" formatCode="0%">
                  <c:v>0.84832700000000005</c:v>
                </c:pt>
                <c:pt idx="425" formatCode="0%">
                  <c:v>0.85639799999999999</c:v>
                </c:pt>
                <c:pt idx="426" formatCode="0%">
                  <c:v>0.85204999999999997</c:v>
                </c:pt>
                <c:pt idx="427" formatCode="0%">
                  <c:v>0.82751600000000003</c:v>
                </c:pt>
                <c:pt idx="428" formatCode="0%">
                  <c:v>0.85452099999999998</c:v>
                </c:pt>
                <c:pt idx="429" formatCode="0%">
                  <c:v>0.85604599999999997</c:v>
                </c:pt>
                <c:pt idx="430" formatCode="0%">
                  <c:v>0.88125600000000004</c:v>
                </c:pt>
                <c:pt idx="431" formatCode="0%">
                  <c:v>0.86323799999999995</c:v>
                </c:pt>
                <c:pt idx="432" formatCode="0%">
                  <c:v>0.87004899999999996</c:v>
                </c:pt>
                <c:pt idx="433" formatCode="0%">
                  <c:v>0.871228</c:v>
                </c:pt>
                <c:pt idx="434" formatCode="0%">
                  <c:v>0.88125500000000001</c:v>
                </c:pt>
                <c:pt idx="435" formatCode="0%">
                  <c:v>0.873359</c:v>
                </c:pt>
                <c:pt idx="436" formatCode="0%">
                  <c:v>0.87479099999999999</c:v>
                </c:pt>
                <c:pt idx="437" formatCode="0%">
                  <c:v>0.84739500000000001</c:v>
                </c:pt>
                <c:pt idx="438" formatCode="0%">
                  <c:v>0.84880699999999998</c:v>
                </c:pt>
                <c:pt idx="439" formatCode="0%">
                  <c:v>0.832785</c:v>
                </c:pt>
                <c:pt idx="440" formatCode="0%">
                  <c:v>0.83966700000000005</c:v>
                </c:pt>
                <c:pt idx="441" formatCode="0%">
                  <c:v>0.820631</c:v>
                </c:pt>
                <c:pt idx="442" formatCode="0%">
                  <c:v>0.80823500000000004</c:v>
                </c:pt>
                <c:pt idx="443" formatCode="0%">
                  <c:v>0.80936600000000003</c:v>
                </c:pt>
                <c:pt idx="444" formatCode="0%">
                  <c:v>0.83914299999999997</c:v>
                </c:pt>
                <c:pt idx="445" formatCode="0%">
                  <c:v>0.83840899999999996</c:v>
                </c:pt>
                <c:pt idx="446" formatCode="0%">
                  <c:v>0.84279899999999996</c:v>
                </c:pt>
                <c:pt idx="447" formatCode="0%">
                  <c:v>0.83215099999999997</c:v>
                </c:pt>
                <c:pt idx="448" formatCode="0%">
                  <c:v>0.85135300000000003</c:v>
                </c:pt>
                <c:pt idx="449" formatCode="0%">
                  <c:v>0.85566299999999995</c:v>
                </c:pt>
                <c:pt idx="450" formatCode="0%">
                  <c:v>0.85659200000000002</c:v>
                </c:pt>
                <c:pt idx="451" formatCode="0%">
                  <c:v>0.84423700000000002</c:v>
                </c:pt>
                <c:pt idx="452" formatCode="0%">
                  <c:v>0.83984499999999995</c:v>
                </c:pt>
                <c:pt idx="453" formatCode="0%">
                  <c:v>0.84009900000000004</c:v>
                </c:pt>
                <c:pt idx="454" formatCode="0%">
                  <c:v>0.84726400000000002</c:v>
                </c:pt>
                <c:pt idx="455" formatCode="0%">
                  <c:v>0.84626500000000004</c:v>
                </c:pt>
                <c:pt idx="456" formatCode="0%">
                  <c:v>0.84824100000000002</c:v>
                </c:pt>
                <c:pt idx="457" formatCode="0%">
                  <c:v>0.84457400000000005</c:v>
                </c:pt>
                <c:pt idx="458" formatCode="0%">
                  <c:v>0.86136599999999997</c:v>
                </c:pt>
                <c:pt idx="459" formatCode="0%">
                  <c:v>0.86711700000000003</c:v>
                </c:pt>
                <c:pt idx="460" formatCode="0%">
                  <c:v>0.86705699999999997</c:v>
                </c:pt>
                <c:pt idx="461" formatCode="0%">
                  <c:v>0.85720799999999997</c:v>
                </c:pt>
                <c:pt idx="462" formatCode="0%">
                  <c:v>0.84344300000000005</c:v>
                </c:pt>
                <c:pt idx="463" formatCode="0%">
                  <c:v>0.848661</c:v>
                </c:pt>
                <c:pt idx="464" formatCode="0%">
                  <c:v>0.84133400000000003</c:v>
                </c:pt>
                <c:pt idx="465" formatCode="0%">
                  <c:v>0.822488</c:v>
                </c:pt>
                <c:pt idx="466" formatCode="0%">
                  <c:v>0.82701999999999998</c:v>
                </c:pt>
                <c:pt idx="467" formatCode="0%">
                  <c:v>0.828685</c:v>
                </c:pt>
                <c:pt idx="468" formatCode="0%">
                  <c:v>0.82478099999999999</c:v>
                </c:pt>
                <c:pt idx="469" formatCode="0%">
                  <c:v>0.83521199999999995</c:v>
                </c:pt>
                <c:pt idx="470" formatCode="0%">
                  <c:v>0.83296899999999996</c:v>
                </c:pt>
                <c:pt idx="471" formatCode="0%">
                  <c:v>0.84820200000000001</c:v>
                </c:pt>
                <c:pt idx="472" formatCode="0%">
                  <c:v>0.85217600000000004</c:v>
                </c:pt>
                <c:pt idx="473" formatCode="0%">
                  <c:v>0.85674700000000004</c:v>
                </c:pt>
                <c:pt idx="474" formatCode="0%">
                  <c:v>0.86335300000000004</c:v>
                </c:pt>
                <c:pt idx="475" formatCode="0%">
                  <c:v>0.86224000000000001</c:v>
                </c:pt>
                <c:pt idx="476" formatCode="0%">
                  <c:v>0.85459300000000005</c:v>
                </c:pt>
                <c:pt idx="477" formatCode="0%">
                  <c:v>0.84026100000000004</c:v>
                </c:pt>
                <c:pt idx="478" formatCode="0%">
                  <c:v>0.83384199999999997</c:v>
                </c:pt>
                <c:pt idx="479" formatCode="0%">
                  <c:v>0.83991000000000005</c:v>
                </c:pt>
                <c:pt idx="480" formatCode="0%">
                  <c:v>0.82573700000000005</c:v>
                </c:pt>
                <c:pt idx="481" formatCode="0%">
                  <c:v>0.836368</c:v>
                </c:pt>
                <c:pt idx="482" formatCode="0%">
                  <c:v>0.85777899999999996</c:v>
                </c:pt>
                <c:pt idx="483" formatCode="0%">
                  <c:v>0.86475599999999997</c:v>
                </c:pt>
                <c:pt idx="484" formatCode="0%">
                  <c:v>0.86735700000000004</c:v>
                </c:pt>
                <c:pt idx="485" formatCode="0%">
                  <c:v>0.86952499999999999</c:v>
                </c:pt>
                <c:pt idx="486" formatCode="0%">
                  <c:v>0.85389099999999996</c:v>
                </c:pt>
                <c:pt idx="487" formatCode="0%">
                  <c:v>0.84252700000000003</c:v>
                </c:pt>
                <c:pt idx="488" formatCode="0%">
                  <c:v>0.80917700000000004</c:v>
                </c:pt>
                <c:pt idx="489" formatCode="0%">
                  <c:v>0.78964000000000001</c:v>
                </c:pt>
                <c:pt idx="490" formatCode="0%">
                  <c:v>0.777532</c:v>
                </c:pt>
                <c:pt idx="491" formatCode="0%">
                  <c:v>0.79808999999999997</c:v>
                </c:pt>
                <c:pt idx="492" formatCode="0%">
                  <c:v>0.805871</c:v>
                </c:pt>
                <c:pt idx="493" formatCode="0%">
                  <c:v>0.81132199999999999</c:v>
                </c:pt>
                <c:pt idx="494" formatCode="0%">
                  <c:v>0.83372599999999997</c:v>
                </c:pt>
                <c:pt idx="495" formatCode="0%">
                  <c:v>0.84331</c:v>
                </c:pt>
                <c:pt idx="496" formatCode="0%">
                  <c:v>0.85755099999999995</c:v>
                </c:pt>
                <c:pt idx="497" formatCode="0%">
                  <c:v>0.85413700000000004</c:v>
                </c:pt>
                <c:pt idx="498" formatCode="0%">
                  <c:v>0.84580599999999995</c:v>
                </c:pt>
                <c:pt idx="499" formatCode="0%">
                  <c:v>0.83162899999999995</c:v>
                </c:pt>
                <c:pt idx="500" formatCode="0%">
                  <c:v>0.81784199999999996</c:v>
                </c:pt>
                <c:pt idx="501" formatCode="0%">
                  <c:v>0.82133800000000001</c:v>
                </c:pt>
                <c:pt idx="502" formatCode="0%">
                  <c:v>0.837748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9-4BFB-B801-E3B316A0342A}"/>
            </c:ext>
          </c:extLst>
        </c:ser>
        <c:ser>
          <c:idx val="1"/>
          <c:order val="2"/>
          <c:tx>
            <c:v>JIP_Po_ukonceni_s_posilujici</c:v>
          </c:tx>
          <c:spPr>
            <a:ln>
              <a:noFill/>
            </a:ln>
          </c:spPr>
          <c:marker>
            <c:symbol val="none"/>
          </c:marker>
          <c:trendline>
            <c:spPr>
              <a:ln w="19050">
                <a:solidFill>
                  <a:srgbClr val="70AD47"/>
                </a:solidFill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%">
                  <c:v>1</c:v>
                </c:pt>
                <c:pt idx="427" formatCode="0.00%">
                  <c:v>1</c:v>
                </c:pt>
                <c:pt idx="428" formatCode="0.00%">
                  <c:v>0.80903499999999995</c:v>
                </c:pt>
                <c:pt idx="429" formatCode="0.00%">
                  <c:v>0.82623400000000002</c:v>
                </c:pt>
                <c:pt idx="430" formatCode="0.00%">
                  <c:v>0.84709800000000002</c:v>
                </c:pt>
                <c:pt idx="431" formatCode="0.00%">
                  <c:v>0.85022900000000001</c:v>
                </c:pt>
                <c:pt idx="432" formatCode="0.00%">
                  <c:v>0.86132600000000004</c:v>
                </c:pt>
                <c:pt idx="433" formatCode="0.00%">
                  <c:v>0.87256100000000003</c:v>
                </c:pt>
                <c:pt idx="434" formatCode="0.00%">
                  <c:v>0.82485900000000001</c:v>
                </c:pt>
                <c:pt idx="435" formatCode="0.00%">
                  <c:v>0.94554899999999997</c:v>
                </c:pt>
                <c:pt idx="436" formatCode="0.00%">
                  <c:v>0.90302899999999997</c:v>
                </c:pt>
                <c:pt idx="437" formatCode="0.00%">
                  <c:v>0.85982800000000004</c:v>
                </c:pt>
                <c:pt idx="438" formatCode="0.00%">
                  <c:v>0.83006899999999995</c:v>
                </c:pt>
                <c:pt idx="439" formatCode="0.00%">
                  <c:v>0.83181799999999995</c:v>
                </c:pt>
                <c:pt idx="440" formatCode="0.00%">
                  <c:v>0.83479700000000001</c:v>
                </c:pt>
                <c:pt idx="441" formatCode="0.00%">
                  <c:v>0.85523099999999996</c:v>
                </c:pt>
                <c:pt idx="442" formatCode="0.00%">
                  <c:v>0.83330400000000004</c:v>
                </c:pt>
                <c:pt idx="443" formatCode="0.00%">
                  <c:v>0.85958599999999996</c:v>
                </c:pt>
                <c:pt idx="444" formatCode="0.00%">
                  <c:v>0.885301</c:v>
                </c:pt>
                <c:pt idx="445" formatCode="0.00%">
                  <c:v>0.88039500000000004</c:v>
                </c:pt>
                <c:pt idx="446" formatCode="0.00%">
                  <c:v>0.86613300000000004</c:v>
                </c:pt>
                <c:pt idx="447" formatCode="0.00%">
                  <c:v>0.85351299999999997</c:v>
                </c:pt>
                <c:pt idx="448" formatCode="0.00%">
                  <c:v>0.87363299999999999</c:v>
                </c:pt>
                <c:pt idx="449" formatCode="0.00%">
                  <c:v>0.88648700000000002</c:v>
                </c:pt>
                <c:pt idx="450" formatCode="0.00%">
                  <c:v>0.89505299999999999</c:v>
                </c:pt>
                <c:pt idx="451" formatCode="0.00%">
                  <c:v>0.91167699999999996</c:v>
                </c:pt>
                <c:pt idx="452" formatCode="0.00%">
                  <c:v>0.94169999999999998</c:v>
                </c:pt>
                <c:pt idx="453" formatCode="0.00%">
                  <c:v>0.94524699999999995</c:v>
                </c:pt>
                <c:pt idx="454" formatCode="0.00%">
                  <c:v>0.94131200000000004</c:v>
                </c:pt>
                <c:pt idx="455" formatCode="0.00%">
                  <c:v>0.936477</c:v>
                </c:pt>
                <c:pt idx="456" formatCode="0.00%">
                  <c:v>0.94706299999999999</c:v>
                </c:pt>
                <c:pt idx="457" formatCode="0.00%">
                  <c:v>0.94735899999999995</c:v>
                </c:pt>
                <c:pt idx="458" formatCode="0.00%">
                  <c:v>0.94674100000000005</c:v>
                </c:pt>
                <c:pt idx="459" formatCode="0.00%">
                  <c:v>0.94521999999999995</c:v>
                </c:pt>
                <c:pt idx="460" formatCode="0.00%">
                  <c:v>0.931871</c:v>
                </c:pt>
                <c:pt idx="461" formatCode="0.00%">
                  <c:v>0.93145599999999995</c:v>
                </c:pt>
                <c:pt idx="462" formatCode="0.00%">
                  <c:v>0.94920899999999997</c:v>
                </c:pt>
                <c:pt idx="463" formatCode="0.00%">
                  <c:v>0.94981499999999996</c:v>
                </c:pt>
                <c:pt idx="464" formatCode="0.00%">
                  <c:v>0.94422099999999998</c:v>
                </c:pt>
                <c:pt idx="465" formatCode="0.00%">
                  <c:v>0.94334899999999999</c:v>
                </c:pt>
                <c:pt idx="466" formatCode="0.00%">
                  <c:v>0.93150100000000002</c:v>
                </c:pt>
                <c:pt idx="467" formatCode="0.00%">
                  <c:v>0.95616500000000004</c:v>
                </c:pt>
                <c:pt idx="468" formatCode="0.00%">
                  <c:v>0.96614900000000004</c:v>
                </c:pt>
                <c:pt idx="469" formatCode="0.00%">
                  <c:v>0.95841100000000001</c:v>
                </c:pt>
                <c:pt idx="470" formatCode="0.00%">
                  <c:v>0.95634300000000005</c:v>
                </c:pt>
                <c:pt idx="471" formatCode="0.00%">
                  <c:v>0.95992699999999997</c:v>
                </c:pt>
                <c:pt idx="472" formatCode="0.00%">
                  <c:v>0.937253</c:v>
                </c:pt>
                <c:pt idx="473" formatCode="0.00%">
                  <c:v>0.94375200000000004</c:v>
                </c:pt>
                <c:pt idx="474" formatCode="0.00%">
                  <c:v>0.93215499999999996</c:v>
                </c:pt>
                <c:pt idx="475" formatCode="0.00%">
                  <c:v>0.90237400000000001</c:v>
                </c:pt>
                <c:pt idx="476" formatCode="0.00%">
                  <c:v>0.89304700000000004</c:v>
                </c:pt>
                <c:pt idx="477" formatCode="0.00%">
                  <c:v>0.88417800000000002</c:v>
                </c:pt>
                <c:pt idx="478" formatCode="0.00%">
                  <c:v>0.88588699999999998</c:v>
                </c:pt>
                <c:pt idx="479" formatCode="0.00%">
                  <c:v>0.89206799999999997</c:v>
                </c:pt>
                <c:pt idx="480" formatCode="0.00%">
                  <c:v>0.88884600000000002</c:v>
                </c:pt>
                <c:pt idx="481" formatCode="0.00%">
                  <c:v>0.89273000000000002</c:v>
                </c:pt>
                <c:pt idx="482" formatCode="0.00%">
                  <c:v>0.93333699999999997</c:v>
                </c:pt>
                <c:pt idx="483" formatCode="0.00%">
                  <c:v>0.93729200000000001</c:v>
                </c:pt>
                <c:pt idx="484" formatCode="0.00%">
                  <c:v>0.93457699999999999</c:v>
                </c:pt>
                <c:pt idx="485" formatCode="0.00%">
                  <c:v>0.93967299999999998</c:v>
                </c:pt>
                <c:pt idx="486" formatCode="0.00%">
                  <c:v>0.93874899999999994</c:v>
                </c:pt>
                <c:pt idx="487" formatCode="0.00%">
                  <c:v>0.94518400000000002</c:v>
                </c:pt>
                <c:pt idx="488" formatCode="0.00%">
                  <c:v>0.94246700000000005</c:v>
                </c:pt>
                <c:pt idx="489" formatCode="0.00%">
                  <c:v>0.93402700000000005</c:v>
                </c:pt>
                <c:pt idx="490" formatCode="0.00%">
                  <c:v>0.91395700000000002</c:v>
                </c:pt>
                <c:pt idx="491" formatCode="0.00%">
                  <c:v>0.90730699999999997</c:v>
                </c:pt>
                <c:pt idx="492" formatCode="0.00%">
                  <c:v>0.91033500000000001</c:v>
                </c:pt>
                <c:pt idx="493" formatCode="0.00%">
                  <c:v>0.91513299999999997</c:v>
                </c:pt>
                <c:pt idx="494" formatCode="0.00%">
                  <c:v>0.90776900000000005</c:v>
                </c:pt>
                <c:pt idx="495" formatCode="0.00%">
                  <c:v>0.91518100000000002</c:v>
                </c:pt>
                <c:pt idx="496" formatCode="0.00%">
                  <c:v>0.89481500000000003</c:v>
                </c:pt>
                <c:pt idx="497" formatCode="0.00%">
                  <c:v>0.91729000000000005</c:v>
                </c:pt>
                <c:pt idx="498" formatCode="0.00%">
                  <c:v>0.91812700000000003</c:v>
                </c:pt>
                <c:pt idx="499" formatCode="0.00%">
                  <c:v>0.90685199999999999</c:v>
                </c:pt>
                <c:pt idx="500" formatCode="0.00%">
                  <c:v>0.89659</c:v>
                </c:pt>
                <c:pt idx="501" formatCode="0.00%">
                  <c:v>0.878911</c:v>
                </c:pt>
                <c:pt idx="502" formatCode="0.00%">
                  <c:v>0.86880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9-4BFB-B801-E3B316A0342A}"/>
            </c:ext>
          </c:extLst>
        </c:ser>
        <c:ser>
          <c:idx val="2"/>
          <c:order val="3"/>
          <c:tx>
            <c:v>JIP_Po_ukonceni_s_posilujici_65</c:v>
          </c:tx>
          <c:spPr>
            <a:ln>
              <a:noFill/>
              <a:prstDash val="sysDash"/>
            </a:ln>
          </c:spPr>
          <c:marker>
            <c:symbol val="none"/>
          </c:marker>
          <c:trendline>
            <c:spPr>
              <a:ln w="19050">
                <a:solidFill>
                  <a:srgbClr val="70AD47"/>
                </a:solidFill>
                <a:prstDash val="sysDash"/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E$2:$E$505</c:f>
              <c:numCache>
                <c:formatCode>General</c:formatCode>
                <c:ptCount val="504"/>
                <c:pt idx="426" formatCode="0.00%">
                  <c:v>1</c:v>
                </c:pt>
                <c:pt idx="427" formatCode="0.00%">
                  <c:v>1</c:v>
                </c:pt>
                <c:pt idx="428" formatCode="0.00%">
                  <c:v>0.92321399999999998</c:v>
                </c:pt>
                <c:pt idx="429" formatCode="0.00%">
                  <c:v>0.93075799999999997</c:v>
                </c:pt>
                <c:pt idx="430" formatCode="0.00%">
                  <c:v>0.94120099999999995</c:v>
                </c:pt>
                <c:pt idx="431" formatCode="0.00%">
                  <c:v>0.93989999999999996</c:v>
                </c:pt>
                <c:pt idx="432" formatCode="0.00%">
                  <c:v>0.94469800000000004</c:v>
                </c:pt>
                <c:pt idx="433" formatCode="0.00%">
                  <c:v>0.94852999999999998</c:v>
                </c:pt>
                <c:pt idx="434" formatCode="0.00%">
                  <c:v>0.935284</c:v>
                </c:pt>
                <c:pt idx="435" formatCode="0.00%">
                  <c:v>0.98177199999999998</c:v>
                </c:pt>
                <c:pt idx="436" formatCode="0.00%">
                  <c:v>0.96725899999999998</c:v>
                </c:pt>
                <c:pt idx="437" formatCode="0.00%">
                  <c:v>0.94924600000000003</c:v>
                </c:pt>
                <c:pt idx="438" formatCode="0.00%">
                  <c:v>0.93680099999999999</c:v>
                </c:pt>
                <c:pt idx="439" formatCode="0.00%">
                  <c:v>0.93479000000000001</c:v>
                </c:pt>
                <c:pt idx="440" formatCode="0.00%">
                  <c:v>0.93514799999999998</c:v>
                </c:pt>
                <c:pt idx="441" formatCode="0.00%">
                  <c:v>0.93960100000000002</c:v>
                </c:pt>
                <c:pt idx="442" formatCode="0.00%">
                  <c:v>0.94247400000000003</c:v>
                </c:pt>
                <c:pt idx="443" formatCode="0.00%">
                  <c:v>0.953596</c:v>
                </c:pt>
                <c:pt idx="444" formatCode="0.00%">
                  <c:v>0.96653500000000003</c:v>
                </c:pt>
                <c:pt idx="445" formatCode="0.00%">
                  <c:v>0.96789400000000003</c:v>
                </c:pt>
                <c:pt idx="446" formatCode="0.00%">
                  <c:v>0.96503799999999995</c:v>
                </c:pt>
                <c:pt idx="447" formatCode="0.00%">
                  <c:v>0.96066600000000002</c:v>
                </c:pt>
                <c:pt idx="448" formatCode="0.00%">
                  <c:v>0.96718999999999999</c:v>
                </c:pt>
                <c:pt idx="449" formatCode="0.00%">
                  <c:v>0.96435099999999996</c:v>
                </c:pt>
                <c:pt idx="450" formatCode="0.00%">
                  <c:v>0.97029100000000001</c:v>
                </c:pt>
                <c:pt idx="451" formatCode="0.00%">
                  <c:v>0.97407200000000005</c:v>
                </c:pt>
                <c:pt idx="452" formatCode="0.00%">
                  <c:v>0.98289700000000002</c:v>
                </c:pt>
                <c:pt idx="453" formatCode="0.00%">
                  <c:v>0.98340899999999998</c:v>
                </c:pt>
                <c:pt idx="454" formatCode="0.00%">
                  <c:v>0.98236999999999997</c:v>
                </c:pt>
                <c:pt idx="455" formatCode="0.00%">
                  <c:v>0.98050300000000001</c:v>
                </c:pt>
                <c:pt idx="456" formatCode="0.00%">
                  <c:v>0.98429599999999995</c:v>
                </c:pt>
                <c:pt idx="457" formatCode="0.00%">
                  <c:v>0.98081399999999996</c:v>
                </c:pt>
                <c:pt idx="458" formatCode="0.00%">
                  <c:v>0.98161200000000004</c:v>
                </c:pt>
                <c:pt idx="459" formatCode="0.00%">
                  <c:v>0.98165999999999998</c:v>
                </c:pt>
                <c:pt idx="460" formatCode="0.00%">
                  <c:v>0.98016000000000003</c:v>
                </c:pt>
                <c:pt idx="461" formatCode="0.00%">
                  <c:v>0.98014199999999996</c:v>
                </c:pt>
                <c:pt idx="462" formatCode="0.00%">
                  <c:v>0.98599199999999998</c:v>
                </c:pt>
                <c:pt idx="463" formatCode="0.00%">
                  <c:v>0.98674799999999996</c:v>
                </c:pt>
                <c:pt idx="464" formatCode="0.00%">
                  <c:v>0.98516400000000004</c:v>
                </c:pt>
                <c:pt idx="465" formatCode="0.00%">
                  <c:v>0.98388600000000004</c:v>
                </c:pt>
                <c:pt idx="466" formatCode="0.00%">
                  <c:v>0.98030300000000004</c:v>
                </c:pt>
                <c:pt idx="467" formatCode="0.00%">
                  <c:v>0.98585599999999995</c:v>
                </c:pt>
                <c:pt idx="468" formatCode="0.00%">
                  <c:v>0.98850099999999996</c:v>
                </c:pt>
                <c:pt idx="469" formatCode="0.00%">
                  <c:v>0.98689899999999997</c:v>
                </c:pt>
                <c:pt idx="470" formatCode="0.00%">
                  <c:v>0.98569799999999996</c:v>
                </c:pt>
                <c:pt idx="471" formatCode="0.00%">
                  <c:v>0.98886300000000005</c:v>
                </c:pt>
                <c:pt idx="472" formatCode="0.00%">
                  <c:v>0.98398600000000003</c:v>
                </c:pt>
                <c:pt idx="473" formatCode="0.00%">
                  <c:v>0.98672000000000004</c:v>
                </c:pt>
                <c:pt idx="474" formatCode="0.00%">
                  <c:v>0.98263500000000004</c:v>
                </c:pt>
                <c:pt idx="475" formatCode="0.00%">
                  <c:v>0.97734600000000005</c:v>
                </c:pt>
                <c:pt idx="476" formatCode="0.00%">
                  <c:v>0.97328999999999999</c:v>
                </c:pt>
                <c:pt idx="477" formatCode="0.00%">
                  <c:v>0.97113499999999997</c:v>
                </c:pt>
                <c:pt idx="478" formatCode="0.00%">
                  <c:v>0.97275199999999995</c:v>
                </c:pt>
                <c:pt idx="479" formatCode="0.00%">
                  <c:v>0.97371300000000005</c:v>
                </c:pt>
                <c:pt idx="480" formatCode="0.00%">
                  <c:v>0.97147300000000003</c:v>
                </c:pt>
                <c:pt idx="481" formatCode="0.00%">
                  <c:v>0.97465500000000005</c:v>
                </c:pt>
                <c:pt idx="482" formatCode="0.00%">
                  <c:v>0.984074</c:v>
                </c:pt>
                <c:pt idx="483" formatCode="0.00%">
                  <c:v>0.985124</c:v>
                </c:pt>
                <c:pt idx="484" formatCode="0.00%">
                  <c:v>0.985989</c:v>
                </c:pt>
                <c:pt idx="485" formatCode="0.00%">
                  <c:v>0.98573299999999997</c:v>
                </c:pt>
                <c:pt idx="486" formatCode="0.00%">
                  <c:v>0.98523799999999995</c:v>
                </c:pt>
                <c:pt idx="487" formatCode="0.00%">
                  <c:v>0.986931</c:v>
                </c:pt>
                <c:pt idx="488" formatCode="0.00%">
                  <c:v>0.98572800000000005</c:v>
                </c:pt>
                <c:pt idx="489" formatCode="0.00%">
                  <c:v>0.983989</c:v>
                </c:pt>
                <c:pt idx="490" formatCode="0.00%">
                  <c:v>0.98025899999999999</c:v>
                </c:pt>
                <c:pt idx="491" formatCode="0.00%">
                  <c:v>0.97670900000000005</c:v>
                </c:pt>
                <c:pt idx="492" formatCode="0.00%">
                  <c:v>0.97689999999999999</c:v>
                </c:pt>
                <c:pt idx="493" formatCode="0.00%">
                  <c:v>0.97780599999999995</c:v>
                </c:pt>
                <c:pt idx="494" formatCode="0.00%">
                  <c:v>0.97511899999999996</c:v>
                </c:pt>
                <c:pt idx="495" formatCode="0.00%">
                  <c:v>0.97817600000000005</c:v>
                </c:pt>
                <c:pt idx="496" formatCode="0.00%">
                  <c:v>0.97106099999999995</c:v>
                </c:pt>
                <c:pt idx="497" formatCode="0.00%">
                  <c:v>0.97451600000000005</c:v>
                </c:pt>
                <c:pt idx="498" formatCode="0.00%">
                  <c:v>0.97586300000000004</c:v>
                </c:pt>
                <c:pt idx="499" formatCode="0.00%">
                  <c:v>0.97122799999999998</c:v>
                </c:pt>
                <c:pt idx="500" formatCode="0.00%">
                  <c:v>0.96842200000000001</c:v>
                </c:pt>
                <c:pt idx="501" formatCode="0.00%">
                  <c:v>0.96599999999999997</c:v>
                </c:pt>
                <c:pt idx="502" formatCode="0.00%">
                  <c:v>0.963625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E49-4BFB-B801-E3B316A034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1"/>
          <c:min val="0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52416839916842E-2"/>
          <c:y val="1.7578580595026799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UPVECMO_Po_ukonceni</c:v>
          </c:tx>
          <c:spPr>
            <a:ln>
              <a:noFill/>
            </a:ln>
          </c:spPr>
          <c:marker>
            <c:symbol val="none"/>
          </c:marker>
          <c:trendline>
            <c:spPr>
              <a:ln w="19050">
                <a:solidFill>
                  <a:srgbClr val="4472C4"/>
                </a:solidFill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General</c:formatCode>
                <c:ptCount val="504"/>
                <c:pt idx="365" formatCode="0.00%">
                  <c:v>1</c:v>
                </c:pt>
                <c:pt idx="366" formatCode="0.00%">
                  <c:v>1</c:v>
                </c:pt>
                <c:pt idx="367" formatCode="0.00%">
                  <c:v>1</c:v>
                </c:pt>
                <c:pt idx="368" formatCode="0.00%">
                  <c:v>1</c:v>
                </c:pt>
                <c:pt idx="369" formatCode="0.00%">
                  <c:v>1</c:v>
                </c:pt>
                <c:pt idx="370" formatCode="0.00%">
                  <c:v>1</c:v>
                </c:pt>
                <c:pt idx="371" formatCode="0.00%">
                  <c:v>1</c:v>
                </c:pt>
                <c:pt idx="372" formatCode="0.00%">
                  <c:v>0.72959200000000002</c:v>
                </c:pt>
                <c:pt idx="373" formatCode="0.00%">
                  <c:v>0.72959200000000002</c:v>
                </c:pt>
                <c:pt idx="374" formatCode="0.00%">
                  <c:v>0.82020099999999996</c:v>
                </c:pt>
                <c:pt idx="375" formatCode="0.00%">
                  <c:v>0.89237100000000003</c:v>
                </c:pt>
                <c:pt idx="376" formatCode="0.00%">
                  <c:v>0.59961299999999995</c:v>
                </c:pt>
                <c:pt idx="377" formatCode="0.00%">
                  <c:v>0.11414000000000001</c:v>
                </c:pt>
                <c:pt idx="378" formatCode="0.00%">
                  <c:v>0.46927799999999997</c:v>
                </c:pt>
                <c:pt idx="379" formatCode="0.00%">
                  <c:v>0.64721399999999996</c:v>
                </c:pt>
                <c:pt idx="380" formatCode="0.00%">
                  <c:v>0.73572099999999996</c:v>
                </c:pt>
                <c:pt idx="381" formatCode="0.00%">
                  <c:v>0.67070399999999997</c:v>
                </c:pt>
                <c:pt idx="382" formatCode="0.00%">
                  <c:v>0.65016099999999999</c:v>
                </c:pt>
                <c:pt idx="383" formatCode="0.00%">
                  <c:v>0.790682</c:v>
                </c:pt>
                <c:pt idx="384" formatCode="0.00%">
                  <c:v>0.91322899999999996</c:v>
                </c:pt>
                <c:pt idx="385" formatCode="0.00%">
                  <c:v>0.89595999999999998</c:v>
                </c:pt>
                <c:pt idx="386" formatCode="0.00%">
                  <c:v>0.88444400000000001</c:v>
                </c:pt>
                <c:pt idx="387" formatCode="0.00%">
                  <c:v>0.88465099999999997</c:v>
                </c:pt>
                <c:pt idx="388" formatCode="0.00%">
                  <c:v>0.95290799999999998</c:v>
                </c:pt>
                <c:pt idx="389" formatCode="0.00%">
                  <c:v>0.95342300000000002</c:v>
                </c:pt>
                <c:pt idx="390" formatCode="0.00%">
                  <c:v>0.95345500000000005</c:v>
                </c:pt>
                <c:pt idx="391" formatCode="0.00%">
                  <c:v>0.91487200000000002</c:v>
                </c:pt>
                <c:pt idx="392" formatCode="0.00%">
                  <c:v>0.89795199999999997</c:v>
                </c:pt>
                <c:pt idx="393" formatCode="0.00%">
                  <c:v>0.87254200000000004</c:v>
                </c:pt>
                <c:pt idx="394" formatCode="0.00%">
                  <c:v>0.83026</c:v>
                </c:pt>
                <c:pt idx="395" formatCode="0.00%">
                  <c:v>0.83045400000000003</c:v>
                </c:pt>
                <c:pt idx="396" formatCode="0.00%">
                  <c:v>0.84372499999999995</c:v>
                </c:pt>
                <c:pt idx="397" formatCode="0.00%">
                  <c:v>0.83073900000000001</c:v>
                </c:pt>
                <c:pt idx="398" formatCode="0.00%">
                  <c:v>0.87329999999999997</c:v>
                </c:pt>
                <c:pt idx="399" formatCode="0.00%">
                  <c:v>0.79810499999999995</c:v>
                </c:pt>
                <c:pt idx="400" formatCode="0.00%">
                  <c:v>0.77117500000000005</c:v>
                </c:pt>
                <c:pt idx="401" formatCode="0.00%">
                  <c:v>0.79063300000000003</c:v>
                </c:pt>
                <c:pt idx="402" formatCode="0.00%">
                  <c:v>0.77188999999999997</c:v>
                </c:pt>
                <c:pt idx="403" formatCode="0.00%">
                  <c:v>0.807168</c:v>
                </c:pt>
                <c:pt idx="404" formatCode="0.00%">
                  <c:v>0.807168</c:v>
                </c:pt>
                <c:pt idx="405" formatCode="0.00%">
                  <c:v>0.687747</c:v>
                </c:pt>
                <c:pt idx="406" formatCode="0.00%">
                  <c:v>0.76368100000000005</c:v>
                </c:pt>
                <c:pt idx="407" formatCode="0.00%">
                  <c:v>0.77587799999999996</c:v>
                </c:pt>
                <c:pt idx="408" formatCode="0.00%">
                  <c:v>0.76315599999999995</c:v>
                </c:pt>
                <c:pt idx="409" formatCode="0.00%">
                  <c:v>0.74082099999999995</c:v>
                </c:pt>
                <c:pt idx="410" formatCode="0.00%">
                  <c:v>0.73121199999999997</c:v>
                </c:pt>
                <c:pt idx="411" formatCode="0.00%">
                  <c:v>0.76115999999999995</c:v>
                </c:pt>
                <c:pt idx="412" formatCode="0.00%">
                  <c:v>0.77317000000000002</c:v>
                </c:pt>
                <c:pt idx="413" formatCode="0.00%">
                  <c:v>0.80233600000000005</c:v>
                </c:pt>
                <c:pt idx="414" formatCode="0.00%">
                  <c:v>0.81730000000000003</c:v>
                </c:pt>
                <c:pt idx="415" formatCode="0.00%">
                  <c:v>0.74467099999999997</c:v>
                </c:pt>
                <c:pt idx="416" formatCode="0.00%">
                  <c:v>0.76282099999999997</c:v>
                </c:pt>
                <c:pt idx="417" formatCode="0.00%">
                  <c:v>0.70925800000000006</c:v>
                </c:pt>
                <c:pt idx="418" formatCode="0.00%">
                  <c:v>0.69405399999999995</c:v>
                </c:pt>
                <c:pt idx="419" formatCode="0.00%">
                  <c:v>0.75594600000000001</c:v>
                </c:pt>
                <c:pt idx="420" formatCode="0.00%">
                  <c:v>0.68772599999999995</c:v>
                </c:pt>
                <c:pt idx="421" formatCode="0.00%">
                  <c:v>0.69114200000000003</c:v>
                </c:pt>
                <c:pt idx="422" formatCode="0.00%">
                  <c:v>0.72001400000000004</c:v>
                </c:pt>
                <c:pt idx="423" formatCode="0.00%">
                  <c:v>0.75867899999999999</c:v>
                </c:pt>
                <c:pt idx="424" formatCode="0.00%">
                  <c:v>0.78602000000000005</c:v>
                </c:pt>
                <c:pt idx="425" formatCode="0.00%">
                  <c:v>0.78009300000000004</c:v>
                </c:pt>
                <c:pt idx="426" formatCode="0.00%">
                  <c:v>0.74154500000000001</c:v>
                </c:pt>
                <c:pt idx="427" formatCode="0.00%">
                  <c:v>0.76136899999999996</c:v>
                </c:pt>
                <c:pt idx="428" formatCode="0.00%">
                  <c:v>0.80556000000000005</c:v>
                </c:pt>
                <c:pt idx="429" formatCode="0.00%">
                  <c:v>0.82454400000000005</c:v>
                </c:pt>
                <c:pt idx="430" formatCode="0.00%">
                  <c:v>0.82413599999999998</c:v>
                </c:pt>
                <c:pt idx="431" formatCode="0.00%">
                  <c:v>0.80458200000000002</c:v>
                </c:pt>
                <c:pt idx="432" formatCode="0.00%">
                  <c:v>0.81008899999999995</c:v>
                </c:pt>
                <c:pt idx="433" formatCode="0.00%">
                  <c:v>0.81573899999999999</c:v>
                </c:pt>
                <c:pt idx="434" formatCode="0.00%">
                  <c:v>0.82047099999999995</c:v>
                </c:pt>
                <c:pt idx="435" formatCode="0.00%">
                  <c:v>0.81838299999999997</c:v>
                </c:pt>
                <c:pt idx="436" formatCode="0.00%">
                  <c:v>0.82330400000000004</c:v>
                </c:pt>
                <c:pt idx="437" formatCode="0.00%">
                  <c:v>0.797489</c:v>
                </c:pt>
                <c:pt idx="438" formatCode="0.00%">
                  <c:v>0.815635</c:v>
                </c:pt>
                <c:pt idx="439" formatCode="0.00%">
                  <c:v>0.80981000000000003</c:v>
                </c:pt>
                <c:pt idx="440" formatCode="0.00%">
                  <c:v>0.83421100000000004</c:v>
                </c:pt>
                <c:pt idx="441" formatCode="0.00%">
                  <c:v>0.84424699999999997</c:v>
                </c:pt>
                <c:pt idx="442" formatCode="0.00%">
                  <c:v>0.81543500000000002</c:v>
                </c:pt>
                <c:pt idx="443" formatCode="0.00%">
                  <c:v>0.82653799999999999</c:v>
                </c:pt>
                <c:pt idx="444" formatCode="0.00%">
                  <c:v>0.83498799999999995</c:v>
                </c:pt>
                <c:pt idx="445" formatCode="0.00%">
                  <c:v>0.83262800000000003</c:v>
                </c:pt>
                <c:pt idx="446" formatCode="0.00%">
                  <c:v>0.84831699999999999</c:v>
                </c:pt>
                <c:pt idx="447" formatCode="0.00%">
                  <c:v>0.82093899999999997</c:v>
                </c:pt>
                <c:pt idx="448" formatCode="0.00%">
                  <c:v>0.81732899999999997</c:v>
                </c:pt>
                <c:pt idx="449" formatCode="0.00%">
                  <c:v>0.82752999999999999</c:v>
                </c:pt>
                <c:pt idx="450" formatCode="0.00%">
                  <c:v>0.81334200000000001</c:v>
                </c:pt>
                <c:pt idx="451" formatCode="0.00%">
                  <c:v>0.82825899999999997</c:v>
                </c:pt>
                <c:pt idx="452" formatCode="0.00%">
                  <c:v>0.84254200000000001</c:v>
                </c:pt>
                <c:pt idx="453" formatCode="0.00%">
                  <c:v>0.83340899999999996</c:v>
                </c:pt>
                <c:pt idx="454" formatCode="0.00%">
                  <c:v>0.852213</c:v>
                </c:pt>
                <c:pt idx="455" formatCode="0.00%">
                  <c:v>0.85916899999999996</c:v>
                </c:pt>
                <c:pt idx="456" formatCode="0.00%">
                  <c:v>0.86468199999999995</c:v>
                </c:pt>
                <c:pt idx="457" formatCode="0.00%">
                  <c:v>0.86795500000000003</c:v>
                </c:pt>
                <c:pt idx="458" formatCode="0.00%">
                  <c:v>0.86921599999999999</c:v>
                </c:pt>
                <c:pt idx="459" formatCode="0.00%">
                  <c:v>0.85955000000000004</c:v>
                </c:pt>
                <c:pt idx="460" formatCode="0.00%">
                  <c:v>0.86369700000000005</c:v>
                </c:pt>
                <c:pt idx="461" formatCode="0.00%">
                  <c:v>0.86638000000000004</c:v>
                </c:pt>
                <c:pt idx="462" formatCode="0.00%">
                  <c:v>0.85885999999999996</c:v>
                </c:pt>
                <c:pt idx="463" formatCode="0.00%">
                  <c:v>0.85311700000000001</c:v>
                </c:pt>
                <c:pt idx="464" formatCode="0.00%">
                  <c:v>0.85195500000000002</c:v>
                </c:pt>
                <c:pt idx="465" formatCode="0.00%">
                  <c:v>0.84698399999999996</c:v>
                </c:pt>
                <c:pt idx="466" formatCode="0.00%">
                  <c:v>0.84286099999999997</c:v>
                </c:pt>
                <c:pt idx="467" formatCode="0.00%">
                  <c:v>0.84970500000000004</c:v>
                </c:pt>
                <c:pt idx="468" formatCode="0.00%">
                  <c:v>0.84217299999999995</c:v>
                </c:pt>
                <c:pt idx="469" formatCode="0.00%">
                  <c:v>0.84430799999999995</c:v>
                </c:pt>
                <c:pt idx="470" formatCode="0.00%">
                  <c:v>0.84427300000000005</c:v>
                </c:pt>
                <c:pt idx="471" formatCode="0.00%">
                  <c:v>0.84054799999999996</c:v>
                </c:pt>
                <c:pt idx="472" formatCode="0.00%">
                  <c:v>0.83580200000000004</c:v>
                </c:pt>
                <c:pt idx="473" formatCode="0.00%">
                  <c:v>0.84885299999999997</c:v>
                </c:pt>
                <c:pt idx="474" formatCode="0.00%">
                  <c:v>0.85424699999999998</c:v>
                </c:pt>
                <c:pt idx="475" formatCode="0.00%">
                  <c:v>0.859877</c:v>
                </c:pt>
                <c:pt idx="476" formatCode="0.00%">
                  <c:v>0.87245700000000004</c:v>
                </c:pt>
                <c:pt idx="477" formatCode="0.00%">
                  <c:v>0.87083200000000005</c:v>
                </c:pt>
                <c:pt idx="478" formatCode="0.00%">
                  <c:v>0.87415299999999996</c:v>
                </c:pt>
                <c:pt idx="479" formatCode="0.00%">
                  <c:v>0.86923099999999998</c:v>
                </c:pt>
                <c:pt idx="480" formatCode="0.00%">
                  <c:v>0.85006599999999999</c:v>
                </c:pt>
                <c:pt idx="481" formatCode="0.00%">
                  <c:v>0.83348100000000003</c:v>
                </c:pt>
                <c:pt idx="482" formatCode="0.00%">
                  <c:v>0.83890299999999995</c:v>
                </c:pt>
                <c:pt idx="483" formatCode="0.00%">
                  <c:v>0.82210099999999997</c:v>
                </c:pt>
                <c:pt idx="484" formatCode="0.00%">
                  <c:v>0.83976600000000001</c:v>
                </c:pt>
                <c:pt idx="485" formatCode="0.00%">
                  <c:v>0.84841999999999995</c:v>
                </c:pt>
                <c:pt idx="486" formatCode="0.00%">
                  <c:v>0.87222</c:v>
                </c:pt>
                <c:pt idx="487" formatCode="0.00%">
                  <c:v>0.87983999999999996</c:v>
                </c:pt>
                <c:pt idx="488" formatCode="0.00%">
                  <c:v>0.88565199999999999</c:v>
                </c:pt>
                <c:pt idx="489" formatCode="0.00%">
                  <c:v>0.87340600000000002</c:v>
                </c:pt>
                <c:pt idx="490" formatCode="0.00%">
                  <c:v>0.87450399999999995</c:v>
                </c:pt>
                <c:pt idx="491" formatCode="0.00%">
                  <c:v>0.87687400000000004</c:v>
                </c:pt>
                <c:pt idx="492" formatCode="0.00%">
                  <c:v>0.871309</c:v>
                </c:pt>
                <c:pt idx="493" formatCode="0.00%">
                  <c:v>0.86230499999999999</c:v>
                </c:pt>
                <c:pt idx="494" formatCode="0.00%">
                  <c:v>0.87379499999999999</c:v>
                </c:pt>
                <c:pt idx="495" formatCode="0.00%">
                  <c:v>0.86826999999999999</c:v>
                </c:pt>
                <c:pt idx="496" formatCode="0.00%">
                  <c:v>0.87418200000000001</c:v>
                </c:pt>
                <c:pt idx="497" formatCode="0.00%">
                  <c:v>0.88488599999999995</c:v>
                </c:pt>
                <c:pt idx="498" formatCode="0.00%">
                  <c:v>0.86642399999999997</c:v>
                </c:pt>
                <c:pt idx="499" formatCode="0.00%">
                  <c:v>0.85553199999999996</c:v>
                </c:pt>
                <c:pt idx="500" formatCode="0.00%">
                  <c:v>0.86001799999999995</c:v>
                </c:pt>
                <c:pt idx="501" formatCode="0.00%">
                  <c:v>0.87319800000000003</c:v>
                </c:pt>
                <c:pt idx="502" formatCode="0.00%">
                  <c:v>0.868866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8B-4D3E-8581-BE3B320E3457}"/>
            </c:ext>
          </c:extLst>
        </c:ser>
        <c:ser>
          <c:idx val="0"/>
          <c:order val="1"/>
          <c:tx>
            <c:v>UPVECMO_Po_ukonceni_65</c:v>
          </c:tx>
          <c:spPr>
            <a:ln>
              <a:noFill/>
              <a:prstDash val="sysDash"/>
            </a:ln>
          </c:spPr>
          <c:marker>
            <c:symbol val="none"/>
          </c:marker>
          <c:trendline>
            <c:spPr>
              <a:ln w="19050">
                <a:solidFill>
                  <a:srgbClr val="4472C4"/>
                </a:solidFill>
                <a:prstDash val="sysDash"/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C$2:$C$505</c:f>
              <c:numCache>
                <c:formatCode>General</c:formatCode>
                <c:ptCount val="504"/>
                <c:pt idx="365" formatCode="0.00%">
                  <c:v>1</c:v>
                </c:pt>
                <c:pt idx="366" formatCode="0.00%">
                  <c:v>1</c:v>
                </c:pt>
                <c:pt idx="367" formatCode="0.00%">
                  <c:v>0</c:v>
                </c:pt>
                <c:pt idx="368" formatCode="0.00%">
                  <c:v>0</c:v>
                </c:pt>
                <c:pt idx="369" formatCode="0.00%">
                  <c:v>1</c:v>
                </c:pt>
                <c:pt idx="370" formatCode="0.00%">
                  <c:v>1</c:v>
                </c:pt>
                <c:pt idx="371" formatCode="0.00%">
                  <c:v>1</c:v>
                </c:pt>
                <c:pt idx="372" formatCode="0.00%">
                  <c:v>0.91179600000000005</c:v>
                </c:pt>
                <c:pt idx="373" formatCode="0.00%">
                  <c:v>0.91179600000000005</c:v>
                </c:pt>
                <c:pt idx="374" formatCode="0.00%">
                  <c:v>0.91179600000000005</c:v>
                </c:pt>
                <c:pt idx="375" formatCode="0.00%">
                  <c:v>0.91179600000000005</c:v>
                </c:pt>
                <c:pt idx="376" formatCode="0.00%">
                  <c:v>0.47205200000000003</c:v>
                </c:pt>
                <c:pt idx="377" formatCode="0.00%">
                  <c:v>0</c:v>
                </c:pt>
                <c:pt idx="378" formatCode="0.00%">
                  <c:v>0.566029</c:v>
                </c:pt>
                <c:pt idx="379" formatCode="0.00%">
                  <c:v>0.65301399999999998</c:v>
                </c:pt>
                <c:pt idx="380" formatCode="0.00%">
                  <c:v>0.65301399999999998</c:v>
                </c:pt>
                <c:pt idx="381" formatCode="0.00%">
                  <c:v>0.71162199999999998</c:v>
                </c:pt>
                <c:pt idx="382" formatCode="0.00%">
                  <c:v>0.74085999999999996</c:v>
                </c:pt>
                <c:pt idx="383" formatCode="0.00%">
                  <c:v>0.86198699999999995</c:v>
                </c:pt>
                <c:pt idx="384" formatCode="0.00%">
                  <c:v>0.94261200000000001</c:v>
                </c:pt>
                <c:pt idx="385" formatCode="0.00%">
                  <c:v>0.91411799999999999</c:v>
                </c:pt>
                <c:pt idx="386" formatCode="0.00%">
                  <c:v>0.91411799999999999</c:v>
                </c:pt>
                <c:pt idx="387" formatCode="0.00%">
                  <c:v>0.91411799999999999</c:v>
                </c:pt>
                <c:pt idx="388" formatCode="0.00%">
                  <c:v>0.94276199999999999</c:v>
                </c:pt>
                <c:pt idx="389" formatCode="0.00%">
                  <c:v>0.94308199999999998</c:v>
                </c:pt>
                <c:pt idx="390" formatCode="0.00%">
                  <c:v>0.91477399999999998</c:v>
                </c:pt>
                <c:pt idx="391" formatCode="0.00%">
                  <c:v>0.91515199999999997</c:v>
                </c:pt>
                <c:pt idx="392" formatCode="0.00%">
                  <c:v>0.91522099999999995</c:v>
                </c:pt>
                <c:pt idx="393" formatCode="0.00%">
                  <c:v>0.89832699999999999</c:v>
                </c:pt>
                <c:pt idx="394" formatCode="0.00%">
                  <c:v>0.86446999999999996</c:v>
                </c:pt>
                <c:pt idx="395" formatCode="0.00%">
                  <c:v>0.86446999999999996</c:v>
                </c:pt>
                <c:pt idx="396" formatCode="0.00%">
                  <c:v>0.89850300000000005</c:v>
                </c:pt>
                <c:pt idx="397" formatCode="0.00%">
                  <c:v>0.89850300000000005</c:v>
                </c:pt>
                <c:pt idx="398" formatCode="0.00%">
                  <c:v>0.89861800000000003</c:v>
                </c:pt>
                <c:pt idx="399" formatCode="0.00%">
                  <c:v>0.77524000000000004</c:v>
                </c:pt>
                <c:pt idx="400" formatCode="0.00%">
                  <c:v>0.719835</c:v>
                </c:pt>
                <c:pt idx="401" formatCode="0.00%">
                  <c:v>0.86573500000000003</c:v>
                </c:pt>
                <c:pt idx="402" formatCode="0.00%">
                  <c:v>0.90419099999999997</c:v>
                </c:pt>
                <c:pt idx="403" formatCode="0.00%">
                  <c:v>0.904281</c:v>
                </c:pt>
                <c:pt idx="404" formatCode="0.00%">
                  <c:v>0.904281</c:v>
                </c:pt>
                <c:pt idx="405" formatCode="0.00%">
                  <c:v>0.87841999999999998</c:v>
                </c:pt>
                <c:pt idx="406" formatCode="0.00%">
                  <c:v>0.92204799999999998</c:v>
                </c:pt>
                <c:pt idx="407" formatCode="0.00%">
                  <c:v>0.94110000000000005</c:v>
                </c:pt>
                <c:pt idx="408" formatCode="0.00%">
                  <c:v>0.91661599999999999</c:v>
                </c:pt>
                <c:pt idx="409" formatCode="0.00%">
                  <c:v>0.89585999999999999</c:v>
                </c:pt>
                <c:pt idx="410" formatCode="0.00%">
                  <c:v>0.89225100000000002</c:v>
                </c:pt>
                <c:pt idx="411" formatCode="0.00%">
                  <c:v>0.90362500000000001</c:v>
                </c:pt>
                <c:pt idx="412" formatCode="0.00%">
                  <c:v>0.88916899999999999</c:v>
                </c:pt>
                <c:pt idx="413" formatCode="0.00%">
                  <c:v>0.86410600000000004</c:v>
                </c:pt>
                <c:pt idx="414" formatCode="0.00%">
                  <c:v>0.81568099999999999</c:v>
                </c:pt>
                <c:pt idx="415" formatCode="0.00%">
                  <c:v>0.76807300000000001</c:v>
                </c:pt>
                <c:pt idx="416" formatCode="0.00%">
                  <c:v>0.76848499999999997</c:v>
                </c:pt>
                <c:pt idx="417" formatCode="0.00%">
                  <c:v>0.69020599999999999</c:v>
                </c:pt>
                <c:pt idx="418" formatCode="0.00%">
                  <c:v>0.73048900000000005</c:v>
                </c:pt>
                <c:pt idx="419" formatCode="0.00%">
                  <c:v>0.78494200000000003</c:v>
                </c:pt>
                <c:pt idx="420" formatCode="0.00%">
                  <c:v>0.75337399999999999</c:v>
                </c:pt>
                <c:pt idx="421" formatCode="0.00%">
                  <c:v>0.76839100000000005</c:v>
                </c:pt>
                <c:pt idx="422" formatCode="0.00%">
                  <c:v>0.79507799999999995</c:v>
                </c:pt>
                <c:pt idx="423" formatCode="0.00%">
                  <c:v>0.82735800000000004</c:v>
                </c:pt>
                <c:pt idx="424" formatCode="0.00%">
                  <c:v>0.84368200000000004</c:v>
                </c:pt>
                <c:pt idx="425" formatCode="0.00%">
                  <c:v>0.83072800000000002</c:v>
                </c:pt>
                <c:pt idx="426" formatCode="0.00%">
                  <c:v>0.80810199999999999</c:v>
                </c:pt>
                <c:pt idx="427" formatCode="0.00%">
                  <c:v>0.83217799999999997</c:v>
                </c:pt>
                <c:pt idx="428" formatCode="0.00%">
                  <c:v>0.86148000000000002</c:v>
                </c:pt>
                <c:pt idx="429" formatCode="0.00%">
                  <c:v>0.87455700000000003</c:v>
                </c:pt>
                <c:pt idx="430" formatCode="0.00%">
                  <c:v>0.883853</c:v>
                </c:pt>
                <c:pt idx="431" formatCode="0.00%">
                  <c:v>0.87130399999999997</c:v>
                </c:pt>
                <c:pt idx="432" formatCode="0.00%">
                  <c:v>0.88980700000000001</c:v>
                </c:pt>
                <c:pt idx="433" formatCode="0.00%">
                  <c:v>0.89399399999999996</c:v>
                </c:pt>
                <c:pt idx="434" formatCode="0.00%">
                  <c:v>0.89274399999999998</c:v>
                </c:pt>
                <c:pt idx="435" formatCode="0.00%">
                  <c:v>0.89889300000000005</c:v>
                </c:pt>
                <c:pt idx="436" formatCode="0.00%">
                  <c:v>0.90104799999999996</c:v>
                </c:pt>
                <c:pt idx="437" formatCode="0.00%">
                  <c:v>0.87181500000000001</c:v>
                </c:pt>
                <c:pt idx="438" formatCode="0.00%">
                  <c:v>0.88872799999999996</c:v>
                </c:pt>
                <c:pt idx="439" formatCode="0.00%">
                  <c:v>0.86917599999999995</c:v>
                </c:pt>
                <c:pt idx="440" formatCode="0.00%">
                  <c:v>0.89002599999999998</c:v>
                </c:pt>
                <c:pt idx="441" formatCode="0.00%">
                  <c:v>0.90049599999999996</c:v>
                </c:pt>
                <c:pt idx="442" formatCode="0.00%">
                  <c:v>0.87715399999999999</c:v>
                </c:pt>
                <c:pt idx="443" formatCode="0.00%">
                  <c:v>0.88719499999999996</c:v>
                </c:pt>
                <c:pt idx="444" formatCode="0.00%">
                  <c:v>0.89166900000000004</c:v>
                </c:pt>
                <c:pt idx="445" formatCode="0.00%">
                  <c:v>0.88928099999999999</c:v>
                </c:pt>
                <c:pt idx="446" formatCode="0.00%">
                  <c:v>0.90479500000000002</c:v>
                </c:pt>
                <c:pt idx="447" formatCode="0.00%">
                  <c:v>0.88789899999999999</c:v>
                </c:pt>
                <c:pt idx="448" formatCode="0.00%">
                  <c:v>0.87624599999999997</c:v>
                </c:pt>
                <c:pt idx="449" formatCode="0.00%">
                  <c:v>0.88007299999999999</c:v>
                </c:pt>
                <c:pt idx="450" formatCode="0.00%">
                  <c:v>0.87094099999999997</c:v>
                </c:pt>
                <c:pt idx="451" formatCode="0.00%">
                  <c:v>0.87508600000000003</c:v>
                </c:pt>
                <c:pt idx="452" formatCode="0.00%">
                  <c:v>0.87723499999999999</c:v>
                </c:pt>
                <c:pt idx="453" formatCode="0.00%">
                  <c:v>0.86623099999999997</c:v>
                </c:pt>
                <c:pt idx="454" formatCode="0.00%">
                  <c:v>0.87868599999999997</c:v>
                </c:pt>
                <c:pt idx="455" formatCode="0.00%">
                  <c:v>0.88741599999999998</c:v>
                </c:pt>
                <c:pt idx="456" formatCode="0.00%">
                  <c:v>0.88828399999999996</c:v>
                </c:pt>
                <c:pt idx="457" formatCode="0.00%">
                  <c:v>0.89030399999999998</c:v>
                </c:pt>
                <c:pt idx="458" formatCode="0.00%">
                  <c:v>0.89929899999999996</c:v>
                </c:pt>
                <c:pt idx="459" formatCode="0.00%">
                  <c:v>0.89510400000000001</c:v>
                </c:pt>
                <c:pt idx="460" formatCode="0.00%">
                  <c:v>0.89581999999999995</c:v>
                </c:pt>
                <c:pt idx="461" formatCode="0.00%">
                  <c:v>0.89288199999999995</c:v>
                </c:pt>
                <c:pt idx="462" formatCode="0.00%">
                  <c:v>0.89444900000000005</c:v>
                </c:pt>
                <c:pt idx="463" formatCode="0.00%">
                  <c:v>0.89783000000000002</c:v>
                </c:pt>
                <c:pt idx="464" formatCode="0.00%">
                  <c:v>0.88893</c:v>
                </c:pt>
                <c:pt idx="465" formatCode="0.00%">
                  <c:v>0.88503900000000002</c:v>
                </c:pt>
                <c:pt idx="466" formatCode="0.00%">
                  <c:v>0.88319999999999999</c:v>
                </c:pt>
                <c:pt idx="467" formatCode="0.00%">
                  <c:v>0.89132100000000003</c:v>
                </c:pt>
                <c:pt idx="468" formatCode="0.00%">
                  <c:v>0.886652</c:v>
                </c:pt>
                <c:pt idx="469" formatCode="0.00%">
                  <c:v>0.87653400000000004</c:v>
                </c:pt>
                <c:pt idx="470" formatCode="0.00%">
                  <c:v>0.87427699999999997</c:v>
                </c:pt>
                <c:pt idx="471" formatCode="0.00%">
                  <c:v>0.873726</c:v>
                </c:pt>
                <c:pt idx="472" formatCode="0.00%">
                  <c:v>0.85750000000000004</c:v>
                </c:pt>
                <c:pt idx="473" formatCode="0.00%">
                  <c:v>0.86276900000000001</c:v>
                </c:pt>
                <c:pt idx="474" formatCode="0.00%">
                  <c:v>0.86195200000000005</c:v>
                </c:pt>
                <c:pt idx="475" formatCode="0.00%">
                  <c:v>0.86589499999999997</c:v>
                </c:pt>
                <c:pt idx="476" formatCode="0.00%">
                  <c:v>0.87317199999999995</c:v>
                </c:pt>
                <c:pt idx="477" formatCode="0.00%">
                  <c:v>0.86473800000000001</c:v>
                </c:pt>
                <c:pt idx="478" formatCode="0.00%">
                  <c:v>0.87946899999999995</c:v>
                </c:pt>
                <c:pt idx="479" formatCode="0.00%">
                  <c:v>0.88157399999999997</c:v>
                </c:pt>
                <c:pt idx="480" formatCode="0.00%">
                  <c:v>0.87455300000000002</c:v>
                </c:pt>
                <c:pt idx="481" formatCode="0.00%">
                  <c:v>0.86096099999999998</c:v>
                </c:pt>
                <c:pt idx="482" formatCode="0.00%">
                  <c:v>0.87326700000000002</c:v>
                </c:pt>
                <c:pt idx="483" formatCode="0.00%">
                  <c:v>0.86490800000000001</c:v>
                </c:pt>
                <c:pt idx="484" formatCode="0.00%">
                  <c:v>0.87924199999999997</c:v>
                </c:pt>
                <c:pt idx="485" formatCode="0.00%">
                  <c:v>0.88336000000000003</c:v>
                </c:pt>
                <c:pt idx="486" formatCode="0.00%">
                  <c:v>0.90625500000000003</c:v>
                </c:pt>
                <c:pt idx="487" formatCode="0.00%">
                  <c:v>0.90576999999999996</c:v>
                </c:pt>
                <c:pt idx="488" formatCode="0.00%">
                  <c:v>0.90927500000000006</c:v>
                </c:pt>
                <c:pt idx="489" formatCode="0.00%">
                  <c:v>0.90396100000000001</c:v>
                </c:pt>
                <c:pt idx="490" formatCode="0.00%">
                  <c:v>0.89841000000000004</c:v>
                </c:pt>
                <c:pt idx="491" formatCode="0.00%">
                  <c:v>0.91250100000000001</c:v>
                </c:pt>
                <c:pt idx="492" formatCode="0.00%">
                  <c:v>0.900675</c:v>
                </c:pt>
                <c:pt idx="493" formatCode="0.00%">
                  <c:v>0.89484200000000003</c:v>
                </c:pt>
                <c:pt idx="494" formatCode="0.00%">
                  <c:v>0.89580099999999996</c:v>
                </c:pt>
                <c:pt idx="495" formatCode="0.00%">
                  <c:v>0.883525</c:v>
                </c:pt>
                <c:pt idx="496" formatCode="0.00%">
                  <c:v>0.86530499999999999</c:v>
                </c:pt>
                <c:pt idx="497" formatCode="0.00%">
                  <c:v>0.87731400000000004</c:v>
                </c:pt>
                <c:pt idx="498" formatCode="0.00%">
                  <c:v>0.84184999999999999</c:v>
                </c:pt>
                <c:pt idx="499" formatCode="0.00%">
                  <c:v>0.83049099999999998</c:v>
                </c:pt>
                <c:pt idx="500" formatCode="0.00%">
                  <c:v>0.81528599999999996</c:v>
                </c:pt>
                <c:pt idx="501" formatCode="0.00%">
                  <c:v>0.82873799999999997</c:v>
                </c:pt>
                <c:pt idx="502" formatCode="0.00%">
                  <c:v>0.837247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8B-4D3E-8581-BE3B320E3457}"/>
            </c:ext>
          </c:extLst>
        </c:ser>
        <c:ser>
          <c:idx val="1"/>
          <c:order val="2"/>
          <c:tx>
            <c:v>UPVECMO_Po_ukonceni_s_posilujici</c:v>
          </c:tx>
          <c:spPr>
            <a:ln>
              <a:noFill/>
            </a:ln>
          </c:spPr>
          <c:marker>
            <c:symbol val="none"/>
          </c:marker>
          <c:trendline>
            <c:spPr>
              <a:ln w="19050">
                <a:solidFill>
                  <a:srgbClr val="70AD47"/>
                </a:solidFill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D$2:$D$505</c:f>
              <c:numCache>
                <c:formatCode>General</c:formatCode>
                <c:ptCount val="504"/>
                <c:pt idx="426" formatCode="0.00%">
                  <c:v>1</c:v>
                </c:pt>
                <c:pt idx="427" formatCode="0.00%">
                  <c:v>1</c:v>
                </c:pt>
                <c:pt idx="428" formatCode="0.00%">
                  <c:v>1</c:v>
                </c:pt>
                <c:pt idx="429" formatCode="0.00%">
                  <c:v>1</c:v>
                </c:pt>
                <c:pt idx="430" formatCode="0.00%">
                  <c:v>1</c:v>
                </c:pt>
                <c:pt idx="431" formatCode="0.00%">
                  <c:v>1</c:v>
                </c:pt>
                <c:pt idx="432" formatCode="0.00%">
                  <c:v>1</c:v>
                </c:pt>
                <c:pt idx="433" formatCode="0.00%">
                  <c:v>1</c:v>
                </c:pt>
                <c:pt idx="434" formatCode="0.00%">
                  <c:v>1</c:v>
                </c:pt>
                <c:pt idx="435" formatCode="0.00%">
                  <c:v>1</c:v>
                </c:pt>
                <c:pt idx="436" formatCode="0.00%">
                  <c:v>1</c:v>
                </c:pt>
                <c:pt idx="437" formatCode="0.00%">
                  <c:v>1</c:v>
                </c:pt>
                <c:pt idx="438" formatCode="0.00%">
                  <c:v>1</c:v>
                </c:pt>
                <c:pt idx="439" formatCode="0.00%">
                  <c:v>1</c:v>
                </c:pt>
                <c:pt idx="440" formatCode="0.00%">
                  <c:v>1</c:v>
                </c:pt>
                <c:pt idx="441" formatCode="0.00%">
                  <c:v>1</c:v>
                </c:pt>
                <c:pt idx="442" formatCode="0.00%">
                  <c:v>1</c:v>
                </c:pt>
                <c:pt idx="443" formatCode="0.00%">
                  <c:v>1</c:v>
                </c:pt>
                <c:pt idx="444" formatCode="0.00%">
                  <c:v>1</c:v>
                </c:pt>
                <c:pt idx="445" formatCode="0.00%">
                  <c:v>1</c:v>
                </c:pt>
                <c:pt idx="446" formatCode="0.00%">
                  <c:v>1</c:v>
                </c:pt>
                <c:pt idx="447" formatCode="0.00%">
                  <c:v>0.96881200000000001</c:v>
                </c:pt>
                <c:pt idx="448" formatCode="0.00%">
                  <c:v>0.97041900000000003</c:v>
                </c:pt>
                <c:pt idx="449" formatCode="0.00%">
                  <c:v>0.970835</c:v>
                </c:pt>
                <c:pt idx="450" formatCode="0.00%">
                  <c:v>0.96994599999999997</c:v>
                </c:pt>
                <c:pt idx="451" formatCode="0.00%">
                  <c:v>0.97178699999999996</c:v>
                </c:pt>
                <c:pt idx="452" formatCode="0.00%">
                  <c:v>0.97477400000000003</c:v>
                </c:pt>
                <c:pt idx="453" formatCode="0.00%">
                  <c:v>0.97479400000000005</c:v>
                </c:pt>
                <c:pt idx="454" formatCode="0.00%">
                  <c:v>0.98253100000000004</c:v>
                </c:pt>
                <c:pt idx="455" formatCode="0.00%">
                  <c:v>0.98358299999999999</c:v>
                </c:pt>
                <c:pt idx="456" formatCode="0.00%">
                  <c:v>0.98460300000000001</c:v>
                </c:pt>
                <c:pt idx="457" formatCode="0.00%">
                  <c:v>0.98465800000000003</c:v>
                </c:pt>
                <c:pt idx="458" formatCode="0.00%">
                  <c:v>0.98428899999999997</c:v>
                </c:pt>
                <c:pt idx="459" formatCode="0.00%">
                  <c:v>0.98334699999999997</c:v>
                </c:pt>
                <c:pt idx="460" formatCode="0.00%">
                  <c:v>0.98307299999999997</c:v>
                </c:pt>
                <c:pt idx="461" formatCode="0.00%">
                  <c:v>1</c:v>
                </c:pt>
                <c:pt idx="462" formatCode="0.00%">
                  <c:v>1</c:v>
                </c:pt>
                <c:pt idx="463" formatCode="0.00%">
                  <c:v>1</c:v>
                </c:pt>
                <c:pt idx="464" formatCode="0.00%">
                  <c:v>0.98660700000000001</c:v>
                </c:pt>
                <c:pt idx="465" formatCode="0.00%">
                  <c:v>0.98635099999999998</c:v>
                </c:pt>
                <c:pt idx="466" formatCode="0.00%">
                  <c:v>0.97278600000000004</c:v>
                </c:pt>
                <c:pt idx="467" formatCode="0.00%">
                  <c:v>0.974638</c:v>
                </c:pt>
                <c:pt idx="468" formatCode="0.00%">
                  <c:v>0.97404299999999999</c:v>
                </c:pt>
                <c:pt idx="469" formatCode="0.00%">
                  <c:v>0.97222500000000001</c:v>
                </c:pt>
                <c:pt idx="470" formatCode="0.00%">
                  <c:v>0.97162899999999996</c:v>
                </c:pt>
                <c:pt idx="471" formatCode="0.00%">
                  <c:v>0.98577000000000004</c:v>
                </c:pt>
                <c:pt idx="472" formatCode="0.00%">
                  <c:v>0.97501300000000002</c:v>
                </c:pt>
                <c:pt idx="473" formatCode="0.00%">
                  <c:v>0.98978299999999997</c:v>
                </c:pt>
                <c:pt idx="474" formatCode="0.00%">
                  <c:v>0.97799599999999998</c:v>
                </c:pt>
                <c:pt idx="475" formatCode="0.00%">
                  <c:v>0.977182</c:v>
                </c:pt>
                <c:pt idx="476" formatCode="0.00%">
                  <c:v>0.97697299999999998</c:v>
                </c:pt>
                <c:pt idx="477" formatCode="0.00%">
                  <c:v>0.96628599999999998</c:v>
                </c:pt>
                <c:pt idx="478" formatCode="0.00%">
                  <c:v>0.958785</c:v>
                </c:pt>
                <c:pt idx="479" formatCode="0.00%">
                  <c:v>0.94946399999999997</c:v>
                </c:pt>
                <c:pt idx="480" formatCode="0.00%">
                  <c:v>0.94515499999999997</c:v>
                </c:pt>
                <c:pt idx="481" formatCode="0.00%">
                  <c:v>0.94669000000000003</c:v>
                </c:pt>
                <c:pt idx="482" formatCode="0.00%">
                  <c:v>0.94672400000000001</c:v>
                </c:pt>
                <c:pt idx="483" formatCode="0.00%">
                  <c:v>0.94151600000000002</c:v>
                </c:pt>
                <c:pt idx="484" formatCode="0.00%">
                  <c:v>0.94725300000000001</c:v>
                </c:pt>
                <c:pt idx="485" formatCode="0.00%">
                  <c:v>0.94585300000000005</c:v>
                </c:pt>
                <c:pt idx="486" formatCode="0.00%">
                  <c:v>0.96051500000000001</c:v>
                </c:pt>
                <c:pt idx="487" formatCode="0.00%">
                  <c:v>0.95991800000000005</c:v>
                </c:pt>
                <c:pt idx="488" formatCode="0.00%">
                  <c:v>0.97101199999999999</c:v>
                </c:pt>
                <c:pt idx="489" formatCode="0.00%">
                  <c:v>0.97033499999999995</c:v>
                </c:pt>
                <c:pt idx="490" formatCode="0.00%">
                  <c:v>0.94338200000000005</c:v>
                </c:pt>
                <c:pt idx="491" formatCode="0.00%">
                  <c:v>0.940967</c:v>
                </c:pt>
                <c:pt idx="492" formatCode="0.00%">
                  <c:v>0.95007299999999995</c:v>
                </c:pt>
                <c:pt idx="493" formatCode="0.00%">
                  <c:v>0.93060299999999996</c:v>
                </c:pt>
                <c:pt idx="494" formatCode="0.00%">
                  <c:v>0.91943399999999997</c:v>
                </c:pt>
                <c:pt idx="495" formatCode="0.00%">
                  <c:v>0.91632800000000003</c:v>
                </c:pt>
                <c:pt idx="496" formatCode="0.00%">
                  <c:v>0.90353300000000003</c:v>
                </c:pt>
                <c:pt idx="497" formatCode="0.00%">
                  <c:v>0.926589</c:v>
                </c:pt>
                <c:pt idx="498" formatCode="0.00%">
                  <c:v>0.92021900000000001</c:v>
                </c:pt>
                <c:pt idx="499" formatCode="0.00%">
                  <c:v>0.91021700000000005</c:v>
                </c:pt>
                <c:pt idx="500" formatCode="0.00%">
                  <c:v>0.94611900000000004</c:v>
                </c:pt>
                <c:pt idx="501" formatCode="0.00%">
                  <c:v>0.95721599999999996</c:v>
                </c:pt>
                <c:pt idx="502" formatCode="0.00%">
                  <c:v>0.953181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A8B-4D3E-8581-BE3B320E3457}"/>
            </c:ext>
          </c:extLst>
        </c:ser>
        <c:ser>
          <c:idx val="2"/>
          <c:order val="3"/>
          <c:tx>
            <c:v>UPVECMO_Po_ukonceni_s_posilujici_65</c:v>
          </c:tx>
          <c:spPr>
            <a:ln>
              <a:noFill/>
              <a:prstDash val="sysDash"/>
            </a:ln>
          </c:spPr>
          <c:marker>
            <c:symbol val="none"/>
          </c:marker>
          <c:trendline>
            <c:spPr>
              <a:ln w="19050">
                <a:solidFill>
                  <a:srgbClr val="70AD47"/>
                </a:solidFill>
                <a:prstDash val="sysDash"/>
              </a:ln>
            </c:spPr>
            <c:trendlineType val="movingAvg"/>
            <c:period val="7"/>
            <c:dispRSqr val="0"/>
            <c:dispEq val="0"/>
          </c:trendline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E$2:$E$505</c:f>
              <c:numCache>
                <c:formatCode>General</c:formatCode>
                <c:ptCount val="504"/>
                <c:pt idx="426" formatCode="0.00%">
                  <c:v>1</c:v>
                </c:pt>
                <c:pt idx="427" formatCode="0.00%">
                  <c:v>1</c:v>
                </c:pt>
                <c:pt idx="428" formatCode="0.00%">
                  <c:v>1</c:v>
                </c:pt>
                <c:pt idx="429" formatCode="0.00%">
                  <c:v>1</c:v>
                </c:pt>
                <c:pt idx="430" formatCode="0.00%">
                  <c:v>1</c:v>
                </c:pt>
                <c:pt idx="431" formatCode="0.00%">
                  <c:v>1</c:v>
                </c:pt>
                <c:pt idx="432" formatCode="0.00%">
                  <c:v>1</c:v>
                </c:pt>
                <c:pt idx="433" formatCode="0.00%">
                  <c:v>1</c:v>
                </c:pt>
                <c:pt idx="434" formatCode="0.00%">
                  <c:v>1</c:v>
                </c:pt>
                <c:pt idx="435" formatCode="0.00%">
                  <c:v>1</c:v>
                </c:pt>
                <c:pt idx="436" formatCode="0.00%">
                  <c:v>1</c:v>
                </c:pt>
                <c:pt idx="437" formatCode="0.00%">
                  <c:v>1</c:v>
                </c:pt>
                <c:pt idx="438" formatCode="0.00%">
                  <c:v>1</c:v>
                </c:pt>
                <c:pt idx="439" formatCode="0.00%">
                  <c:v>1</c:v>
                </c:pt>
                <c:pt idx="440" formatCode="0.00%">
                  <c:v>1</c:v>
                </c:pt>
                <c:pt idx="441" formatCode="0.00%">
                  <c:v>1</c:v>
                </c:pt>
                <c:pt idx="442" formatCode="0.00%">
                  <c:v>1</c:v>
                </c:pt>
                <c:pt idx="443" formatCode="0.00%">
                  <c:v>1</c:v>
                </c:pt>
                <c:pt idx="444" formatCode="0.00%">
                  <c:v>1</c:v>
                </c:pt>
                <c:pt idx="445" formatCode="0.00%">
                  <c:v>1</c:v>
                </c:pt>
                <c:pt idx="446" formatCode="0.00%">
                  <c:v>1</c:v>
                </c:pt>
                <c:pt idx="447" formatCode="0.00%">
                  <c:v>0.989537</c:v>
                </c:pt>
                <c:pt idx="448" formatCode="0.00%">
                  <c:v>0.98968299999999998</c:v>
                </c:pt>
                <c:pt idx="449" formatCode="0.00%">
                  <c:v>0.98983200000000005</c:v>
                </c:pt>
                <c:pt idx="450" formatCode="0.00%">
                  <c:v>0.98989499999999997</c:v>
                </c:pt>
                <c:pt idx="451" formatCode="0.00%">
                  <c:v>0.99033800000000005</c:v>
                </c:pt>
                <c:pt idx="452" formatCode="0.00%">
                  <c:v>0.99083299999999996</c:v>
                </c:pt>
                <c:pt idx="453" formatCode="0.00%">
                  <c:v>0.99033700000000002</c:v>
                </c:pt>
                <c:pt idx="454" formatCode="0.00%">
                  <c:v>0.99357200000000001</c:v>
                </c:pt>
                <c:pt idx="455" formatCode="0.00%">
                  <c:v>0.99409199999999998</c:v>
                </c:pt>
                <c:pt idx="456" formatCode="0.00%">
                  <c:v>0.99426099999999995</c:v>
                </c:pt>
                <c:pt idx="457" formatCode="0.00%">
                  <c:v>0.994089</c:v>
                </c:pt>
                <c:pt idx="458" formatCode="0.00%">
                  <c:v>0.99421300000000001</c:v>
                </c:pt>
                <c:pt idx="459" formatCode="0.00%">
                  <c:v>0.99392599999999998</c:v>
                </c:pt>
                <c:pt idx="460" formatCode="0.00%">
                  <c:v>0.99371900000000002</c:v>
                </c:pt>
                <c:pt idx="461" formatCode="0.00%">
                  <c:v>1</c:v>
                </c:pt>
                <c:pt idx="462" formatCode="0.00%">
                  <c:v>1</c:v>
                </c:pt>
                <c:pt idx="463" formatCode="0.00%">
                  <c:v>1</c:v>
                </c:pt>
                <c:pt idx="464" formatCode="0.00%">
                  <c:v>0.99501700000000004</c:v>
                </c:pt>
                <c:pt idx="465" formatCode="0.00%">
                  <c:v>0.99498299999999995</c:v>
                </c:pt>
                <c:pt idx="466" formatCode="0.00%">
                  <c:v>0.99032600000000004</c:v>
                </c:pt>
                <c:pt idx="467" formatCode="0.00%">
                  <c:v>0.99163100000000004</c:v>
                </c:pt>
                <c:pt idx="468" formatCode="0.00%">
                  <c:v>0.99150000000000005</c:v>
                </c:pt>
                <c:pt idx="469" formatCode="0.00%">
                  <c:v>0.99059600000000003</c:v>
                </c:pt>
                <c:pt idx="470" formatCode="0.00%">
                  <c:v>0.99042699999999995</c:v>
                </c:pt>
                <c:pt idx="471" formatCode="0.00%">
                  <c:v>0.99547600000000003</c:v>
                </c:pt>
                <c:pt idx="472" formatCode="0.00%">
                  <c:v>0.99125600000000003</c:v>
                </c:pt>
                <c:pt idx="473" formatCode="0.00%">
                  <c:v>0.99637399999999998</c:v>
                </c:pt>
                <c:pt idx="474" formatCode="0.00%">
                  <c:v>0.99171699999999996</c:v>
                </c:pt>
                <c:pt idx="475" formatCode="0.00%">
                  <c:v>0.99151900000000004</c:v>
                </c:pt>
                <c:pt idx="476" formatCode="0.00%">
                  <c:v>0.99106899999999998</c:v>
                </c:pt>
                <c:pt idx="477" formatCode="0.00%">
                  <c:v>0.98604999999999998</c:v>
                </c:pt>
                <c:pt idx="478" formatCode="0.00%">
                  <c:v>0.98760499999999996</c:v>
                </c:pt>
                <c:pt idx="479" formatCode="0.00%">
                  <c:v>0.98568500000000003</c:v>
                </c:pt>
                <c:pt idx="480" formatCode="0.00%">
                  <c:v>0.98466299999999995</c:v>
                </c:pt>
                <c:pt idx="481" formatCode="0.00%">
                  <c:v>0.98539100000000002</c:v>
                </c:pt>
                <c:pt idx="482" formatCode="0.00%">
                  <c:v>0.98582499999999995</c:v>
                </c:pt>
                <c:pt idx="483" formatCode="0.00%">
                  <c:v>0.98472300000000001</c:v>
                </c:pt>
                <c:pt idx="484" formatCode="0.00%">
                  <c:v>0.98713300000000004</c:v>
                </c:pt>
                <c:pt idx="485" formatCode="0.00%">
                  <c:v>0.98553500000000005</c:v>
                </c:pt>
                <c:pt idx="486" formatCode="0.00%">
                  <c:v>0.990035</c:v>
                </c:pt>
                <c:pt idx="487" formatCode="0.00%">
                  <c:v>0.990039</c:v>
                </c:pt>
                <c:pt idx="488" formatCode="0.00%">
                  <c:v>0.99374499999999999</c:v>
                </c:pt>
                <c:pt idx="489" formatCode="0.00%">
                  <c:v>0.99355300000000002</c:v>
                </c:pt>
                <c:pt idx="490" formatCode="0.00%">
                  <c:v>0.98500699999999997</c:v>
                </c:pt>
                <c:pt idx="491" formatCode="0.00%">
                  <c:v>0.98726100000000006</c:v>
                </c:pt>
                <c:pt idx="492" formatCode="0.00%">
                  <c:v>0.98684099999999997</c:v>
                </c:pt>
                <c:pt idx="493" formatCode="0.00%">
                  <c:v>0.98096099999999997</c:v>
                </c:pt>
                <c:pt idx="494" formatCode="0.00%">
                  <c:v>0.97706700000000002</c:v>
                </c:pt>
                <c:pt idx="495" formatCode="0.00%">
                  <c:v>0.976275</c:v>
                </c:pt>
                <c:pt idx="496" formatCode="0.00%">
                  <c:v>0.97247499999999998</c:v>
                </c:pt>
                <c:pt idx="497" formatCode="0.00%">
                  <c:v>0.97916599999999998</c:v>
                </c:pt>
                <c:pt idx="498" formatCode="0.00%">
                  <c:v>0.97384499999999996</c:v>
                </c:pt>
                <c:pt idx="499" formatCode="0.00%">
                  <c:v>0.97220899999999999</c:v>
                </c:pt>
                <c:pt idx="500" formatCode="0.00%">
                  <c:v>0.98189400000000004</c:v>
                </c:pt>
                <c:pt idx="501" formatCode="0.00%">
                  <c:v>0.985016</c:v>
                </c:pt>
                <c:pt idx="502" formatCode="0.00%">
                  <c:v>0.983713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A8B-4D3E-8581-BE3B320E34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1"/>
          <c:min val="0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CR_testu_65_100_000_7dni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-7.0635000000000003E-2</c:v>
                </c:pt>
                <c:pt idx="1">
                  <c:v>-6.3264000000000001E-2</c:v>
                </c:pt>
                <c:pt idx="2">
                  <c:v>-7.9283999999999993E-2</c:v>
                </c:pt>
                <c:pt idx="3">
                  <c:v>2.8452000000000002E-2</c:v>
                </c:pt>
                <c:pt idx="4">
                  <c:v>5.0068000000000001E-2</c:v>
                </c:pt>
                <c:pt idx="5">
                  <c:v>-6.0470999999999997E-2</c:v>
                </c:pt>
                <c:pt idx="6">
                  <c:v>-8.3405999999999994E-2</c:v>
                </c:pt>
                <c:pt idx="7">
                  <c:v>-6.3710000000000003E-2</c:v>
                </c:pt>
                <c:pt idx="8">
                  <c:v>-7.4552999999999994E-2</c:v>
                </c:pt>
                <c:pt idx="9">
                  <c:v>-5.7166000000000002E-2</c:v>
                </c:pt>
                <c:pt idx="10">
                  <c:v>4.2304000000000001E-2</c:v>
                </c:pt>
                <c:pt idx="11">
                  <c:v>0.125856</c:v>
                </c:pt>
                <c:pt idx="12">
                  <c:v>5.1847999999999998E-2</c:v>
                </c:pt>
                <c:pt idx="13">
                  <c:v>5.6590000000000001E-2</c:v>
                </c:pt>
                <c:pt idx="14">
                  <c:v>5.5452000000000001E-2</c:v>
                </c:pt>
                <c:pt idx="15">
                  <c:v>6.6258999999999998E-2</c:v>
                </c:pt>
                <c:pt idx="16">
                  <c:v>7.7206999999999998E-2</c:v>
                </c:pt>
                <c:pt idx="17">
                  <c:v>0.103892</c:v>
                </c:pt>
                <c:pt idx="18">
                  <c:v>9.6922999999999995E-2</c:v>
                </c:pt>
                <c:pt idx="19">
                  <c:v>1.2647E-2</c:v>
                </c:pt>
                <c:pt idx="20">
                  <c:v>-2.4060000000000002E-3</c:v>
                </c:pt>
                <c:pt idx="21">
                  <c:v>-4.6620000000000003E-3</c:v>
                </c:pt>
                <c:pt idx="22">
                  <c:v>-5.6870999999999998E-2</c:v>
                </c:pt>
                <c:pt idx="23">
                  <c:v>-5.0597000000000003E-2</c:v>
                </c:pt>
                <c:pt idx="24">
                  <c:v>2.7043000000000001E-2</c:v>
                </c:pt>
                <c:pt idx="25">
                  <c:v>6.1388999999999999E-2</c:v>
                </c:pt>
                <c:pt idx="26">
                  <c:v>-3.0322000000000002E-2</c:v>
                </c:pt>
                <c:pt idx="27">
                  <c:v>-0.12119099999999999</c:v>
                </c:pt>
                <c:pt idx="28">
                  <c:v>-0.15740499999999999</c:v>
                </c:pt>
                <c:pt idx="29">
                  <c:v>-0.15316299999999999</c:v>
                </c:pt>
                <c:pt idx="30">
                  <c:v>-0.12194099999999999</c:v>
                </c:pt>
                <c:pt idx="31">
                  <c:v>-5.8219E-2</c:v>
                </c:pt>
                <c:pt idx="32">
                  <c:v>-1.4348E-2</c:v>
                </c:pt>
                <c:pt idx="33">
                  <c:v>-1.5082E-2</c:v>
                </c:pt>
                <c:pt idx="34">
                  <c:v>6.7863000000000007E-2</c:v>
                </c:pt>
                <c:pt idx="35">
                  <c:v>9.8624000000000003E-2</c:v>
                </c:pt>
                <c:pt idx="36">
                  <c:v>8.2751000000000005E-2</c:v>
                </c:pt>
                <c:pt idx="37">
                  <c:v>7.6733999999999997E-2</c:v>
                </c:pt>
                <c:pt idx="38">
                  <c:v>0.136966</c:v>
                </c:pt>
                <c:pt idx="39">
                  <c:v>0.16486999999999999</c:v>
                </c:pt>
                <c:pt idx="40">
                  <c:v>8.1833000000000003E-2</c:v>
                </c:pt>
                <c:pt idx="41">
                  <c:v>8.5939999999999992E-3</c:v>
                </c:pt>
                <c:pt idx="42">
                  <c:v>1.652E-2</c:v>
                </c:pt>
                <c:pt idx="43">
                  <c:v>7.0878999999999998E-2</c:v>
                </c:pt>
                <c:pt idx="44">
                  <c:v>0.107706</c:v>
                </c:pt>
                <c:pt idx="45">
                  <c:v>0.22589999999999999</c:v>
                </c:pt>
                <c:pt idx="46">
                  <c:v>0.31085299999999999</c:v>
                </c:pt>
                <c:pt idx="47">
                  <c:v>0.22062699999999999</c:v>
                </c:pt>
                <c:pt idx="48">
                  <c:v>0.16841400000000001</c:v>
                </c:pt>
                <c:pt idx="49">
                  <c:v>0.132302</c:v>
                </c:pt>
                <c:pt idx="50">
                  <c:v>0.13611599999999999</c:v>
                </c:pt>
                <c:pt idx="51">
                  <c:v>0.12843299999999999</c:v>
                </c:pt>
                <c:pt idx="52">
                  <c:v>0.156888</c:v>
                </c:pt>
                <c:pt idx="53">
                  <c:v>0.18462999999999999</c:v>
                </c:pt>
                <c:pt idx="54">
                  <c:v>0.11013100000000001</c:v>
                </c:pt>
                <c:pt idx="55">
                  <c:v>7.6846999999999999E-2</c:v>
                </c:pt>
                <c:pt idx="56">
                  <c:v>6.6321000000000005E-2</c:v>
                </c:pt>
                <c:pt idx="57">
                  <c:v>1.149E-2</c:v>
                </c:pt>
                <c:pt idx="58">
                  <c:v>-2.6356000000000001E-2</c:v>
                </c:pt>
                <c:pt idx="59">
                  <c:v>9.3539999999999995E-3</c:v>
                </c:pt>
                <c:pt idx="60">
                  <c:v>3.8842000000000002E-2</c:v>
                </c:pt>
                <c:pt idx="61">
                  <c:v>-4.3521999999999998E-2</c:v>
                </c:pt>
                <c:pt idx="62">
                  <c:v>-0.11437700000000001</c:v>
                </c:pt>
                <c:pt idx="63">
                  <c:v>-0.11619400000000001</c:v>
                </c:pt>
                <c:pt idx="64">
                  <c:v>-8.6807999999999996E-2</c:v>
                </c:pt>
                <c:pt idx="65">
                  <c:v>-7.5882000000000005E-2</c:v>
                </c:pt>
                <c:pt idx="66">
                  <c:v>-6.1809999999999997E-2</c:v>
                </c:pt>
                <c:pt idx="67">
                  <c:v>-4.9494999999999997E-2</c:v>
                </c:pt>
                <c:pt idx="68">
                  <c:v>-0.114631</c:v>
                </c:pt>
                <c:pt idx="69">
                  <c:v>-0.13849600000000001</c:v>
                </c:pt>
                <c:pt idx="70">
                  <c:v>-0.14219399999999999</c:v>
                </c:pt>
                <c:pt idx="71">
                  <c:v>-0.18792700000000001</c:v>
                </c:pt>
                <c:pt idx="72">
                  <c:v>-0.235511</c:v>
                </c:pt>
                <c:pt idx="73">
                  <c:v>-0.22040100000000001</c:v>
                </c:pt>
                <c:pt idx="74">
                  <c:v>-0.20284199999999999</c:v>
                </c:pt>
                <c:pt idx="75">
                  <c:v>-0.25218099999999999</c:v>
                </c:pt>
                <c:pt idx="76">
                  <c:v>-0.292377</c:v>
                </c:pt>
                <c:pt idx="77">
                  <c:v>-0.36588500000000002</c:v>
                </c:pt>
                <c:pt idx="78">
                  <c:v>-0.38158799999999998</c:v>
                </c:pt>
                <c:pt idx="79">
                  <c:v>-0.37879099999999999</c:v>
                </c:pt>
                <c:pt idx="80">
                  <c:v>-0.34773199999999999</c:v>
                </c:pt>
                <c:pt idx="81">
                  <c:v>-0.306255</c:v>
                </c:pt>
                <c:pt idx="82">
                  <c:v>-0.35275200000000001</c:v>
                </c:pt>
                <c:pt idx="83">
                  <c:v>-0.30859199999999998</c:v>
                </c:pt>
                <c:pt idx="84">
                  <c:v>-0.22089600000000001</c:v>
                </c:pt>
                <c:pt idx="85">
                  <c:v>-0.19734499999999999</c:v>
                </c:pt>
                <c:pt idx="86">
                  <c:v>-0.18021999999999999</c:v>
                </c:pt>
                <c:pt idx="87">
                  <c:v>-0.10385800000000001</c:v>
                </c:pt>
                <c:pt idx="88">
                  <c:v>-7.1145E-2</c:v>
                </c:pt>
                <c:pt idx="89">
                  <c:v>-0.17494199999999999</c:v>
                </c:pt>
                <c:pt idx="90">
                  <c:v>-0.20055600000000001</c:v>
                </c:pt>
                <c:pt idx="91">
                  <c:v>-0.249477</c:v>
                </c:pt>
                <c:pt idx="92">
                  <c:v>-0.22555700000000001</c:v>
                </c:pt>
                <c:pt idx="93">
                  <c:v>-0.21856100000000001</c:v>
                </c:pt>
                <c:pt idx="94">
                  <c:v>-0.16447200000000001</c:v>
                </c:pt>
                <c:pt idx="95">
                  <c:v>-0.12873000000000001</c:v>
                </c:pt>
                <c:pt idx="96">
                  <c:v>-0.20779600000000001</c:v>
                </c:pt>
                <c:pt idx="97">
                  <c:v>-0.18657799999999999</c:v>
                </c:pt>
                <c:pt idx="98">
                  <c:v>-0.160103</c:v>
                </c:pt>
                <c:pt idx="99">
                  <c:v>-0.132379</c:v>
                </c:pt>
                <c:pt idx="100">
                  <c:v>-0.10884000000000001</c:v>
                </c:pt>
                <c:pt idx="101">
                  <c:v>-1.9231999999999999E-2</c:v>
                </c:pt>
                <c:pt idx="102">
                  <c:v>2.9700000000000001E-2</c:v>
                </c:pt>
                <c:pt idx="103">
                  <c:v>-6.6490999999999995E-2</c:v>
                </c:pt>
                <c:pt idx="104">
                  <c:v>-6.4637E-2</c:v>
                </c:pt>
                <c:pt idx="105">
                  <c:v>-6.4301999999999998E-2</c:v>
                </c:pt>
                <c:pt idx="106">
                  <c:v>-3.1349000000000002E-2</c:v>
                </c:pt>
                <c:pt idx="107">
                  <c:v>-5.5024999999999998E-2</c:v>
                </c:pt>
                <c:pt idx="108">
                  <c:v>-1.3441E-2</c:v>
                </c:pt>
                <c:pt idx="109">
                  <c:v>2.4503E-2</c:v>
                </c:pt>
                <c:pt idx="110">
                  <c:v>-7.7813999999999994E-2</c:v>
                </c:pt>
                <c:pt idx="111">
                  <c:v>-9.2301999999999995E-2</c:v>
                </c:pt>
                <c:pt idx="112">
                  <c:v>-9.3434000000000003E-2</c:v>
                </c:pt>
                <c:pt idx="113">
                  <c:v>-6.9524000000000002E-2</c:v>
                </c:pt>
                <c:pt idx="114">
                  <c:v>-0.17272999999999999</c:v>
                </c:pt>
                <c:pt idx="115">
                  <c:v>-0.228906</c:v>
                </c:pt>
                <c:pt idx="116">
                  <c:v>-0.252471</c:v>
                </c:pt>
                <c:pt idx="117">
                  <c:v>-0.31807600000000003</c:v>
                </c:pt>
                <c:pt idx="118">
                  <c:v>-0.323963</c:v>
                </c:pt>
                <c:pt idx="119">
                  <c:v>-0.31551200000000001</c:v>
                </c:pt>
                <c:pt idx="120">
                  <c:v>-0.21219099999999999</c:v>
                </c:pt>
                <c:pt idx="121">
                  <c:v>-1.0057E-2</c:v>
                </c:pt>
                <c:pt idx="122">
                  <c:v>0.103265</c:v>
                </c:pt>
                <c:pt idx="123">
                  <c:v>0.19636600000000001</c:v>
                </c:pt>
                <c:pt idx="124">
                  <c:v>8.8514999999999996E-2</c:v>
                </c:pt>
                <c:pt idx="125">
                  <c:v>7.7711000000000002E-2</c:v>
                </c:pt>
                <c:pt idx="126">
                  <c:v>8.0576999999999996E-2</c:v>
                </c:pt>
                <c:pt idx="127">
                  <c:v>0.120533</c:v>
                </c:pt>
                <c:pt idx="128">
                  <c:v>0.20088600000000001</c:v>
                </c:pt>
                <c:pt idx="129">
                  <c:v>0.32735500000000001</c:v>
                </c:pt>
                <c:pt idx="130">
                  <c:v>0.306863</c:v>
                </c:pt>
                <c:pt idx="131">
                  <c:v>0.135658</c:v>
                </c:pt>
                <c:pt idx="132">
                  <c:v>4.7530000000000003E-2</c:v>
                </c:pt>
                <c:pt idx="133">
                  <c:v>-1.2695E-2</c:v>
                </c:pt>
                <c:pt idx="134">
                  <c:v>-6.5771999999999997E-2</c:v>
                </c:pt>
                <c:pt idx="135">
                  <c:v>-0.15587599999999999</c:v>
                </c:pt>
                <c:pt idx="136">
                  <c:v>-0.23933399999999999</c:v>
                </c:pt>
                <c:pt idx="137">
                  <c:v>-0.245342</c:v>
                </c:pt>
                <c:pt idx="138">
                  <c:v>-0.30675799999999998</c:v>
                </c:pt>
                <c:pt idx="139">
                  <c:v>-0.32646399999999998</c:v>
                </c:pt>
                <c:pt idx="140">
                  <c:v>-0.31447199999999997</c:v>
                </c:pt>
                <c:pt idx="141">
                  <c:v>-0.30355399999999999</c:v>
                </c:pt>
                <c:pt idx="142">
                  <c:v>-0.28744900000000001</c:v>
                </c:pt>
                <c:pt idx="143">
                  <c:v>-0.21578800000000001</c:v>
                </c:pt>
                <c:pt idx="144">
                  <c:v>-0.18693799999999999</c:v>
                </c:pt>
                <c:pt idx="145">
                  <c:v>-0.24651200000000001</c:v>
                </c:pt>
                <c:pt idx="146">
                  <c:v>-0.24384500000000001</c:v>
                </c:pt>
                <c:pt idx="147">
                  <c:v>-0.23242199999999999</c:v>
                </c:pt>
                <c:pt idx="148">
                  <c:v>-0.19444</c:v>
                </c:pt>
                <c:pt idx="149">
                  <c:v>-0.177733</c:v>
                </c:pt>
                <c:pt idx="150">
                  <c:v>-0.113174</c:v>
                </c:pt>
                <c:pt idx="151">
                  <c:v>-8.2733000000000001E-2</c:v>
                </c:pt>
                <c:pt idx="152">
                  <c:v>-0.17100799999999999</c:v>
                </c:pt>
                <c:pt idx="153">
                  <c:v>-0.170706</c:v>
                </c:pt>
                <c:pt idx="154">
                  <c:v>-0.155973</c:v>
                </c:pt>
                <c:pt idx="155">
                  <c:v>-0.14741199999999999</c:v>
                </c:pt>
                <c:pt idx="156">
                  <c:v>-0.14952399999999999</c:v>
                </c:pt>
                <c:pt idx="157">
                  <c:v>-8.4726999999999997E-2</c:v>
                </c:pt>
                <c:pt idx="158">
                  <c:v>-4.8249E-2</c:v>
                </c:pt>
                <c:pt idx="159">
                  <c:v>-0.13553200000000001</c:v>
                </c:pt>
                <c:pt idx="160">
                  <c:v>-0.16226199999999999</c:v>
                </c:pt>
                <c:pt idx="161">
                  <c:v>-0.16000900000000001</c:v>
                </c:pt>
                <c:pt idx="162">
                  <c:v>-0.155305</c:v>
                </c:pt>
                <c:pt idx="163">
                  <c:v>-0.18013699999999999</c:v>
                </c:pt>
                <c:pt idx="164">
                  <c:v>-0.124473</c:v>
                </c:pt>
                <c:pt idx="165">
                  <c:v>-0.10358100000000001</c:v>
                </c:pt>
                <c:pt idx="166">
                  <c:v>-0.18343200000000001</c:v>
                </c:pt>
                <c:pt idx="167">
                  <c:v>-0.18220600000000001</c:v>
                </c:pt>
                <c:pt idx="168">
                  <c:v>-0.169294</c:v>
                </c:pt>
                <c:pt idx="169">
                  <c:v>-0.14215</c:v>
                </c:pt>
                <c:pt idx="170">
                  <c:v>-0.116393</c:v>
                </c:pt>
                <c:pt idx="171">
                  <c:v>-3.1313000000000001E-2</c:v>
                </c:pt>
                <c:pt idx="172">
                  <c:v>8.7039999999999999E-3</c:v>
                </c:pt>
                <c:pt idx="173">
                  <c:v>-8.7367E-2</c:v>
                </c:pt>
                <c:pt idx="174">
                  <c:v>-9.5338999999999993E-2</c:v>
                </c:pt>
                <c:pt idx="175">
                  <c:v>-5.6959999999999997E-2</c:v>
                </c:pt>
                <c:pt idx="176">
                  <c:v>-3.6004000000000001E-2</c:v>
                </c:pt>
                <c:pt idx="177">
                  <c:v>-4.5870000000000001E-2</c:v>
                </c:pt>
                <c:pt idx="178">
                  <c:v>3.3119000000000003E-2</c:v>
                </c:pt>
                <c:pt idx="179">
                  <c:v>6.6037999999999999E-2</c:v>
                </c:pt>
                <c:pt idx="180">
                  <c:v>-5.1916999999999998E-2</c:v>
                </c:pt>
                <c:pt idx="181">
                  <c:v>-8.2956000000000002E-2</c:v>
                </c:pt>
                <c:pt idx="182">
                  <c:v>-7.1998000000000006E-2</c:v>
                </c:pt>
                <c:pt idx="183">
                  <c:v>-7.1667999999999996E-2</c:v>
                </c:pt>
                <c:pt idx="184">
                  <c:v>-9.4020999999999993E-2</c:v>
                </c:pt>
                <c:pt idx="185">
                  <c:v>-3.7245E-2</c:v>
                </c:pt>
                <c:pt idx="186">
                  <c:v>-9.6609999999999994E-3</c:v>
                </c:pt>
                <c:pt idx="187">
                  <c:v>-0.102925</c:v>
                </c:pt>
                <c:pt idx="188">
                  <c:v>-0.14194000000000001</c:v>
                </c:pt>
                <c:pt idx="189">
                  <c:v>-0.16442399999999999</c:v>
                </c:pt>
                <c:pt idx="190">
                  <c:v>-0.162381</c:v>
                </c:pt>
                <c:pt idx="191">
                  <c:v>-0.181038</c:v>
                </c:pt>
                <c:pt idx="192">
                  <c:v>-0.12872</c:v>
                </c:pt>
                <c:pt idx="193">
                  <c:v>-0.108864</c:v>
                </c:pt>
                <c:pt idx="194">
                  <c:v>-0.19289100000000001</c:v>
                </c:pt>
                <c:pt idx="195">
                  <c:v>-0.19739100000000001</c:v>
                </c:pt>
                <c:pt idx="196">
                  <c:v>-0.17973800000000001</c:v>
                </c:pt>
                <c:pt idx="197">
                  <c:v>-0.17347199999999999</c:v>
                </c:pt>
                <c:pt idx="198">
                  <c:v>-0.184836</c:v>
                </c:pt>
                <c:pt idx="199">
                  <c:v>-0.130574</c:v>
                </c:pt>
                <c:pt idx="200">
                  <c:v>-9.7244999999999998E-2</c:v>
                </c:pt>
                <c:pt idx="201">
                  <c:v>-0.17621899999999999</c:v>
                </c:pt>
                <c:pt idx="202">
                  <c:v>-0.209595</c:v>
                </c:pt>
                <c:pt idx="203">
                  <c:v>-0.21571599999999999</c:v>
                </c:pt>
                <c:pt idx="204">
                  <c:v>-0.21950500000000001</c:v>
                </c:pt>
                <c:pt idx="205">
                  <c:v>-0.220107</c:v>
                </c:pt>
                <c:pt idx="206">
                  <c:v>-0.17272999999999999</c:v>
                </c:pt>
                <c:pt idx="207">
                  <c:v>-0.161522</c:v>
                </c:pt>
                <c:pt idx="208">
                  <c:v>-0.24531600000000001</c:v>
                </c:pt>
                <c:pt idx="209">
                  <c:v>-0.245473</c:v>
                </c:pt>
                <c:pt idx="210">
                  <c:v>-0.23336799999999999</c:v>
                </c:pt>
                <c:pt idx="211">
                  <c:v>-0.21592700000000001</c:v>
                </c:pt>
                <c:pt idx="212">
                  <c:v>-0.225525</c:v>
                </c:pt>
                <c:pt idx="213">
                  <c:v>-0.22702800000000001</c:v>
                </c:pt>
                <c:pt idx="214">
                  <c:v>-0.21899399999999999</c:v>
                </c:pt>
                <c:pt idx="215">
                  <c:v>-0.28996499999999997</c:v>
                </c:pt>
                <c:pt idx="216">
                  <c:v>-0.39292700000000003</c:v>
                </c:pt>
                <c:pt idx="217">
                  <c:v>-0.38036700000000001</c:v>
                </c:pt>
                <c:pt idx="218">
                  <c:v>-0.35097600000000001</c:v>
                </c:pt>
                <c:pt idx="219">
                  <c:v>-0.299701</c:v>
                </c:pt>
                <c:pt idx="220">
                  <c:v>-0.168487</c:v>
                </c:pt>
                <c:pt idx="221">
                  <c:v>-0.125583</c:v>
                </c:pt>
                <c:pt idx="222">
                  <c:v>-0.14616399999999999</c:v>
                </c:pt>
                <c:pt idx="223">
                  <c:v>-3.0713000000000001E-2</c:v>
                </c:pt>
                <c:pt idx="224">
                  <c:v>-3.3057000000000003E-2</c:v>
                </c:pt>
                <c:pt idx="225">
                  <c:v>-5.0867000000000002E-2</c:v>
                </c:pt>
                <c:pt idx="226">
                  <c:v>-6.2177000000000003E-2</c:v>
                </c:pt>
                <c:pt idx="227">
                  <c:v>-6.8684999999999996E-2</c:v>
                </c:pt>
                <c:pt idx="228">
                  <c:v>-7.8658000000000006E-2</c:v>
                </c:pt>
                <c:pt idx="229">
                  <c:v>-0.17207900000000001</c:v>
                </c:pt>
                <c:pt idx="230">
                  <c:v>-0.26525500000000002</c:v>
                </c:pt>
                <c:pt idx="231">
                  <c:v>-0.26059300000000002</c:v>
                </c:pt>
                <c:pt idx="232">
                  <c:v>-0.23009599999999999</c:v>
                </c:pt>
                <c:pt idx="233">
                  <c:v>-0.225018</c:v>
                </c:pt>
                <c:pt idx="234">
                  <c:v>-0.176956</c:v>
                </c:pt>
                <c:pt idx="235">
                  <c:v>-0.15651599999999999</c:v>
                </c:pt>
                <c:pt idx="236">
                  <c:v>-0.247609</c:v>
                </c:pt>
                <c:pt idx="237">
                  <c:v>-0.24282500000000001</c:v>
                </c:pt>
                <c:pt idx="238">
                  <c:v>-0.226189</c:v>
                </c:pt>
                <c:pt idx="239">
                  <c:v>-0.20718300000000001</c:v>
                </c:pt>
                <c:pt idx="240">
                  <c:v>-0.19714000000000001</c:v>
                </c:pt>
                <c:pt idx="241">
                  <c:v>-0.12756500000000001</c:v>
                </c:pt>
                <c:pt idx="242">
                  <c:v>-0.110585</c:v>
                </c:pt>
                <c:pt idx="243">
                  <c:v>-0.197521</c:v>
                </c:pt>
                <c:pt idx="244">
                  <c:v>-0.190805</c:v>
                </c:pt>
                <c:pt idx="245">
                  <c:v>-0.16808200000000001</c:v>
                </c:pt>
                <c:pt idx="246">
                  <c:v>-0.158829</c:v>
                </c:pt>
                <c:pt idx="247">
                  <c:v>-0.176092</c:v>
                </c:pt>
                <c:pt idx="248">
                  <c:v>-0.14594099999999999</c:v>
                </c:pt>
                <c:pt idx="249">
                  <c:v>-0.13841400000000001</c:v>
                </c:pt>
                <c:pt idx="250">
                  <c:v>-0.234794</c:v>
                </c:pt>
                <c:pt idx="251">
                  <c:v>-0.23238400000000001</c:v>
                </c:pt>
                <c:pt idx="252">
                  <c:v>-0.236319</c:v>
                </c:pt>
                <c:pt idx="253">
                  <c:v>-0.22145300000000001</c:v>
                </c:pt>
                <c:pt idx="254">
                  <c:v>-0.20697199999999999</c:v>
                </c:pt>
                <c:pt idx="255">
                  <c:v>-0.14568900000000001</c:v>
                </c:pt>
                <c:pt idx="256">
                  <c:v>-0.12803800000000001</c:v>
                </c:pt>
                <c:pt idx="257">
                  <c:v>-0.223832</c:v>
                </c:pt>
                <c:pt idx="258">
                  <c:v>-0.216615</c:v>
                </c:pt>
                <c:pt idx="259">
                  <c:v>-0.20048199999999999</c:v>
                </c:pt>
                <c:pt idx="260">
                  <c:v>-0.189058</c:v>
                </c:pt>
                <c:pt idx="261">
                  <c:v>-0.196658</c:v>
                </c:pt>
                <c:pt idx="262">
                  <c:v>-0.15737599999999999</c:v>
                </c:pt>
                <c:pt idx="263">
                  <c:v>-0.13969599999999999</c:v>
                </c:pt>
                <c:pt idx="264">
                  <c:v>-0.23425699999999999</c:v>
                </c:pt>
                <c:pt idx="265">
                  <c:v>-0.228709</c:v>
                </c:pt>
                <c:pt idx="266">
                  <c:v>-0.21571499999999999</c:v>
                </c:pt>
                <c:pt idx="267">
                  <c:v>-0.223217</c:v>
                </c:pt>
                <c:pt idx="268">
                  <c:v>-0.23052800000000001</c:v>
                </c:pt>
                <c:pt idx="269">
                  <c:v>-0.19736400000000001</c:v>
                </c:pt>
                <c:pt idx="270">
                  <c:v>-0.199488</c:v>
                </c:pt>
                <c:pt idx="271">
                  <c:v>-0.28358699999999998</c:v>
                </c:pt>
                <c:pt idx="272">
                  <c:v>-0.27379199999999998</c:v>
                </c:pt>
                <c:pt idx="273">
                  <c:v>-0.26415</c:v>
                </c:pt>
                <c:pt idx="274">
                  <c:v>-0.23383999999999999</c:v>
                </c:pt>
                <c:pt idx="275">
                  <c:v>-0.19922999999999999</c:v>
                </c:pt>
                <c:pt idx="276">
                  <c:v>-0.12607399999999999</c:v>
                </c:pt>
                <c:pt idx="277">
                  <c:v>-0.10033</c:v>
                </c:pt>
                <c:pt idx="278">
                  <c:v>-0.19072500000000001</c:v>
                </c:pt>
                <c:pt idx="279">
                  <c:v>-0.16336400000000001</c:v>
                </c:pt>
                <c:pt idx="280">
                  <c:v>-0.12698799999999999</c:v>
                </c:pt>
                <c:pt idx="281">
                  <c:v>-0.12313</c:v>
                </c:pt>
                <c:pt idx="282">
                  <c:v>-0.149869</c:v>
                </c:pt>
                <c:pt idx="283">
                  <c:v>-9.4913999999999998E-2</c:v>
                </c:pt>
                <c:pt idx="284">
                  <c:v>-8.1492999999999996E-2</c:v>
                </c:pt>
                <c:pt idx="285">
                  <c:v>-0.187308</c:v>
                </c:pt>
                <c:pt idx="286">
                  <c:v>-0.183613</c:v>
                </c:pt>
                <c:pt idx="287">
                  <c:v>-0.18267800000000001</c:v>
                </c:pt>
                <c:pt idx="288">
                  <c:v>-0.181253</c:v>
                </c:pt>
                <c:pt idx="289">
                  <c:v>-0.16633999999999999</c:v>
                </c:pt>
                <c:pt idx="290">
                  <c:v>-0.10584200000000001</c:v>
                </c:pt>
                <c:pt idx="291">
                  <c:v>-8.5946999999999996E-2</c:v>
                </c:pt>
                <c:pt idx="292">
                  <c:v>-0.18484900000000001</c:v>
                </c:pt>
                <c:pt idx="293">
                  <c:v>-0.17105899999999999</c:v>
                </c:pt>
                <c:pt idx="294">
                  <c:v>-0.16162699999999999</c:v>
                </c:pt>
                <c:pt idx="295">
                  <c:v>-0.161576</c:v>
                </c:pt>
                <c:pt idx="296">
                  <c:v>-0.17111799999999999</c:v>
                </c:pt>
                <c:pt idx="297">
                  <c:v>-0.121562</c:v>
                </c:pt>
                <c:pt idx="298">
                  <c:v>-0.113176</c:v>
                </c:pt>
                <c:pt idx="299">
                  <c:v>-0.206872</c:v>
                </c:pt>
                <c:pt idx="300">
                  <c:v>-0.21218799999999999</c:v>
                </c:pt>
                <c:pt idx="301">
                  <c:v>-0.195964</c:v>
                </c:pt>
                <c:pt idx="302">
                  <c:v>-0.19747700000000001</c:v>
                </c:pt>
                <c:pt idx="303">
                  <c:v>-0.20475299999999999</c:v>
                </c:pt>
                <c:pt idx="304">
                  <c:v>-0.15198600000000001</c:v>
                </c:pt>
                <c:pt idx="305">
                  <c:v>-0.13280400000000001</c:v>
                </c:pt>
                <c:pt idx="306">
                  <c:v>-0.222554</c:v>
                </c:pt>
                <c:pt idx="307">
                  <c:v>-0.30141099999999998</c:v>
                </c:pt>
                <c:pt idx="308">
                  <c:v>-0.382187</c:v>
                </c:pt>
                <c:pt idx="309">
                  <c:v>-0.35519499999999998</c:v>
                </c:pt>
                <c:pt idx="310">
                  <c:v>-0.315666</c:v>
                </c:pt>
                <c:pt idx="311">
                  <c:v>-0.25983600000000001</c:v>
                </c:pt>
                <c:pt idx="312">
                  <c:v>-0.22458700000000001</c:v>
                </c:pt>
                <c:pt idx="313">
                  <c:v>-0.22744</c:v>
                </c:pt>
                <c:pt idx="314">
                  <c:v>-2.0781999999999998E-2</c:v>
                </c:pt>
                <c:pt idx="315">
                  <c:v>0.104145</c:v>
                </c:pt>
                <c:pt idx="316">
                  <c:v>4.0251000000000002E-2</c:v>
                </c:pt>
                <c:pt idx="317">
                  <c:v>-8.9840000000000007E-3</c:v>
                </c:pt>
                <c:pt idx="318">
                  <c:v>4.5447000000000001E-2</c:v>
                </c:pt>
                <c:pt idx="319">
                  <c:v>5.9213000000000002E-2</c:v>
                </c:pt>
                <c:pt idx="320">
                  <c:v>-7.3024000000000006E-2</c:v>
                </c:pt>
                <c:pt idx="321">
                  <c:v>-0.17141700000000001</c:v>
                </c:pt>
                <c:pt idx="322">
                  <c:v>-0.236127</c:v>
                </c:pt>
                <c:pt idx="323">
                  <c:v>-0.20224</c:v>
                </c:pt>
                <c:pt idx="324">
                  <c:v>-0.16695599999999999</c:v>
                </c:pt>
                <c:pt idx="325">
                  <c:v>-0.126219</c:v>
                </c:pt>
                <c:pt idx="326">
                  <c:v>-0.10140100000000001</c:v>
                </c:pt>
                <c:pt idx="327">
                  <c:v>-0.17361099999999999</c:v>
                </c:pt>
                <c:pt idx="328">
                  <c:v>-0.16773099999999999</c:v>
                </c:pt>
                <c:pt idx="329">
                  <c:v>-0.161969</c:v>
                </c:pt>
                <c:pt idx="330">
                  <c:v>-0.16977900000000001</c:v>
                </c:pt>
                <c:pt idx="331">
                  <c:v>-0.187192</c:v>
                </c:pt>
                <c:pt idx="332">
                  <c:v>-0.13308400000000001</c:v>
                </c:pt>
                <c:pt idx="333">
                  <c:v>-9.4794000000000003E-2</c:v>
                </c:pt>
                <c:pt idx="334">
                  <c:v>-0.18108099999999999</c:v>
                </c:pt>
                <c:pt idx="335">
                  <c:v>-0.18651599999999999</c:v>
                </c:pt>
                <c:pt idx="336">
                  <c:v>-0.181648</c:v>
                </c:pt>
                <c:pt idx="337">
                  <c:v>-0.163109</c:v>
                </c:pt>
                <c:pt idx="338">
                  <c:v>-0.15278900000000001</c:v>
                </c:pt>
                <c:pt idx="339">
                  <c:v>-9.7857E-2</c:v>
                </c:pt>
                <c:pt idx="340">
                  <c:v>-5.8498000000000001E-2</c:v>
                </c:pt>
                <c:pt idx="341">
                  <c:v>-0.13123899999999999</c:v>
                </c:pt>
                <c:pt idx="342">
                  <c:v>-0.114553</c:v>
                </c:pt>
                <c:pt idx="343">
                  <c:v>-9.0103000000000003E-2</c:v>
                </c:pt>
                <c:pt idx="344">
                  <c:v>-8.3543000000000006E-2</c:v>
                </c:pt>
                <c:pt idx="345">
                  <c:v>-8.9501999999999998E-2</c:v>
                </c:pt>
                <c:pt idx="346">
                  <c:v>-3.6366000000000002E-2</c:v>
                </c:pt>
                <c:pt idx="347">
                  <c:v>-1.0260999999999999E-2</c:v>
                </c:pt>
                <c:pt idx="348">
                  <c:v>-0.10892</c:v>
                </c:pt>
                <c:pt idx="349">
                  <c:v>-0.127308</c:v>
                </c:pt>
                <c:pt idx="350">
                  <c:v>-0.121742</c:v>
                </c:pt>
                <c:pt idx="351">
                  <c:v>-9.0379000000000001E-2</c:v>
                </c:pt>
                <c:pt idx="352">
                  <c:v>-0.110568</c:v>
                </c:pt>
                <c:pt idx="353">
                  <c:v>-6.8428000000000003E-2</c:v>
                </c:pt>
                <c:pt idx="354">
                  <c:v>-2.9328E-2</c:v>
                </c:pt>
                <c:pt idx="355">
                  <c:v>-0.116921</c:v>
                </c:pt>
                <c:pt idx="356">
                  <c:v>-0.117684</c:v>
                </c:pt>
                <c:pt idx="357">
                  <c:v>-0.125474</c:v>
                </c:pt>
                <c:pt idx="358">
                  <c:v>-0.14255100000000001</c:v>
                </c:pt>
                <c:pt idx="359">
                  <c:v>-0.14315800000000001</c:v>
                </c:pt>
                <c:pt idx="360">
                  <c:v>-6.0846999999999998E-2</c:v>
                </c:pt>
                <c:pt idx="361">
                  <c:v>-2.0478E-2</c:v>
                </c:pt>
                <c:pt idx="362">
                  <c:v>-0.108158</c:v>
                </c:pt>
                <c:pt idx="363">
                  <c:v>-8.1023999999999999E-2</c:v>
                </c:pt>
                <c:pt idx="364">
                  <c:v>-1.2312999999999999E-2</c:v>
                </c:pt>
                <c:pt idx="365">
                  <c:v>3.4707000000000002E-2</c:v>
                </c:pt>
                <c:pt idx="366">
                  <c:v>5.6010000000000001E-3</c:v>
                </c:pt>
                <c:pt idx="367">
                  <c:v>5.8233E-2</c:v>
                </c:pt>
                <c:pt idx="368">
                  <c:v>7.7093999999999996E-2</c:v>
                </c:pt>
                <c:pt idx="369">
                  <c:v>-5.8639999999999998E-2</c:v>
                </c:pt>
                <c:pt idx="370">
                  <c:v>-0.13136500000000001</c:v>
                </c:pt>
                <c:pt idx="371">
                  <c:v>-0.201575</c:v>
                </c:pt>
                <c:pt idx="372">
                  <c:v>-0.22081899999999999</c:v>
                </c:pt>
                <c:pt idx="373">
                  <c:v>-0.21820200000000001</c:v>
                </c:pt>
                <c:pt idx="374">
                  <c:v>-0.15437899999999999</c:v>
                </c:pt>
                <c:pt idx="375">
                  <c:v>-0.118954</c:v>
                </c:pt>
                <c:pt idx="376">
                  <c:v>-0.18582000000000001</c:v>
                </c:pt>
                <c:pt idx="377">
                  <c:v>-0.12441199999999999</c:v>
                </c:pt>
                <c:pt idx="378">
                  <c:v>-7.8698000000000004E-2</c:v>
                </c:pt>
                <c:pt idx="379">
                  <c:v>-7.4691999999999995E-2</c:v>
                </c:pt>
                <c:pt idx="380">
                  <c:v>-0.104548</c:v>
                </c:pt>
                <c:pt idx="381">
                  <c:v>-4.3550999999999999E-2</c:v>
                </c:pt>
                <c:pt idx="382">
                  <c:v>-2.2984999999999998E-2</c:v>
                </c:pt>
                <c:pt idx="383">
                  <c:v>-0.144174</c:v>
                </c:pt>
                <c:pt idx="384">
                  <c:v>-0.16222</c:v>
                </c:pt>
                <c:pt idx="385">
                  <c:v>-0.15356400000000001</c:v>
                </c:pt>
                <c:pt idx="386">
                  <c:v>-0.11835</c:v>
                </c:pt>
                <c:pt idx="387">
                  <c:v>-0.11924</c:v>
                </c:pt>
                <c:pt idx="388">
                  <c:v>-3.653E-2</c:v>
                </c:pt>
                <c:pt idx="389">
                  <c:v>1.4045E-2</c:v>
                </c:pt>
                <c:pt idx="390">
                  <c:v>-9.5743999999999996E-2</c:v>
                </c:pt>
                <c:pt idx="391">
                  <c:v>-6.0284999999999998E-2</c:v>
                </c:pt>
                <c:pt idx="392">
                  <c:v>-0.129136</c:v>
                </c:pt>
                <c:pt idx="393">
                  <c:v>-0.153277</c:v>
                </c:pt>
                <c:pt idx="394">
                  <c:v>-0.167326</c:v>
                </c:pt>
                <c:pt idx="395">
                  <c:v>-0.113561</c:v>
                </c:pt>
                <c:pt idx="396">
                  <c:v>-8.9533000000000001E-2</c:v>
                </c:pt>
                <c:pt idx="397">
                  <c:v>-0.19938800000000001</c:v>
                </c:pt>
                <c:pt idx="398">
                  <c:v>-0.161772</c:v>
                </c:pt>
                <c:pt idx="399">
                  <c:v>-9.1013999999999998E-2</c:v>
                </c:pt>
                <c:pt idx="400">
                  <c:v>-9.9069000000000004E-2</c:v>
                </c:pt>
                <c:pt idx="401">
                  <c:v>-0.12751000000000001</c:v>
                </c:pt>
                <c:pt idx="402">
                  <c:v>-5.3619E-2</c:v>
                </c:pt>
                <c:pt idx="403">
                  <c:v>-2.6780999999999999E-2</c:v>
                </c:pt>
                <c:pt idx="404">
                  <c:v>-0.122457</c:v>
                </c:pt>
                <c:pt idx="405">
                  <c:v>-9.9872000000000002E-2</c:v>
                </c:pt>
                <c:pt idx="406">
                  <c:v>-0.157942</c:v>
                </c:pt>
                <c:pt idx="407">
                  <c:v>-0.107695</c:v>
                </c:pt>
                <c:pt idx="408">
                  <c:v>-8.6330000000000004E-2</c:v>
                </c:pt>
                <c:pt idx="409">
                  <c:v>2.4736999999999999E-2</c:v>
                </c:pt>
                <c:pt idx="410">
                  <c:v>8.6832999999999994E-2</c:v>
                </c:pt>
                <c:pt idx="411">
                  <c:v>-1.4762000000000001E-2</c:v>
                </c:pt>
                <c:pt idx="412">
                  <c:v>1.2414E-2</c:v>
                </c:pt>
                <c:pt idx="413">
                  <c:v>4.2254E-2</c:v>
                </c:pt>
                <c:pt idx="414">
                  <c:v>2.9326999999999999E-2</c:v>
                </c:pt>
                <c:pt idx="415">
                  <c:v>7.0715E-2</c:v>
                </c:pt>
                <c:pt idx="416">
                  <c:v>0.185422</c:v>
                </c:pt>
                <c:pt idx="417">
                  <c:v>0.24004300000000001</c:v>
                </c:pt>
                <c:pt idx="418">
                  <c:v>0.12379800000000001</c:v>
                </c:pt>
                <c:pt idx="419">
                  <c:v>0.109129</c:v>
                </c:pt>
                <c:pt idx="420">
                  <c:v>0.141294</c:v>
                </c:pt>
                <c:pt idx="421">
                  <c:v>0.17496700000000001</c:v>
                </c:pt>
                <c:pt idx="422">
                  <c:v>6.1310000000000003E-2</c:v>
                </c:pt>
                <c:pt idx="423">
                  <c:v>0.131577</c:v>
                </c:pt>
                <c:pt idx="424">
                  <c:v>0.19051399999999999</c:v>
                </c:pt>
                <c:pt idx="425">
                  <c:v>9.8470000000000002E-2</c:v>
                </c:pt>
                <c:pt idx="426">
                  <c:v>8.0756999999999995E-2</c:v>
                </c:pt>
                <c:pt idx="427">
                  <c:v>5.6952999999999997E-2</c:v>
                </c:pt>
                <c:pt idx="428">
                  <c:v>8.4677000000000002E-2</c:v>
                </c:pt>
                <c:pt idx="429">
                  <c:v>0.12837399999999999</c:v>
                </c:pt>
                <c:pt idx="430">
                  <c:v>0.16516900000000001</c:v>
                </c:pt>
                <c:pt idx="431">
                  <c:v>0.138548</c:v>
                </c:pt>
                <c:pt idx="432">
                  <c:v>-2.2815999999999999E-2</c:v>
                </c:pt>
                <c:pt idx="433">
                  <c:v>-8.3771999999999999E-2</c:v>
                </c:pt>
                <c:pt idx="434">
                  <c:v>-4.6280000000000002E-2</c:v>
                </c:pt>
                <c:pt idx="435">
                  <c:v>-2.0898E-2</c:v>
                </c:pt>
                <c:pt idx="436">
                  <c:v>-6.5905000000000005E-2</c:v>
                </c:pt>
                <c:pt idx="437">
                  <c:v>1.0739E-2</c:v>
                </c:pt>
                <c:pt idx="438">
                  <c:v>7.5139999999999998E-2</c:v>
                </c:pt>
                <c:pt idx="439">
                  <c:v>1.0991000000000001E-2</c:v>
                </c:pt>
                <c:pt idx="440">
                  <c:v>2.4879999999999999E-2</c:v>
                </c:pt>
                <c:pt idx="441">
                  <c:v>3.2544999999999998E-2</c:v>
                </c:pt>
                <c:pt idx="442">
                  <c:v>-2.07E-2</c:v>
                </c:pt>
                <c:pt idx="443">
                  <c:v>-3.6693999999999997E-2</c:v>
                </c:pt>
                <c:pt idx="444">
                  <c:v>5.3097999999999999E-2</c:v>
                </c:pt>
                <c:pt idx="445">
                  <c:v>0.116744</c:v>
                </c:pt>
                <c:pt idx="446">
                  <c:v>1.7683000000000001E-2</c:v>
                </c:pt>
                <c:pt idx="447">
                  <c:v>-2.6209E-2</c:v>
                </c:pt>
                <c:pt idx="448">
                  <c:v>3.4869999999999998E-2</c:v>
                </c:pt>
                <c:pt idx="449">
                  <c:v>0.13897000000000001</c:v>
                </c:pt>
                <c:pt idx="450">
                  <c:v>0.12772800000000001</c:v>
                </c:pt>
                <c:pt idx="451">
                  <c:v>0.15552199999999999</c:v>
                </c:pt>
                <c:pt idx="452">
                  <c:v>0.186552</c:v>
                </c:pt>
                <c:pt idx="453">
                  <c:v>8.9260999999999993E-2</c:v>
                </c:pt>
                <c:pt idx="454">
                  <c:v>5.7695000000000003E-2</c:v>
                </c:pt>
                <c:pt idx="455">
                  <c:v>3.9281000000000003E-2</c:v>
                </c:pt>
                <c:pt idx="456">
                  <c:v>-2.6832999999999999E-2</c:v>
                </c:pt>
                <c:pt idx="457">
                  <c:v>-5.7675999999999998E-2</c:v>
                </c:pt>
                <c:pt idx="458">
                  <c:v>-1.4355E-2</c:v>
                </c:pt>
                <c:pt idx="459">
                  <c:v>8.3160000000000005E-3</c:v>
                </c:pt>
                <c:pt idx="460">
                  <c:v>-9.0630000000000002E-2</c:v>
                </c:pt>
                <c:pt idx="461">
                  <c:v>-0.134655</c:v>
                </c:pt>
                <c:pt idx="462">
                  <c:v>-0.14840999999999999</c:v>
                </c:pt>
                <c:pt idx="463">
                  <c:v>-0.15965699999999999</c:v>
                </c:pt>
                <c:pt idx="464">
                  <c:v>-0.179675</c:v>
                </c:pt>
                <c:pt idx="465">
                  <c:v>-0.17068900000000001</c:v>
                </c:pt>
                <c:pt idx="466">
                  <c:v>-0.14896799999999999</c:v>
                </c:pt>
                <c:pt idx="467">
                  <c:v>-0.211647</c:v>
                </c:pt>
                <c:pt idx="468">
                  <c:v>-0.2374</c:v>
                </c:pt>
                <c:pt idx="469">
                  <c:v>-0.234405</c:v>
                </c:pt>
                <c:pt idx="470">
                  <c:v>-0.23229900000000001</c:v>
                </c:pt>
                <c:pt idx="471">
                  <c:v>-0.23955599999999999</c:v>
                </c:pt>
                <c:pt idx="472">
                  <c:v>-0.203407</c:v>
                </c:pt>
                <c:pt idx="473">
                  <c:v>-0.17388300000000001</c:v>
                </c:pt>
                <c:pt idx="474">
                  <c:v>-0.23788300000000001</c:v>
                </c:pt>
                <c:pt idx="475">
                  <c:v>-0.25216899999999998</c:v>
                </c:pt>
                <c:pt idx="476">
                  <c:v>-0.22941300000000001</c:v>
                </c:pt>
                <c:pt idx="477">
                  <c:v>-0.197736</c:v>
                </c:pt>
                <c:pt idx="478">
                  <c:v>-0.16337299999999999</c:v>
                </c:pt>
                <c:pt idx="479">
                  <c:v>-0.206121</c:v>
                </c:pt>
                <c:pt idx="480">
                  <c:v>-0.22075</c:v>
                </c:pt>
                <c:pt idx="481">
                  <c:v>-0.300062</c:v>
                </c:pt>
                <c:pt idx="482">
                  <c:v>-0.32888699999999998</c:v>
                </c:pt>
                <c:pt idx="483">
                  <c:v>-0.34781400000000001</c:v>
                </c:pt>
                <c:pt idx="484">
                  <c:v>-0.39324199999999998</c:v>
                </c:pt>
                <c:pt idx="485">
                  <c:v>-0.37382399999999999</c:v>
                </c:pt>
                <c:pt idx="486">
                  <c:v>-0.21108499999999999</c:v>
                </c:pt>
                <c:pt idx="487">
                  <c:v>-0.17005799999999999</c:v>
                </c:pt>
                <c:pt idx="488">
                  <c:v>-0.223963</c:v>
                </c:pt>
                <c:pt idx="489">
                  <c:v>-0.17768200000000001</c:v>
                </c:pt>
                <c:pt idx="490">
                  <c:v>-8.5594000000000003E-2</c:v>
                </c:pt>
                <c:pt idx="491">
                  <c:v>1.4290000000000001E-2</c:v>
                </c:pt>
                <c:pt idx="492">
                  <c:v>0.108503</c:v>
                </c:pt>
                <c:pt idx="493">
                  <c:v>0.15062999999999999</c:v>
                </c:pt>
                <c:pt idx="494">
                  <c:v>0.174205</c:v>
                </c:pt>
                <c:pt idx="495">
                  <c:v>1.2670000000000001E-2</c:v>
                </c:pt>
                <c:pt idx="496">
                  <c:v>-7.2317999999999993E-2</c:v>
                </c:pt>
                <c:pt idx="497">
                  <c:v>-0.100909</c:v>
                </c:pt>
                <c:pt idx="498">
                  <c:v>-0.13588700000000001</c:v>
                </c:pt>
                <c:pt idx="499">
                  <c:v>-0.17139399999999999</c:v>
                </c:pt>
                <c:pt idx="500">
                  <c:v>-0.14871500000000001</c:v>
                </c:pt>
                <c:pt idx="501">
                  <c:v>-0.15465499999999999</c:v>
                </c:pt>
                <c:pt idx="502">
                  <c:v>-0.221667</c:v>
                </c:pt>
                <c:pt idx="503">
                  <c:v>-0.346455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ripadu_7dni_100_000_65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12.417053618504999</c:v>
                </c:pt>
                <c:pt idx="1">
                  <c:v>13.297367121309</c:v>
                </c:pt>
                <c:pt idx="2">
                  <c:v>14.270345203357</c:v>
                </c:pt>
                <c:pt idx="3">
                  <c:v>15.243323285403999</c:v>
                </c:pt>
                <c:pt idx="4">
                  <c:v>15.984639919344</c:v>
                </c:pt>
                <c:pt idx="5">
                  <c:v>17.003950291012998</c:v>
                </c:pt>
                <c:pt idx="6">
                  <c:v>18.301254400409</c:v>
                </c:pt>
                <c:pt idx="7">
                  <c:v>21.127524067307</c:v>
                </c:pt>
                <c:pt idx="8">
                  <c:v>23.722132286099999</c:v>
                </c:pt>
                <c:pt idx="9">
                  <c:v>26.131411346406999</c:v>
                </c:pt>
                <c:pt idx="10">
                  <c:v>28.679687275576999</c:v>
                </c:pt>
                <c:pt idx="11">
                  <c:v>34.471223478238997</c:v>
                </c:pt>
                <c:pt idx="12">
                  <c:v>36.417179642332997</c:v>
                </c:pt>
                <c:pt idx="13">
                  <c:v>37.668151462108</c:v>
                </c:pt>
                <c:pt idx="14">
                  <c:v>39.799436784687003</c:v>
                </c:pt>
                <c:pt idx="15">
                  <c:v>43.181693927041003</c:v>
                </c:pt>
                <c:pt idx="16">
                  <c:v>50.594860266447</c:v>
                </c:pt>
                <c:pt idx="17">
                  <c:v>52.911474747512003</c:v>
                </c:pt>
                <c:pt idx="18">
                  <c:v>51.336176900387997</c:v>
                </c:pt>
                <c:pt idx="19">
                  <c:v>52.309154982434997</c:v>
                </c:pt>
                <c:pt idx="20">
                  <c:v>54.579437173877999</c:v>
                </c:pt>
                <c:pt idx="21">
                  <c:v>58.610346370930003</c:v>
                </c:pt>
                <c:pt idx="22">
                  <c:v>60.602634824646003</c:v>
                </c:pt>
                <c:pt idx="23">
                  <c:v>63.336239912301998</c:v>
                </c:pt>
                <c:pt idx="24">
                  <c:v>69.915425038525001</c:v>
                </c:pt>
                <c:pt idx="25">
                  <c:v>71.815048912997995</c:v>
                </c:pt>
                <c:pt idx="26">
                  <c:v>73.112353022394004</c:v>
                </c:pt>
                <c:pt idx="27">
                  <c:v>74.826647738380998</c:v>
                </c:pt>
                <c:pt idx="28">
                  <c:v>75.660628951565002</c:v>
                </c:pt>
                <c:pt idx="29">
                  <c:v>82.656804684378997</c:v>
                </c:pt>
                <c:pt idx="30">
                  <c:v>90.162635603027994</c:v>
                </c:pt>
                <c:pt idx="31">
                  <c:v>98.548780024481005</c:v>
                </c:pt>
                <c:pt idx="32">
                  <c:v>107.444579631769</c:v>
                </c:pt>
                <c:pt idx="33">
                  <c:v>113.745771020264</c:v>
                </c:pt>
                <c:pt idx="34">
                  <c:v>131.30570878673299</c:v>
                </c:pt>
                <c:pt idx="35">
                  <c:v>146.68802894100099</c:v>
                </c:pt>
                <c:pt idx="36">
                  <c:v>162.53367199148201</c:v>
                </c:pt>
                <c:pt idx="37">
                  <c:v>173.931415238319</c:v>
                </c:pt>
                <c:pt idx="38">
                  <c:v>202.14777961768399</c:v>
                </c:pt>
                <c:pt idx="39">
                  <c:v>211.831228148533</c:v>
                </c:pt>
                <c:pt idx="40">
                  <c:v>221.70000583786799</c:v>
                </c:pt>
                <c:pt idx="41">
                  <c:v>228.64984928106099</c:v>
                </c:pt>
                <c:pt idx="42">
                  <c:v>254.82759291708999</c:v>
                </c:pt>
                <c:pt idx="43">
                  <c:v>279.29104183713002</c:v>
                </c:pt>
                <c:pt idx="44">
                  <c:v>303.29116786095801</c:v>
                </c:pt>
                <c:pt idx="45">
                  <c:v>318.90514946333298</c:v>
                </c:pt>
                <c:pt idx="46">
                  <c:v>347.26051071156201</c:v>
                </c:pt>
                <c:pt idx="47">
                  <c:v>360.78953928097798</c:v>
                </c:pt>
                <c:pt idx="48">
                  <c:v>385.484649649125</c:v>
                </c:pt>
                <c:pt idx="49">
                  <c:v>410.41142146537902</c:v>
                </c:pt>
                <c:pt idx="50">
                  <c:v>448.45023124445697</c:v>
                </c:pt>
                <c:pt idx="51">
                  <c:v>482.133805799134</c:v>
                </c:pt>
                <c:pt idx="52">
                  <c:v>516.558696987752</c:v>
                </c:pt>
                <c:pt idx="53">
                  <c:v>542.59744375491698</c:v>
                </c:pt>
                <c:pt idx="54">
                  <c:v>560.15738152138499</c:v>
                </c:pt>
                <c:pt idx="55">
                  <c:v>581.93355764339105</c:v>
                </c:pt>
                <c:pt idx="56">
                  <c:v>614.59782182640004</c:v>
                </c:pt>
                <c:pt idx="57">
                  <c:v>613.25418542738203</c:v>
                </c:pt>
                <c:pt idx="58">
                  <c:v>618.58239873383104</c:v>
                </c:pt>
                <c:pt idx="59">
                  <c:v>625.62490675626702</c:v>
                </c:pt>
                <c:pt idx="60">
                  <c:v>629.88747740142503</c:v>
                </c:pt>
                <c:pt idx="61">
                  <c:v>627.10754002414797</c:v>
                </c:pt>
                <c:pt idx="62">
                  <c:v>629.51681908445505</c:v>
                </c:pt>
                <c:pt idx="63">
                  <c:v>616.68277485935801</c:v>
                </c:pt>
                <c:pt idx="64">
                  <c:v>644.76014236985895</c:v>
                </c:pt>
                <c:pt idx="65">
                  <c:v>662.59807387405499</c:v>
                </c:pt>
                <c:pt idx="66">
                  <c:v>658.79882612511005</c:v>
                </c:pt>
                <c:pt idx="67">
                  <c:v>639.80258738038106</c:v>
                </c:pt>
                <c:pt idx="68">
                  <c:v>620.66735176678901</c:v>
                </c:pt>
                <c:pt idx="69">
                  <c:v>593.423965469471</c:v>
                </c:pt>
                <c:pt idx="70">
                  <c:v>575.21537564830396</c:v>
                </c:pt>
                <c:pt idx="71">
                  <c:v>542.08778856908202</c:v>
                </c:pt>
                <c:pt idx="72">
                  <c:v>506.22659640220502</c:v>
                </c:pt>
                <c:pt idx="73">
                  <c:v>478.19556118132499</c:v>
                </c:pt>
                <c:pt idx="74">
                  <c:v>453.03712791696501</c:v>
                </c:pt>
                <c:pt idx="75">
                  <c:v>437.60847547307498</c:v>
                </c:pt>
                <c:pt idx="76">
                  <c:v>442.19537214558301</c:v>
                </c:pt>
                <c:pt idx="77">
                  <c:v>399.10634279778401</c:v>
                </c:pt>
                <c:pt idx="78">
                  <c:v>361.345526756433</c:v>
                </c:pt>
                <c:pt idx="79">
                  <c:v>340.54232871647503</c:v>
                </c:pt>
                <c:pt idx="80">
                  <c:v>315.52289232097797</c:v>
                </c:pt>
                <c:pt idx="81">
                  <c:v>304.21781365338398</c:v>
                </c:pt>
                <c:pt idx="82">
                  <c:v>302.874177254367</c:v>
                </c:pt>
                <c:pt idx="83">
                  <c:v>290.64245279434601</c:v>
                </c:pt>
                <c:pt idx="84">
                  <c:v>307.83173224384399</c:v>
                </c:pt>
                <c:pt idx="85">
                  <c:v>300.97455337989402</c:v>
                </c:pt>
                <c:pt idx="86">
                  <c:v>285.82389467373201</c:v>
                </c:pt>
                <c:pt idx="87">
                  <c:v>274.565148295759</c:v>
                </c:pt>
                <c:pt idx="88">
                  <c:v>266.68865906014003</c:v>
                </c:pt>
                <c:pt idx="89">
                  <c:v>264.04771855172601</c:v>
                </c:pt>
                <c:pt idx="90">
                  <c:v>255.15191894443899</c:v>
                </c:pt>
                <c:pt idx="91">
                  <c:v>243.38351738063099</c:v>
                </c:pt>
                <c:pt idx="92">
                  <c:v>239.306275893958</c:v>
                </c:pt>
                <c:pt idx="93">
                  <c:v>234.34872090447999</c:v>
                </c:pt>
                <c:pt idx="94">
                  <c:v>234.67304693182899</c:v>
                </c:pt>
                <c:pt idx="95">
                  <c:v>241.85455182312899</c:v>
                </c:pt>
                <c:pt idx="96">
                  <c:v>240.55724771373301</c:v>
                </c:pt>
                <c:pt idx="97">
                  <c:v>241.669222664644</c:v>
                </c:pt>
                <c:pt idx="98">
                  <c:v>247.692420315411</c:v>
                </c:pt>
                <c:pt idx="99">
                  <c:v>258.71950524527801</c:v>
                </c:pt>
                <c:pt idx="100">
                  <c:v>266.68865906014003</c:v>
                </c:pt>
                <c:pt idx="101">
                  <c:v>272.89718586939199</c:v>
                </c:pt>
                <c:pt idx="102">
                  <c:v>271.27555573264698</c:v>
                </c:pt>
                <c:pt idx="103">
                  <c:v>277.252421093794</c:v>
                </c:pt>
                <c:pt idx="104">
                  <c:v>284.202264536987</c:v>
                </c:pt>
                <c:pt idx="105">
                  <c:v>290.45712363586102</c:v>
                </c:pt>
                <c:pt idx="106">
                  <c:v>299.39925553276998</c:v>
                </c:pt>
                <c:pt idx="107">
                  <c:v>307.13674789952501</c:v>
                </c:pt>
                <c:pt idx="108">
                  <c:v>323.07505552924903</c:v>
                </c:pt>
                <c:pt idx="109">
                  <c:v>330.30289271017</c:v>
                </c:pt>
                <c:pt idx="110">
                  <c:v>338.68903713162302</c:v>
                </c:pt>
                <c:pt idx="111">
                  <c:v>355.78565200187899</c:v>
                </c:pt>
                <c:pt idx="112">
                  <c:v>379.60044886722102</c:v>
                </c:pt>
                <c:pt idx="113">
                  <c:v>415.36897645485698</c:v>
                </c:pt>
                <c:pt idx="114">
                  <c:v>391.27618585178601</c:v>
                </c:pt>
                <c:pt idx="115">
                  <c:v>352.77405317649499</c:v>
                </c:pt>
                <c:pt idx="116">
                  <c:v>345.54621599557402</c:v>
                </c:pt>
                <c:pt idx="117">
                  <c:v>352.12540112179698</c:v>
                </c:pt>
                <c:pt idx="118">
                  <c:v>374.08690640228798</c:v>
                </c:pt>
                <c:pt idx="119">
                  <c:v>413.19135884265597</c:v>
                </c:pt>
                <c:pt idx="120">
                  <c:v>447.66258232089501</c:v>
                </c:pt>
                <c:pt idx="121">
                  <c:v>523.41587585170305</c:v>
                </c:pt>
                <c:pt idx="122">
                  <c:v>533.84064101649301</c:v>
                </c:pt>
                <c:pt idx="123">
                  <c:v>555.84847858660498</c:v>
                </c:pt>
                <c:pt idx="124">
                  <c:v>578.36597134255203</c:v>
                </c:pt>
                <c:pt idx="125">
                  <c:v>605.51669306062695</c:v>
                </c:pt>
                <c:pt idx="126">
                  <c:v>633.36239912302199</c:v>
                </c:pt>
                <c:pt idx="127">
                  <c:v>648.74471927728996</c:v>
                </c:pt>
                <c:pt idx="128">
                  <c:v>679.46302729620504</c:v>
                </c:pt>
                <c:pt idx="129">
                  <c:v>767.95770047286703</c:v>
                </c:pt>
                <c:pt idx="130">
                  <c:v>794.78409616359295</c:v>
                </c:pt>
                <c:pt idx="131">
                  <c:v>778.56779479614204</c:v>
                </c:pt>
                <c:pt idx="132">
                  <c:v>752.94603863556904</c:v>
                </c:pt>
                <c:pt idx="133">
                  <c:v>701.51719715593799</c:v>
                </c:pt>
                <c:pt idx="134">
                  <c:v>647.86440577448502</c:v>
                </c:pt>
                <c:pt idx="135">
                  <c:v>581.19224100944996</c:v>
                </c:pt>
                <c:pt idx="136">
                  <c:v>539.81750637763901</c:v>
                </c:pt>
                <c:pt idx="137">
                  <c:v>505.438947478643</c:v>
                </c:pt>
                <c:pt idx="138">
                  <c:v>491.261266854528</c:v>
                </c:pt>
                <c:pt idx="139">
                  <c:v>467.168476251458</c:v>
                </c:pt>
                <c:pt idx="140">
                  <c:v>447.15292713506102</c:v>
                </c:pt>
                <c:pt idx="141">
                  <c:v>423.06013653199102</c:v>
                </c:pt>
                <c:pt idx="142">
                  <c:v>414.76665668978001</c:v>
                </c:pt>
                <c:pt idx="143">
                  <c:v>401.144963541121</c:v>
                </c:pt>
                <c:pt idx="144">
                  <c:v>391.92483790648402</c:v>
                </c:pt>
                <c:pt idx="145">
                  <c:v>387.47693810284102</c:v>
                </c:pt>
                <c:pt idx="146">
                  <c:v>382.704712271848</c:v>
                </c:pt>
                <c:pt idx="147">
                  <c:v>374.22590327115199</c:v>
                </c:pt>
                <c:pt idx="148">
                  <c:v>372.27994710705798</c:v>
                </c:pt>
                <c:pt idx="149">
                  <c:v>372.27994710705798</c:v>
                </c:pt>
                <c:pt idx="150">
                  <c:v>365.561765111971</c:v>
                </c:pt>
                <c:pt idx="151">
                  <c:v>362.874492313936</c:v>
                </c:pt>
                <c:pt idx="152">
                  <c:v>364.63511931954503</c:v>
                </c:pt>
                <c:pt idx="153">
                  <c:v>363.05982147242099</c:v>
                </c:pt>
                <c:pt idx="154">
                  <c:v>364.357125581817</c:v>
                </c:pt>
                <c:pt idx="155">
                  <c:v>363.75480581673997</c:v>
                </c:pt>
                <c:pt idx="156">
                  <c:v>363.80113810636198</c:v>
                </c:pt>
                <c:pt idx="157">
                  <c:v>367.46138898644398</c:v>
                </c:pt>
                <c:pt idx="158">
                  <c:v>372.37261168629999</c:v>
                </c:pt>
                <c:pt idx="159">
                  <c:v>372.32627939667901</c:v>
                </c:pt>
                <c:pt idx="160">
                  <c:v>368.527031647733</c:v>
                </c:pt>
                <c:pt idx="161">
                  <c:v>369.68533888826499</c:v>
                </c:pt>
                <c:pt idx="162">
                  <c:v>367.41505669682198</c:v>
                </c:pt>
                <c:pt idx="163">
                  <c:v>370.14866178447801</c:v>
                </c:pt>
                <c:pt idx="164">
                  <c:v>366.25674945628998</c:v>
                </c:pt>
                <c:pt idx="165">
                  <c:v>364.21812871295299</c:v>
                </c:pt>
                <c:pt idx="166">
                  <c:v>364.63511931954503</c:v>
                </c:pt>
                <c:pt idx="167">
                  <c:v>373.02126374099799</c:v>
                </c:pt>
                <c:pt idx="168">
                  <c:v>386.689289179279</c:v>
                </c:pt>
                <c:pt idx="169">
                  <c:v>390.21054319049699</c:v>
                </c:pt>
                <c:pt idx="170">
                  <c:v>400.07932087983102</c:v>
                </c:pt>
                <c:pt idx="171">
                  <c:v>418.10258154251301</c:v>
                </c:pt>
                <c:pt idx="172">
                  <c:v>428.15668839033202</c:v>
                </c:pt>
                <c:pt idx="173">
                  <c:v>433.99455688261497</c:v>
                </c:pt>
                <c:pt idx="174">
                  <c:v>449.28421245764002</c:v>
                </c:pt>
                <c:pt idx="175">
                  <c:v>465.50051382509099</c:v>
                </c:pt>
                <c:pt idx="176">
                  <c:v>486.952363919748</c:v>
                </c:pt>
                <c:pt idx="177">
                  <c:v>505.80960579561298</c:v>
                </c:pt>
                <c:pt idx="178">
                  <c:v>523.184214403596</c:v>
                </c:pt>
                <c:pt idx="179">
                  <c:v>528.18810168269601</c:v>
                </c:pt>
                <c:pt idx="180">
                  <c:v>531.57035882504999</c:v>
                </c:pt>
                <c:pt idx="181">
                  <c:v>541.67079796249095</c:v>
                </c:pt>
                <c:pt idx="182">
                  <c:v>555.153494242286</c:v>
                </c:pt>
                <c:pt idx="183">
                  <c:v>566.41224062025901</c:v>
                </c:pt>
                <c:pt idx="184">
                  <c:v>568.68252281170203</c:v>
                </c:pt>
                <c:pt idx="185">
                  <c:v>558.72108054312503</c:v>
                </c:pt>
                <c:pt idx="186">
                  <c:v>570.76747584466</c:v>
                </c:pt>
                <c:pt idx="187">
                  <c:v>570.21148836920497</c:v>
                </c:pt>
                <c:pt idx="188">
                  <c:v>555.98747545546905</c:v>
                </c:pt>
                <c:pt idx="189">
                  <c:v>536.62057839376996</c:v>
                </c:pt>
                <c:pt idx="190">
                  <c:v>529.76339952981903</c:v>
                </c:pt>
                <c:pt idx="191">
                  <c:v>509.97951186152898</c:v>
                </c:pt>
                <c:pt idx="192">
                  <c:v>527.21512360064901</c:v>
                </c:pt>
                <c:pt idx="193">
                  <c:v>512.52778779070002</c:v>
                </c:pt>
                <c:pt idx="194">
                  <c:v>507.75556195970699</c:v>
                </c:pt>
                <c:pt idx="195">
                  <c:v>511.50847741903198</c:v>
                </c:pt>
                <c:pt idx="196">
                  <c:v>514.65907311327896</c:v>
                </c:pt>
                <c:pt idx="197">
                  <c:v>504.00264650038298</c:v>
                </c:pt>
                <c:pt idx="198">
                  <c:v>502.05669033628902</c:v>
                </c:pt>
                <c:pt idx="199">
                  <c:v>464.156877426074</c:v>
                </c:pt>
                <c:pt idx="200">
                  <c:v>457.29969856212301</c:v>
                </c:pt>
                <c:pt idx="201">
                  <c:v>452.62013731037302</c:v>
                </c:pt>
                <c:pt idx="202">
                  <c:v>433.392237117538</c:v>
                </c:pt>
                <c:pt idx="203">
                  <c:v>413.469352580384</c:v>
                </c:pt>
                <c:pt idx="204">
                  <c:v>391.832173327242</c:v>
                </c:pt>
                <c:pt idx="205">
                  <c:v>378.02515102009801</c:v>
                </c:pt>
                <c:pt idx="206">
                  <c:v>366.25674945628998</c:v>
                </c:pt>
                <c:pt idx="207">
                  <c:v>356.71229779430502</c:v>
                </c:pt>
                <c:pt idx="208">
                  <c:v>351.430416777478</c:v>
                </c:pt>
                <c:pt idx="209">
                  <c:v>347.12151384269799</c:v>
                </c:pt>
                <c:pt idx="210">
                  <c:v>332.01718742615702</c:v>
                </c:pt>
                <c:pt idx="211">
                  <c:v>326.086654354632</c:v>
                </c:pt>
                <c:pt idx="212">
                  <c:v>312.186967468246</c:v>
                </c:pt>
                <c:pt idx="213">
                  <c:v>283.13662187569702</c:v>
                </c:pt>
                <c:pt idx="214">
                  <c:v>270.904897415677</c:v>
                </c:pt>
                <c:pt idx="215">
                  <c:v>270.95122970529798</c:v>
                </c:pt>
                <c:pt idx="216">
                  <c:v>232.72709076773501</c:v>
                </c:pt>
                <c:pt idx="217">
                  <c:v>210.48759174951601</c:v>
                </c:pt>
                <c:pt idx="218">
                  <c:v>200.61881406018099</c:v>
                </c:pt>
                <c:pt idx="219">
                  <c:v>190.98169781895299</c:v>
                </c:pt>
                <c:pt idx="220">
                  <c:v>198.626525606466</c:v>
                </c:pt>
                <c:pt idx="221">
                  <c:v>198.07053813101101</c:v>
                </c:pt>
                <c:pt idx="222">
                  <c:v>192.325334217971</c:v>
                </c:pt>
                <c:pt idx="223">
                  <c:v>205.57636904965901</c:v>
                </c:pt>
                <c:pt idx="224">
                  <c:v>199.83116513662</c:v>
                </c:pt>
                <c:pt idx="225">
                  <c:v>181.34458157772499</c:v>
                </c:pt>
                <c:pt idx="226">
                  <c:v>166.935239505504</c:v>
                </c:pt>
                <c:pt idx="227">
                  <c:v>157.576117002004</c:v>
                </c:pt>
                <c:pt idx="228">
                  <c:v>152.01624224744899</c:v>
                </c:pt>
                <c:pt idx="229">
                  <c:v>149.28263715979301</c:v>
                </c:pt>
                <c:pt idx="230">
                  <c:v>144.23241759107299</c:v>
                </c:pt>
                <c:pt idx="231">
                  <c:v>134.919627377193</c:v>
                </c:pt>
                <c:pt idx="232">
                  <c:v>127.08947043119601</c:v>
                </c:pt>
                <c:pt idx="233">
                  <c:v>123.846210157705</c:v>
                </c:pt>
                <c:pt idx="234">
                  <c:v>115.645394894737</c:v>
                </c:pt>
                <c:pt idx="235">
                  <c:v>111.52182111844201</c:v>
                </c:pt>
                <c:pt idx="236">
                  <c:v>110.409846167531</c:v>
                </c:pt>
                <c:pt idx="237">
                  <c:v>105.869281784645</c:v>
                </c:pt>
                <c:pt idx="238">
                  <c:v>101.00439137441001</c:v>
                </c:pt>
                <c:pt idx="239">
                  <c:v>97.251475915084995</c:v>
                </c:pt>
                <c:pt idx="240">
                  <c:v>92.710911532199006</c:v>
                </c:pt>
                <c:pt idx="241">
                  <c:v>91.181945974697001</c:v>
                </c:pt>
                <c:pt idx="242">
                  <c:v>91.923262608637003</c:v>
                </c:pt>
                <c:pt idx="243">
                  <c:v>90.347964761512998</c:v>
                </c:pt>
                <c:pt idx="244">
                  <c:v>87.012039908779997</c:v>
                </c:pt>
                <c:pt idx="245">
                  <c:v>83.537118187184007</c:v>
                </c:pt>
                <c:pt idx="246">
                  <c:v>79.830535017480997</c:v>
                </c:pt>
                <c:pt idx="247">
                  <c:v>76.170284137398994</c:v>
                </c:pt>
                <c:pt idx="248">
                  <c:v>70.425080224358993</c:v>
                </c:pt>
                <c:pt idx="249">
                  <c:v>66.672164765035006</c:v>
                </c:pt>
                <c:pt idx="250">
                  <c:v>65.189531497152998</c:v>
                </c:pt>
                <c:pt idx="251">
                  <c:v>61.251286879344001</c:v>
                </c:pt>
                <c:pt idx="252">
                  <c:v>55.413418387061</c:v>
                </c:pt>
                <c:pt idx="253">
                  <c:v>49.946208211749003</c:v>
                </c:pt>
                <c:pt idx="254">
                  <c:v>46.795612517502001</c:v>
                </c:pt>
                <c:pt idx="255">
                  <c:v>44.617994905301003</c:v>
                </c:pt>
                <c:pt idx="256">
                  <c:v>43.645016823253997</c:v>
                </c:pt>
                <c:pt idx="257">
                  <c:v>42.486709582722</c:v>
                </c:pt>
                <c:pt idx="258">
                  <c:v>38.131474358319998</c:v>
                </c:pt>
                <c:pt idx="259">
                  <c:v>36.046521325362001</c:v>
                </c:pt>
                <c:pt idx="260">
                  <c:v>34.146897450890002</c:v>
                </c:pt>
                <c:pt idx="261">
                  <c:v>31.181630915126998</c:v>
                </c:pt>
                <c:pt idx="262">
                  <c:v>28.587022696335001</c:v>
                </c:pt>
                <c:pt idx="263">
                  <c:v>26.826395690725999</c:v>
                </c:pt>
                <c:pt idx="264">
                  <c:v>26.409405084134001</c:v>
                </c:pt>
                <c:pt idx="265">
                  <c:v>23.953793734205998</c:v>
                </c:pt>
                <c:pt idx="266">
                  <c:v>21.173856356929001</c:v>
                </c:pt>
                <c:pt idx="267">
                  <c:v>19.644890799426001</c:v>
                </c:pt>
                <c:pt idx="268">
                  <c:v>17.652602345710999</c:v>
                </c:pt>
                <c:pt idx="269">
                  <c:v>16.911285711769999</c:v>
                </c:pt>
                <c:pt idx="270">
                  <c:v>16.308965946693</c:v>
                </c:pt>
                <c:pt idx="271">
                  <c:v>15.938307629723001</c:v>
                </c:pt>
                <c:pt idx="272">
                  <c:v>15.150658706161</c:v>
                </c:pt>
                <c:pt idx="273">
                  <c:v>13.390031700552001</c:v>
                </c:pt>
                <c:pt idx="274">
                  <c:v>12.185392170399</c:v>
                </c:pt>
                <c:pt idx="275">
                  <c:v>12.000063011912999</c:v>
                </c:pt>
                <c:pt idx="276">
                  <c:v>10.656426612896</c:v>
                </c:pt>
                <c:pt idx="277">
                  <c:v>10.193103716683</c:v>
                </c:pt>
                <c:pt idx="278">
                  <c:v>9.8224453997130006</c:v>
                </c:pt>
                <c:pt idx="279">
                  <c:v>8.8031350280440002</c:v>
                </c:pt>
                <c:pt idx="280">
                  <c:v>7.9691538148610004</c:v>
                </c:pt>
                <c:pt idx="281">
                  <c:v>7.4131663394059997</c:v>
                </c:pt>
                <c:pt idx="282">
                  <c:v>6.4401882573589999</c:v>
                </c:pt>
                <c:pt idx="283">
                  <c:v>5.4208778856900004</c:v>
                </c:pt>
                <c:pt idx="284">
                  <c:v>5.0502195687200002</c:v>
                </c:pt>
                <c:pt idx="285">
                  <c:v>5.2355487272049999</c:v>
                </c:pt>
                <c:pt idx="286">
                  <c:v>4.67956125175</c:v>
                </c:pt>
                <c:pt idx="287">
                  <c:v>4.4015675140220001</c:v>
                </c:pt>
                <c:pt idx="288">
                  <c:v>4.4015675140220001</c:v>
                </c:pt>
                <c:pt idx="289">
                  <c:v>3.7529154593239999</c:v>
                </c:pt>
                <c:pt idx="290">
                  <c:v>4.1235737762940001</c:v>
                </c:pt>
                <c:pt idx="291">
                  <c:v>4.2625706451580001</c:v>
                </c:pt>
                <c:pt idx="292">
                  <c:v>4.0772414866729996</c:v>
                </c:pt>
                <c:pt idx="293">
                  <c:v>3.8919123281879999</c:v>
                </c:pt>
                <c:pt idx="294">
                  <c:v>3.8455800385660002</c:v>
                </c:pt>
                <c:pt idx="295">
                  <c:v>3.196927983868</c:v>
                </c:pt>
                <c:pt idx="296">
                  <c:v>2.9189342461410002</c:v>
                </c:pt>
                <c:pt idx="297">
                  <c:v>2.270282191443</c:v>
                </c:pt>
                <c:pt idx="298">
                  <c:v>2.270282191443</c:v>
                </c:pt>
                <c:pt idx="299">
                  <c:v>2.0849530329579999</c:v>
                </c:pt>
                <c:pt idx="300">
                  <c:v>1.945956164094</c:v>
                </c:pt>
                <c:pt idx="301">
                  <c:v>1.4363009782589999</c:v>
                </c:pt>
                <c:pt idx="302">
                  <c:v>1.2509718197740001</c:v>
                </c:pt>
                <c:pt idx="303">
                  <c:v>1.389968688638</c:v>
                </c:pt>
                <c:pt idx="304">
                  <c:v>1.389968688638</c:v>
                </c:pt>
                <c:pt idx="305">
                  <c:v>1.4826332678809999</c:v>
                </c:pt>
                <c:pt idx="306">
                  <c:v>1.760627005608</c:v>
                </c:pt>
                <c:pt idx="307">
                  <c:v>1.389968688638</c:v>
                </c:pt>
                <c:pt idx="308">
                  <c:v>1.1583072405320001</c:v>
                </c:pt>
                <c:pt idx="309">
                  <c:v>1.5752978471229999</c:v>
                </c:pt>
                <c:pt idx="310">
                  <c:v>1.6216301367449999</c:v>
                </c:pt>
                <c:pt idx="311">
                  <c:v>1.8532915848510001</c:v>
                </c:pt>
                <c:pt idx="312">
                  <c:v>1.760627005608</c:v>
                </c:pt>
                <c:pt idx="313">
                  <c:v>1.6216301367449999</c:v>
                </c:pt>
                <c:pt idx="314">
                  <c:v>2.5019436395489998</c:v>
                </c:pt>
                <c:pt idx="315">
                  <c:v>3.1042634046259998</c:v>
                </c:pt>
                <c:pt idx="316">
                  <c:v>3.1042634046259998</c:v>
                </c:pt>
                <c:pt idx="317">
                  <c:v>3.0579311150050001</c:v>
                </c:pt>
                <c:pt idx="318">
                  <c:v>3.1505956942469999</c:v>
                </c:pt>
                <c:pt idx="319">
                  <c:v>3.335924852732</c:v>
                </c:pt>
                <c:pt idx="320">
                  <c:v>3.3822571423540002</c:v>
                </c:pt>
                <c:pt idx="321">
                  <c:v>2.8262696668979999</c:v>
                </c:pt>
                <c:pt idx="322">
                  <c:v>2.5946082187920001</c:v>
                </c:pt>
                <c:pt idx="323">
                  <c:v>2.5019436395489998</c:v>
                </c:pt>
                <c:pt idx="324">
                  <c:v>2.4556113499280001</c:v>
                </c:pt>
                <c:pt idx="325">
                  <c:v>2.4556113499280001</c:v>
                </c:pt>
                <c:pt idx="326">
                  <c:v>2.3166144810640001</c:v>
                </c:pt>
                <c:pt idx="327">
                  <c:v>2.1776176122000002</c:v>
                </c:pt>
                <c:pt idx="328">
                  <c:v>2.5482759291699999</c:v>
                </c:pt>
                <c:pt idx="329">
                  <c:v>2.5482759291699999</c:v>
                </c:pt>
                <c:pt idx="330">
                  <c:v>2.409279060307</c:v>
                </c:pt>
                <c:pt idx="331">
                  <c:v>2.7799373772770002</c:v>
                </c:pt>
                <c:pt idx="332">
                  <c:v>2.5482759291699999</c:v>
                </c:pt>
                <c:pt idx="333">
                  <c:v>2.4556113499280001</c:v>
                </c:pt>
                <c:pt idx="334">
                  <c:v>2.5482759291699999</c:v>
                </c:pt>
                <c:pt idx="335">
                  <c:v>2.3629467706849998</c:v>
                </c:pt>
                <c:pt idx="336">
                  <c:v>2.409279060307</c:v>
                </c:pt>
                <c:pt idx="337">
                  <c:v>2.4556113499280001</c:v>
                </c:pt>
                <c:pt idx="338">
                  <c:v>2.1312853225790001</c:v>
                </c:pt>
                <c:pt idx="339">
                  <c:v>2.409279060307</c:v>
                </c:pt>
                <c:pt idx="340">
                  <c:v>2.409279060307</c:v>
                </c:pt>
                <c:pt idx="341">
                  <c:v>2.409279060307</c:v>
                </c:pt>
                <c:pt idx="342">
                  <c:v>2.409279060307</c:v>
                </c:pt>
                <c:pt idx="343">
                  <c:v>2.3629467706849998</c:v>
                </c:pt>
                <c:pt idx="344">
                  <c:v>2.5946082187920001</c:v>
                </c:pt>
                <c:pt idx="345">
                  <c:v>2.6409405084130002</c:v>
                </c:pt>
                <c:pt idx="346">
                  <c:v>2.5946082187920001</c:v>
                </c:pt>
                <c:pt idx="347">
                  <c:v>2.6409405084130002</c:v>
                </c:pt>
                <c:pt idx="348">
                  <c:v>2.7336050876560001</c:v>
                </c:pt>
                <c:pt idx="349">
                  <c:v>2.7336050876560001</c:v>
                </c:pt>
                <c:pt idx="350">
                  <c:v>3.1505956942469999</c:v>
                </c:pt>
                <c:pt idx="351">
                  <c:v>3.1505956942469999</c:v>
                </c:pt>
                <c:pt idx="352">
                  <c:v>2.9652665357619998</c:v>
                </c:pt>
                <c:pt idx="353">
                  <c:v>2.9189342461410002</c:v>
                </c:pt>
                <c:pt idx="354">
                  <c:v>3.1042634046259998</c:v>
                </c:pt>
                <c:pt idx="355">
                  <c:v>3.1042634046259998</c:v>
                </c:pt>
                <c:pt idx="356">
                  <c:v>3.0579311150050001</c:v>
                </c:pt>
                <c:pt idx="357">
                  <c:v>3.1042634046259998</c:v>
                </c:pt>
                <c:pt idx="358">
                  <c:v>3.3822571423540002</c:v>
                </c:pt>
                <c:pt idx="359">
                  <c:v>3.7065831697029998</c:v>
                </c:pt>
                <c:pt idx="360">
                  <c:v>3.7529154593239999</c:v>
                </c:pt>
                <c:pt idx="361">
                  <c:v>3.7065831697029998</c:v>
                </c:pt>
                <c:pt idx="362">
                  <c:v>3.61391859046</c:v>
                </c:pt>
                <c:pt idx="363">
                  <c:v>3.6602508800810001</c:v>
                </c:pt>
                <c:pt idx="364">
                  <c:v>3.5212540112170001</c:v>
                </c:pt>
                <c:pt idx="365">
                  <c:v>3.8455800385660002</c:v>
                </c:pt>
                <c:pt idx="366">
                  <c:v>4.1699060659159999</c:v>
                </c:pt>
                <c:pt idx="367">
                  <c:v>5.1428841479629996</c:v>
                </c:pt>
                <c:pt idx="368">
                  <c:v>5.4672101753120002</c:v>
                </c:pt>
                <c:pt idx="369">
                  <c:v>5.7915362026609998</c:v>
                </c:pt>
                <c:pt idx="370">
                  <c:v>6.4865205469799996</c:v>
                </c:pt>
                <c:pt idx="371">
                  <c:v>7.4594986290270002</c:v>
                </c:pt>
                <c:pt idx="372">
                  <c:v>7.4131663394059997</c:v>
                </c:pt>
                <c:pt idx="373">
                  <c:v>7.6911600771330004</c:v>
                </c:pt>
                <c:pt idx="374">
                  <c:v>7.8764892356190002</c:v>
                </c:pt>
                <c:pt idx="375">
                  <c:v>7.7838246563759999</c:v>
                </c:pt>
                <c:pt idx="376">
                  <c:v>7.6448277875119999</c:v>
                </c:pt>
                <c:pt idx="377">
                  <c:v>8.3398121318319998</c:v>
                </c:pt>
                <c:pt idx="378">
                  <c:v>8.9884641865300008</c:v>
                </c:pt>
                <c:pt idx="379">
                  <c:v>9.2201256346360001</c:v>
                </c:pt>
                <c:pt idx="380">
                  <c:v>9.7297808204699994</c:v>
                </c:pt>
                <c:pt idx="381">
                  <c:v>10.378432875168</c:v>
                </c:pt>
                <c:pt idx="382">
                  <c:v>10.517429744032</c:v>
                </c:pt>
                <c:pt idx="383">
                  <c:v>11.027084929866</c:v>
                </c:pt>
                <c:pt idx="384">
                  <c:v>10.841755771381001</c:v>
                </c:pt>
                <c:pt idx="385">
                  <c:v>10.563762033652999</c:v>
                </c:pt>
                <c:pt idx="386">
                  <c:v>11.073417219488</c:v>
                </c:pt>
                <c:pt idx="387">
                  <c:v>10.656426612896</c:v>
                </c:pt>
                <c:pt idx="388">
                  <c:v>10.239436006304</c:v>
                </c:pt>
                <c:pt idx="389">
                  <c:v>10.934420350624</c:v>
                </c:pt>
                <c:pt idx="390">
                  <c:v>10.980752640245001</c:v>
                </c:pt>
                <c:pt idx="391">
                  <c:v>11.86106614305</c:v>
                </c:pt>
                <c:pt idx="392">
                  <c:v>11.073417219488</c:v>
                </c:pt>
                <c:pt idx="393">
                  <c:v>11.583072405322</c:v>
                </c:pt>
                <c:pt idx="394">
                  <c:v>13.807022307144001</c:v>
                </c:pt>
                <c:pt idx="395">
                  <c:v>15.84564305048</c:v>
                </c:pt>
                <c:pt idx="396">
                  <c:v>16.772288842906001</c:v>
                </c:pt>
                <c:pt idx="397">
                  <c:v>17.28194402874</c:v>
                </c:pt>
                <c:pt idx="398">
                  <c:v>17.884263793816999</c:v>
                </c:pt>
                <c:pt idx="399">
                  <c:v>21.776176122005001</c:v>
                </c:pt>
                <c:pt idx="400">
                  <c:v>24.695110368146999</c:v>
                </c:pt>
                <c:pt idx="401">
                  <c:v>25.899749898300001</c:v>
                </c:pt>
                <c:pt idx="402">
                  <c:v>26.687398821862001</c:v>
                </c:pt>
                <c:pt idx="403">
                  <c:v>26.038746767164</c:v>
                </c:pt>
                <c:pt idx="404">
                  <c:v>25.807085319058</c:v>
                </c:pt>
                <c:pt idx="405">
                  <c:v>27.614044614288002</c:v>
                </c:pt>
                <c:pt idx="406">
                  <c:v>27.799373772772999</c:v>
                </c:pt>
                <c:pt idx="407">
                  <c:v>28.587022696335001</c:v>
                </c:pt>
                <c:pt idx="408">
                  <c:v>29.421003909517999</c:v>
                </c:pt>
                <c:pt idx="409">
                  <c:v>33.312916237705998</c:v>
                </c:pt>
                <c:pt idx="410">
                  <c:v>36.046521325362001</c:v>
                </c:pt>
                <c:pt idx="411">
                  <c:v>37.529154593244002</c:v>
                </c:pt>
                <c:pt idx="412">
                  <c:v>43.228026216662002</c:v>
                </c:pt>
                <c:pt idx="413">
                  <c:v>51.660502927736999</c:v>
                </c:pt>
                <c:pt idx="414">
                  <c:v>58.564014081308997</c:v>
                </c:pt>
                <c:pt idx="415">
                  <c:v>66.672164765035006</c:v>
                </c:pt>
                <c:pt idx="416">
                  <c:v>75.799625820429</c:v>
                </c:pt>
                <c:pt idx="417">
                  <c:v>81.220503706119004</c:v>
                </c:pt>
                <c:pt idx="418">
                  <c:v>85.714735799384002</c:v>
                </c:pt>
                <c:pt idx="419">
                  <c:v>94.888529144399996</c:v>
                </c:pt>
                <c:pt idx="420">
                  <c:v>107.768905659118</c:v>
                </c:pt>
                <c:pt idx="421">
                  <c:v>117.962009375802</c:v>
                </c:pt>
                <c:pt idx="422">
                  <c:v>118.471664561636</c:v>
                </c:pt>
                <c:pt idx="423">
                  <c:v>129.63774636036601</c:v>
                </c:pt>
                <c:pt idx="424">
                  <c:v>138.67254283651801</c:v>
                </c:pt>
                <c:pt idx="425">
                  <c:v>144.83473735614899</c:v>
                </c:pt>
                <c:pt idx="426">
                  <c:v>165.17461249989501</c:v>
                </c:pt>
                <c:pt idx="427">
                  <c:v>180.78859410227</c:v>
                </c:pt>
                <c:pt idx="428">
                  <c:v>204.325397229885</c:v>
                </c:pt>
                <c:pt idx="429">
                  <c:v>235.924018751604</c:v>
                </c:pt>
                <c:pt idx="430">
                  <c:v>255.15191894443899</c:v>
                </c:pt>
                <c:pt idx="431">
                  <c:v>262.24075925649601</c:v>
                </c:pt>
                <c:pt idx="432">
                  <c:v>263.90872168286199</c:v>
                </c:pt>
                <c:pt idx="433">
                  <c:v>273.40684105522701</c:v>
                </c:pt>
                <c:pt idx="434">
                  <c:v>293.65405161973001</c:v>
                </c:pt>
                <c:pt idx="435">
                  <c:v>305.65411463164401</c:v>
                </c:pt>
                <c:pt idx="436">
                  <c:v>310.70433420036397</c:v>
                </c:pt>
                <c:pt idx="437">
                  <c:v>329.88590210357802</c:v>
                </c:pt>
                <c:pt idx="438">
                  <c:v>339.52301834480602</c:v>
                </c:pt>
                <c:pt idx="439">
                  <c:v>347.02884926345502</c:v>
                </c:pt>
                <c:pt idx="440">
                  <c:v>360.18721951590101</c:v>
                </c:pt>
                <c:pt idx="441">
                  <c:v>382.05606021714999</c:v>
                </c:pt>
                <c:pt idx="442">
                  <c:v>372.60427313440698</c:v>
                </c:pt>
                <c:pt idx="443">
                  <c:v>383.77035493313701</c:v>
                </c:pt>
                <c:pt idx="444">
                  <c:v>418.75123359721101</c:v>
                </c:pt>
                <c:pt idx="445">
                  <c:v>437.05248799762001</c:v>
                </c:pt>
                <c:pt idx="446">
                  <c:v>444.14132830967702</c:v>
                </c:pt>
                <c:pt idx="447">
                  <c:v>452.017817545296</c:v>
                </c:pt>
                <c:pt idx="448">
                  <c:v>461.05261402144799</c:v>
                </c:pt>
                <c:pt idx="449">
                  <c:v>486.85969934050598</c:v>
                </c:pt>
                <c:pt idx="450">
                  <c:v>539.21518661256198</c:v>
                </c:pt>
                <c:pt idx="451">
                  <c:v>527.30778817989096</c:v>
                </c:pt>
                <c:pt idx="452">
                  <c:v>527.16879131102701</c:v>
                </c:pt>
                <c:pt idx="453">
                  <c:v>536.75957526263403</c:v>
                </c:pt>
                <c:pt idx="454">
                  <c:v>544.91405823598097</c:v>
                </c:pt>
                <c:pt idx="455">
                  <c:v>537.87155021354499</c:v>
                </c:pt>
                <c:pt idx="456">
                  <c:v>551.72490481031002</c:v>
                </c:pt>
                <c:pt idx="457">
                  <c:v>524.34252164412896</c:v>
                </c:pt>
                <c:pt idx="458">
                  <c:v>519.29230207540797</c:v>
                </c:pt>
                <c:pt idx="459">
                  <c:v>513.59343045199</c:v>
                </c:pt>
                <c:pt idx="460">
                  <c:v>498.62810090431299</c:v>
                </c:pt>
                <c:pt idx="461">
                  <c:v>491.63192517149798</c:v>
                </c:pt>
                <c:pt idx="462">
                  <c:v>484.45042028019901</c:v>
                </c:pt>
                <c:pt idx="463">
                  <c:v>465.037190928879</c:v>
                </c:pt>
                <c:pt idx="464">
                  <c:v>449.28421245764002</c:v>
                </c:pt>
                <c:pt idx="465">
                  <c:v>426.53505825358701</c:v>
                </c:pt>
                <c:pt idx="466">
                  <c:v>414.16433692470298</c:v>
                </c:pt>
                <c:pt idx="467">
                  <c:v>408.604462170148</c:v>
                </c:pt>
                <c:pt idx="468">
                  <c:v>391.507847299893</c:v>
                </c:pt>
                <c:pt idx="469">
                  <c:v>379.46145199835701</c:v>
                </c:pt>
                <c:pt idx="470">
                  <c:v>361.53085591491902</c:v>
                </c:pt>
                <c:pt idx="471">
                  <c:v>337.62339447033298</c:v>
                </c:pt>
                <c:pt idx="472">
                  <c:v>316.91286100961702</c:v>
                </c:pt>
                <c:pt idx="473">
                  <c:v>304.681136549597</c:v>
                </c:pt>
                <c:pt idx="474">
                  <c:v>299.816246139361</c:v>
                </c:pt>
                <c:pt idx="475">
                  <c:v>283.59994477190997</c:v>
                </c:pt>
                <c:pt idx="476">
                  <c:v>264.00138626210497</c:v>
                </c:pt>
                <c:pt idx="477">
                  <c:v>250.101699375718</c:v>
                </c:pt>
                <c:pt idx="478">
                  <c:v>232.91241992622</c:v>
                </c:pt>
                <c:pt idx="479">
                  <c:v>198.16320271025299</c:v>
                </c:pt>
                <c:pt idx="480">
                  <c:v>181.20558470886101</c:v>
                </c:pt>
                <c:pt idx="481">
                  <c:v>176.15536514014099</c:v>
                </c:pt>
                <c:pt idx="482">
                  <c:v>169.52984772429599</c:v>
                </c:pt>
                <c:pt idx="483">
                  <c:v>158.08577218783799</c:v>
                </c:pt>
                <c:pt idx="484">
                  <c:v>150.62627355881</c:v>
                </c:pt>
                <c:pt idx="485">
                  <c:v>149.189972580551</c:v>
                </c:pt>
                <c:pt idx="486">
                  <c:v>165.91592913383599</c:v>
                </c:pt>
                <c:pt idx="487">
                  <c:v>165.59160310648701</c:v>
                </c:pt>
                <c:pt idx="488">
                  <c:v>165.730599975351</c:v>
                </c:pt>
                <c:pt idx="489">
                  <c:v>171.151477861042</c:v>
                </c:pt>
                <c:pt idx="490">
                  <c:v>175.18238705809401</c:v>
                </c:pt>
                <c:pt idx="491">
                  <c:v>173.23643089399999</c:v>
                </c:pt>
                <c:pt idx="492">
                  <c:v>169.90050604126699</c:v>
                </c:pt>
                <c:pt idx="493">
                  <c:v>169.99317062050901</c:v>
                </c:pt>
                <c:pt idx="494">
                  <c:v>176.66502032597501</c:v>
                </c:pt>
                <c:pt idx="495">
                  <c:v>176.10903285051899</c:v>
                </c:pt>
                <c:pt idx="496">
                  <c:v>157.25179097465499</c:v>
                </c:pt>
                <c:pt idx="497">
                  <c:v>142.88878119205501</c:v>
                </c:pt>
                <c:pt idx="498">
                  <c:v>138.44088138841099</c:v>
                </c:pt>
                <c:pt idx="499">
                  <c:v>134.363639901738</c:v>
                </c:pt>
                <c:pt idx="500">
                  <c:v>135.15128882530001</c:v>
                </c:pt>
                <c:pt idx="501">
                  <c:v>139.182198022352</c:v>
                </c:pt>
                <c:pt idx="502">
                  <c:v>141.73047395152301</c:v>
                </c:pt>
                <c:pt idx="503">
                  <c:v>123.15122581338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ripadu_7dni_100_000_65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0%</c:formatCode>
                <c:ptCount val="504"/>
                <c:pt idx="0">
                  <c:v>-6.6201999999999997E-2</c:v>
                </c:pt>
                <c:pt idx="1">
                  <c:v>-2.0476999999999999E-2</c:v>
                </c:pt>
                <c:pt idx="2">
                  <c:v>-6.0975000000000001E-2</c:v>
                </c:pt>
                <c:pt idx="3">
                  <c:v>8.9402999999999996E-2</c:v>
                </c:pt>
                <c:pt idx="4">
                  <c:v>0.219081</c:v>
                </c:pt>
                <c:pt idx="5">
                  <c:v>0.26989600000000002</c:v>
                </c:pt>
                <c:pt idx="6">
                  <c:v>0.27419300000000002</c:v>
                </c:pt>
                <c:pt idx="7">
                  <c:v>0.38181799999999999</c:v>
                </c:pt>
                <c:pt idx="8">
                  <c:v>0.47126400000000002</c:v>
                </c:pt>
                <c:pt idx="9">
                  <c:v>0.46493499999999999</c:v>
                </c:pt>
                <c:pt idx="10">
                  <c:v>0.59948299999999999</c:v>
                </c:pt>
                <c:pt idx="11">
                  <c:v>0.96306000000000003</c:v>
                </c:pt>
                <c:pt idx="12">
                  <c:v>0.84506999999999999</c:v>
                </c:pt>
                <c:pt idx="13">
                  <c:v>0.626</c:v>
                </c:pt>
                <c:pt idx="14">
                  <c:v>0.49651499999999998</c:v>
                </c:pt>
                <c:pt idx="15">
                  <c:v>0.49120000000000003</c:v>
                </c:pt>
                <c:pt idx="16">
                  <c:v>0.56896500000000005</c:v>
                </c:pt>
                <c:pt idx="17">
                  <c:v>0.42393999999999998</c:v>
                </c:pt>
                <c:pt idx="18">
                  <c:v>0.351219</c:v>
                </c:pt>
                <c:pt idx="19">
                  <c:v>0.29472399999999999</c:v>
                </c:pt>
                <c:pt idx="20">
                  <c:v>0.22199099999999999</c:v>
                </c:pt>
                <c:pt idx="21">
                  <c:v>0.204761</c:v>
                </c:pt>
                <c:pt idx="22">
                  <c:v>8.5476999999999997E-2</c:v>
                </c:pt>
                <c:pt idx="23">
                  <c:v>7.2997999999999993E-2</c:v>
                </c:pt>
                <c:pt idx="24">
                  <c:v>0.16886100000000001</c:v>
                </c:pt>
                <c:pt idx="25">
                  <c:v>0.28630699999999998</c:v>
                </c:pt>
                <c:pt idx="26">
                  <c:v>0.248417</c:v>
                </c:pt>
                <c:pt idx="27">
                  <c:v>0.14053599999999999</c:v>
                </c:pt>
                <c:pt idx="28">
                  <c:v>8.9391999999999999E-2</c:v>
                </c:pt>
                <c:pt idx="29">
                  <c:v>8.7803999999999993E-2</c:v>
                </c:pt>
                <c:pt idx="30">
                  <c:v>0.15079799999999999</c:v>
                </c:pt>
                <c:pt idx="31">
                  <c:v>0.25191200000000002</c:v>
                </c:pt>
                <c:pt idx="32">
                  <c:v>0.38447700000000001</c:v>
                </c:pt>
                <c:pt idx="33">
                  <c:v>0.40285700000000002</c:v>
                </c:pt>
                <c:pt idx="34">
                  <c:v>0.51469799999999999</c:v>
                </c:pt>
                <c:pt idx="35">
                  <c:v>0.56888000000000005</c:v>
                </c:pt>
                <c:pt idx="36">
                  <c:v>0.53994699999999995</c:v>
                </c:pt>
                <c:pt idx="37">
                  <c:v>0.53161899999999995</c:v>
                </c:pt>
                <c:pt idx="38">
                  <c:v>0.73893900000000001</c:v>
                </c:pt>
                <c:pt idx="39">
                  <c:v>0.77209300000000003</c:v>
                </c:pt>
                <c:pt idx="40">
                  <c:v>0.59181600000000001</c:v>
                </c:pt>
                <c:pt idx="41">
                  <c:v>0.442139</c:v>
                </c:pt>
                <c:pt idx="42">
                  <c:v>0.41279199999999999</c:v>
                </c:pt>
                <c:pt idx="43">
                  <c:v>0.41902</c:v>
                </c:pt>
                <c:pt idx="44">
                  <c:v>0.34470000000000001</c:v>
                </c:pt>
                <c:pt idx="45">
                  <c:v>0.38938200000000001</c:v>
                </c:pt>
                <c:pt idx="46">
                  <c:v>0.48533399999999999</c:v>
                </c:pt>
                <c:pt idx="47">
                  <c:v>0.419431</c:v>
                </c:pt>
                <c:pt idx="48">
                  <c:v>0.366622</c:v>
                </c:pt>
                <c:pt idx="49">
                  <c:v>0.31132399999999999</c:v>
                </c:pt>
                <c:pt idx="50">
                  <c:v>0.32843800000000001</c:v>
                </c:pt>
                <c:pt idx="51">
                  <c:v>0.30123699999999998</c:v>
                </c:pt>
                <c:pt idx="52">
                  <c:v>0.37880200000000003</c:v>
                </c:pt>
                <c:pt idx="53">
                  <c:v>0.417624</c:v>
                </c:pt>
                <c:pt idx="54">
                  <c:v>0.34020600000000001</c:v>
                </c:pt>
                <c:pt idx="55">
                  <c:v>0.25461899999999998</c:v>
                </c:pt>
                <c:pt idx="56">
                  <c:v>0.21318799999999999</c:v>
                </c:pt>
                <c:pt idx="57">
                  <c:v>0.134773</c:v>
                </c:pt>
                <c:pt idx="58">
                  <c:v>5.9603000000000003E-2</c:v>
                </c:pt>
                <c:pt idx="59">
                  <c:v>4.5608999999999997E-2</c:v>
                </c:pt>
                <c:pt idx="60">
                  <c:v>5.7481999999999998E-2</c:v>
                </c:pt>
                <c:pt idx="61">
                  <c:v>-1.8776000000000001E-2</c:v>
                </c:pt>
                <c:pt idx="62">
                  <c:v>-9.1535000000000005E-2</c:v>
                </c:pt>
                <c:pt idx="63">
                  <c:v>-0.130747</c:v>
                </c:pt>
                <c:pt idx="64">
                  <c:v>-9.2591999999999994E-2</c:v>
                </c:pt>
                <c:pt idx="65">
                  <c:v>-8.8933999999999999E-2</c:v>
                </c:pt>
                <c:pt idx="66">
                  <c:v>-7.4283000000000002E-2</c:v>
                </c:pt>
                <c:pt idx="67">
                  <c:v>-5.9332000000000003E-2</c:v>
                </c:pt>
                <c:pt idx="68">
                  <c:v>-0.123929</c:v>
                </c:pt>
                <c:pt idx="69">
                  <c:v>-0.18451500000000001</c:v>
                </c:pt>
                <c:pt idx="70">
                  <c:v>-0.22226299999999999</c:v>
                </c:pt>
                <c:pt idx="71">
                  <c:v>-0.28662799999999999</c:v>
                </c:pt>
                <c:pt idx="72">
                  <c:v>-0.340416</c:v>
                </c:pt>
                <c:pt idx="73">
                  <c:v>-0.34118399999999999</c:v>
                </c:pt>
                <c:pt idx="74">
                  <c:v>-0.32477</c:v>
                </c:pt>
                <c:pt idx="75">
                  <c:v>-0.35148299999999999</c:v>
                </c:pt>
                <c:pt idx="76">
                  <c:v>-0.34333200000000003</c:v>
                </c:pt>
                <c:pt idx="77">
                  <c:v>-0.39984599999999998</c:v>
                </c:pt>
                <c:pt idx="78">
                  <c:v>-0.418462</c:v>
                </c:pt>
                <c:pt idx="79">
                  <c:v>-0.41597099999999998</c:v>
                </c:pt>
                <c:pt idx="80">
                  <c:v>-0.393318</c:v>
                </c:pt>
                <c:pt idx="81">
                  <c:v>-0.350993</c:v>
                </c:pt>
                <c:pt idx="82">
                  <c:v>-0.38974900000000001</c:v>
                </c:pt>
                <c:pt idx="83">
                  <c:v>-0.39332600000000001</c:v>
                </c:pt>
                <c:pt idx="84">
                  <c:v>-0.31765399999999999</c:v>
                </c:pt>
                <c:pt idx="85">
                  <c:v>-0.28308100000000003</c:v>
                </c:pt>
                <c:pt idx="86">
                  <c:v>-0.27157799999999999</c:v>
                </c:pt>
                <c:pt idx="87">
                  <c:v>-0.20669299999999999</c:v>
                </c:pt>
                <c:pt idx="88">
                  <c:v>-0.162885</c:v>
                </c:pt>
                <c:pt idx="89">
                  <c:v>-0.24416399999999999</c:v>
                </c:pt>
                <c:pt idx="90">
                  <c:v>-0.25981100000000001</c:v>
                </c:pt>
                <c:pt idx="91">
                  <c:v>-0.31053900000000001</c:v>
                </c:pt>
                <c:pt idx="92">
                  <c:v>-0.30493799999999999</c:v>
                </c:pt>
                <c:pt idx="93">
                  <c:v>-0.28204400000000002</c:v>
                </c:pt>
                <c:pt idx="94">
                  <c:v>-0.210567</c:v>
                </c:pt>
                <c:pt idx="95">
                  <c:v>-0.131303</c:v>
                </c:pt>
                <c:pt idx="96">
                  <c:v>-0.202457</c:v>
                </c:pt>
                <c:pt idx="97">
                  <c:v>-0.18753800000000001</c:v>
                </c:pt>
                <c:pt idx="98">
                  <c:v>-0.12931500000000001</c:v>
                </c:pt>
                <c:pt idx="99">
                  <c:v>-6.8246000000000001E-2</c:v>
                </c:pt>
                <c:pt idx="100">
                  <c:v>-3.1139E-2</c:v>
                </c:pt>
                <c:pt idx="101">
                  <c:v>3.1523000000000002E-2</c:v>
                </c:pt>
                <c:pt idx="102">
                  <c:v>7.5298000000000004E-2</c:v>
                </c:pt>
                <c:pt idx="103">
                  <c:v>-7.1339999999999997E-3</c:v>
                </c:pt>
                <c:pt idx="104">
                  <c:v>-1.9970999999999999E-2</c:v>
                </c:pt>
                <c:pt idx="105">
                  <c:v>-3.1216000000000001E-2</c:v>
                </c:pt>
                <c:pt idx="106">
                  <c:v>-1.8529E-2</c:v>
                </c:pt>
                <c:pt idx="107">
                  <c:v>-2.1260000000000001E-2</c:v>
                </c:pt>
                <c:pt idx="108">
                  <c:v>7.2769E-2</c:v>
                </c:pt>
                <c:pt idx="109">
                  <c:v>0.148172</c:v>
                </c:pt>
                <c:pt idx="110">
                  <c:v>4.8930000000000001E-2</c:v>
                </c:pt>
                <c:pt idx="111">
                  <c:v>5.0191E-2</c:v>
                </c:pt>
                <c:pt idx="112">
                  <c:v>7.9873E-2</c:v>
                </c:pt>
                <c:pt idx="113">
                  <c:v>0.175121</c:v>
                </c:pt>
                <c:pt idx="114">
                  <c:v>5.6945999999999997E-2</c:v>
                </c:pt>
                <c:pt idx="115">
                  <c:v>-1.6150999999999999E-2</c:v>
                </c:pt>
                <c:pt idx="116">
                  <c:v>-2.6877999999999999E-2</c:v>
                </c:pt>
                <c:pt idx="117">
                  <c:v>-0.122807</c:v>
                </c:pt>
                <c:pt idx="118">
                  <c:v>-0.138405</c:v>
                </c:pt>
                <c:pt idx="119">
                  <c:v>-0.132743</c:v>
                </c:pt>
                <c:pt idx="120">
                  <c:v>5.2009999999999999E-3</c:v>
                </c:pt>
                <c:pt idx="121">
                  <c:v>0.258718</c:v>
                </c:pt>
                <c:pt idx="122">
                  <c:v>0.40102100000000002</c:v>
                </c:pt>
                <c:pt idx="123">
                  <c:v>0.47473799999999999</c:v>
                </c:pt>
                <c:pt idx="124">
                  <c:v>0.32403399999999999</c:v>
                </c:pt>
                <c:pt idx="125">
                  <c:v>0.231762</c:v>
                </c:pt>
                <c:pt idx="126">
                  <c:v>0.16320599999999999</c:v>
                </c:pt>
                <c:pt idx="127">
                  <c:v>0.17230400000000001</c:v>
                </c:pt>
                <c:pt idx="128">
                  <c:v>0.21681</c:v>
                </c:pt>
                <c:pt idx="129">
                  <c:v>0.314745</c:v>
                </c:pt>
                <c:pt idx="130">
                  <c:v>0.30349500000000001</c:v>
                </c:pt>
                <c:pt idx="131">
                  <c:v>0.12801199999999999</c:v>
                </c:pt>
                <c:pt idx="132">
                  <c:v>2.7759999999999998E-3</c:v>
                </c:pt>
                <c:pt idx="133">
                  <c:v>-0.100677</c:v>
                </c:pt>
                <c:pt idx="134">
                  <c:v>-0.174898</c:v>
                </c:pt>
                <c:pt idx="135">
                  <c:v>-0.27616800000000002</c:v>
                </c:pt>
                <c:pt idx="136">
                  <c:v>-0.36120400000000003</c:v>
                </c:pt>
                <c:pt idx="137">
                  <c:v>-0.39283099999999999</c:v>
                </c:pt>
                <c:pt idx="138">
                  <c:v>-0.43193100000000001</c:v>
                </c:pt>
                <c:pt idx="139">
                  <c:v>-0.448353</c:v>
                </c:pt>
                <c:pt idx="140">
                  <c:v>-0.437226</c:v>
                </c:pt>
                <c:pt idx="141">
                  <c:v>-0.41048400000000002</c:v>
                </c:pt>
                <c:pt idx="142">
                  <c:v>-0.37468499999999999</c:v>
                </c:pt>
                <c:pt idx="143">
                  <c:v>-0.31138100000000002</c:v>
                </c:pt>
                <c:pt idx="144">
                  <c:v>-0.25902199999999997</c:v>
                </c:pt>
                <c:pt idx="145">
                  <c:v>-0.299815</c:v>
                </c:pt>
                <c:pt idx="146">
                  <c:v>-0.29268699999999997</c:v>
                </c:pt>
                <c:pt idx="147">
                  <c:v>-0.27489000000000002</c:v>
                </c:pt>
                <c:pt idx="148">
                  <c:v>-0.23168800000000001</c:v>
                </c:pt>
                <c:pt idx="149">
                  <c:v>-0.229626</c:v>
                </c:pt>
                <c:pt idx="150">
                  <c:v>-0.158938</c:v>
                </c:pt>
                <c:pt idx="151">
                  <c:v>-0.117023</c:v>
                </c:pt>
                <c:pt idx="152">
                  <c:v>-0.18029300000000001</c:v>
                </c:pt>
                <c:pt idx="153">
                  <c:v>-0.18982599999999999</c:v>
                </c:pt>
                <c:pt idx="154">
                  <c:v>-0.174209</c:v>
                </c:pt>
                <c:pt idx="155">
                  <c:v>-0.16139700000000001</c:v>
                </c:pt>
                <c:pt idx="156">
                  <c:v>-0.161827</c:v>
                </c:pt>
                <c:pt idx="157">
                  <c:v>-7.2939000000000004E-2</c:v>
                </c:pt>
                <c:pt idx="158">
                  <c:v>-2.9465000000000002E-2</c:v>
                </c:pt>
                <c:pt idx="159">
                  <c:v>-0.11439199999999999</c:v>
                </c:pt>
                <c:pt idx="160">
                  <c:v>-0.14251800000000001</c:v>
                </c:pt>
                <c:pt idx="161">
                  <c:v>-0.141766</c:v>
                </c:pt>
                <c:pt idx="162">
                  <c:v>-0.136071</c:v>
                </c:pt>
                <c:pt idx="163">
                  <c:v>-0.137629</c:v>
                </c:pt>
                <c:pt idx="164">
                  <c:v>-9.1588000000000003E-2</c:v>
                </c:pt>
                <c:pt idx="165">
                  <c:v>-7.3540999999999995E-2</c:v>
                </c:pt>
                <c:pt idx="166">
                  <c:v>-0.14064199999999999</c:v>
                </c:pt>
                <c:pt idx="167">
                  <c:v>-0.14523800000000001</c:v>
                </c:pt>
                <c:pt idx="168">
                  <c:v>-0.10861899999999999</c:v>
                </c:pt>
                <c:pt idx="169">
                  <c:v>-9.6060000000000006E-2</c:v>
                </c:pt>
                <c:pt idx="170">
                  <c:v>-7.3199E-2</c:v>
                </c:pt>
                <c:pt idx="171">
                  <c:v>4.5412000000000001E-2</c:v>
                </c:pt>
                <c:pt idx="172">
                  <c:v>0.11096399999999999</c:v>
                </c:pt>
                <c:pt idx="173">
                  <c:v>2.1149000000000001E-2</c:v>
                </c:pt>
                <c:pt idx="174">
                  <c:v>-1.1619000000000001E-2</c:v>
                </c:pt>
                <c:pt idx="175">
                  <c:v>2.4576000000000001E-2</c:v>
                </c:pt>
                <c:pt idx="176">
                  <c:v>4.8691999999999999E-2</c:v>
                </c:pt>
                <c:pt idx="177">
                  <c:v>5.4578000000000002E-2</c:v>
                </c:pt>
                <c:pt idx="178">
                  <c:v>0.132825</c:v>
                </c:pt>
                <c:pt idx="179">
                  <c:v>0.16042300000000001</c:v>
                </c:pt>
                <c:pt idx="180">
                  <c:v>4.2999999999999997E-2</c:v>
                </c:pt>
                <c:pt idx="181">
                  <c:v>-9.8239999999999994E-3</c:v>
                </c:pt>
                <c:pt idx="182">
                  <c:v>1.0020000000000001E-3</c:v>
                </c:pt>
                <c:pt idx="183">
                  <c:v>-2.3328000000000002E-2</c:v>
                </c:pt>
                <c:pt idx="184">
                  <c:v>-5.6499000000000001E-2</c:v>
                </c:pt>
                <c:pt idx="185">
                  <c:v>-2.3088000000000001E-2</c:v>
                </c:pt>
                <c:pt idx="186">
                  <c:v>2.1814E-2</c:v>
                </c:pt>
                <c:pt idx="187">
                  <c:v>-7.6327999999999993E-2</c:v>
                </c:pt>
                <c:pt idx="188">
                  <c:v>-0.148453</c:v>
                </c:pt>
                <c:pt idx="189">
                  <c:v>-0.181368</c:v>
                </c:pt>
                <c:pt idx="190">
                  <c:v>-0.199355</c:v>
                </c:pt>
                <c:pt idx="191">
                  <c:v>-0.22217500000000001</c:v>
                </c:pt>
                <c:pt idx="192">
                  <c:v>-0.148979</c:v>
                </c:pt>
                <c:pt idx="193">
                  <c:v>-0.146648</c:v>
                </c:pt>
                <c:pt idx="194">
                  <c:v>-0.20879300000000001</c:v>
                </c:pt>
                <c:pt idx="195">
                  <c:v>-0.21046899999999999</c:v>
                </c:pt>
                <c:pt idx="196">
                  <c:v>-0.18323500000000001</c:v>
                </c:pt>
                <c:pt idx="197">
                  <c:v>-0.167266</c:v>
                </c:pt>
                <c:pt idx="198">
                  <c:v>-0.182558</c:v>
                </c:pt>
                <c:pt idx="199">
                  <c:v>-0.19039900000000001</c:v>
                </c:pt>
                <c:pt idx="200">
                  <c:v>-0.14935699999999999</c:v>
                </c:pt>
                <c:pt idx="201">
                  <c:v>-0.22369600000000001</c:v>
                </c:pt>
                <c:pt idx="202">
                  <c:v>-0.28546300000000002</c:v>
                </c:pt>
                <c:pt idx="203">
                  <c:v>-0.308002</c:v>
                </c:pt>
                <c:pt idx="204">
                  <c:v>-0.32153999999999999</c:v>
                </c:pt>
                <c:pt idx="205">
                  <c:v>-0.33488200000000001</c:v>
                </c:pt>
                <c:pt idx="206">
                  <c:v>-0.27243400000000001</c:v>
                </c:pt>
                <c:pt idx="207">
                  <c:v>-0.253249</c:v>
                </c:pt>
                <c:pt idx="208">
                  <c:v>-0.30913499999999999</c:v>
                </c:pt>
                <c:pt idx="209">
                  <c:v>-0.317357</c:v>
                </c:pt>
                <c:pt idx="210">
                  <c:v>-0.30053600000000003</c:v>
                </c:pt>
                <c:pt idx="211">
                  <c:v>-0.27785700000000002</c:v>
                </c:pt>
                <c:pt idx="212">
                  <c:v>-0.278277</c:v>
                </c:pt>
                <c:pt idx="213">
                  <c:v>-0.28492800000000001</c:v>
                </c:pt>
                <c:pt idx="214">
                  <c:v>-0.271401</c:v>
                </c:pt>
                <c:pt idx="215">
                  <c:v>-0.32796999999999998</c:v>
                </c:pt>
                <c:pt idx="216">
                  <c:v>-0.42836000000000002</c:v>
                </c:pt>
                <c:pt idx="217">
                  <c:v>-0.456513</c:v>
                </c:pt>
                <c:pt idx="218">
                  <c:v>-0.46056999999999998</c:v>
                </c:pt>
                <c:pt idx="219">
                  <c:v>-0.43441200000000002</c:v>
                </c:pt>
                <c:pt idx="220">
                  <c:v>-0.33924100000000001</c:v>
                </c:pt>
                <c:pt idx="221">
                  <c:v>-0.30758000000000002</c:v>
                </c:pt>
                <c:pt idx="222">
                  <c:v>-0.32394099999999998</c:v>
                </c:pt>
                <c:pt idx="223">
                  <c:v>-0.239979</c:v>
                </c:pt>
                <c:pt idx="224">
                  <c:v>-0.219083</c:v>
                </c:pt>
                <c:pt idx="225">
                  <c:v>-0.23419999999999999</c:v>
                </c:pt>
                <c:pt idx="226">
                  <c:v>-0.25511600000000001</c:v>
                </c:pt>
                <c:pt idx="227">
                  <c:v>-0.26891599999999999</c:v>
                </c:pt>
                <c:pt idx="228">
                  <c:v>-0.26730599999999999</c:v>
                </c:pt>
                <c:pt idx="229">
                  <c:v>-0.31867200000000001</c:v>
                </c:pt>
                <c:pt idx="230">
                  <c:v>-0.39294000000000001</c:v>
                </c:pt>
                <c:pt idx="231">
                  <c:v>-0.40498499999999998</c:v>
                </c:pt>
                <c:pt idx="232">
                  <c:v>-0.37431500000000001</c:v>
                </c:pt>
                <c:pt idx="233">
                  <c:v>-0.35058299999999998</c:v>
                </c:pt>
                <c:pt idx="234">
                  <c:v>-0.31541400000000003</c:v>
                </c:pt>
                <c:pt idx="235">
                  <c:v>-0.29722599999999999</c:v>
                </c:pt>
                <c:pt idx="236">
                  <c:v>-0.354375</c:v>
                </c:pt>
                <c:pt idx="237">
                  <c:v>-0.36580600000000002</c:v>
                </c:pt>
                <c:pt idx="238">
                  <c:v>-0.344163</c:v>
                </c:pt>
                <c:pt idx="239">
                  <c:v>-0.33216600000000002</c:v>
                </c:pt>
                <c:pt idx="240">
                  <c:v>-0.33499499999999999</c:v>
                </c:pt>
                <c:pt idx="241">
                  <c:v>-0.25791799999999998</c:v>
                </c:pt>
                <c:pt idx="242">
                  <c:v>-0.21487899999999999</c:v>
                </c:pt>
                <c:pt idx="243">
                  <c:v>-0.29193799999999998</c:v>
                </c:pt>
                <c:pt idx="244">
                  <c:v>-0.29662899999999998</c:v>
                </c:pt>
                <c:pt idx="245">
                  <c:v>-0.28195900000000002</c:v>
                </c:pt>
                <c:pt idx="246">
                  <c:v>-0.28238200000000002</c:v>
                </c:pt>
                <c:pt idx="247">
                  <c:v>-0.28645799999999999</c:v>
                </c:pt>
                <c:pt idx="248">
                  <c:v>-0.289719</c:v>
                </c:pt>
                <c:pt idx="249">
                  <c:v>-0.30482999999999999</c:v>
                </c:pt>
                <c:pt idx="250">
                  <c:v>-0.374388</c:v>
                </c:pt>
                <c:pt idx="251">
                  <c:v>-0.39579500000000001</c:v>
                </c:pt>
                <c:pt idx="252">
                  <c:v>-0.41772100000000001</c:v>
                </c:pt>
                <c:pt idx="253">
                  <c:v>-0.44604300000000002</c:v>
                </c:pt>
                <c:pt idx="254">
                  <c:v>-0.44596799999999998</c:v>
                </c:pt>
                <c:pt idx="255">
                  <c:v>-0.40223399999999998</c:v>
                </c:pt>
                <c:pt idx="256">
                  <c:v>-0.36905500000000002</c:v>
                </c:pt>
                <c:pt idx="257">
                  <c:v>-0.43429899999999999</c:v>
                </c:pt>
                <c:pt idx="258">
                  <c:v>-0.45351900000000001</c:v>
                </c:pt>
                <c:pt idx="259">
                  <c:v>-0.41459699999999999</c:v>
                </c:pt>
                <c:pt idx="260">
                  <c:v>-0.40227000000000002</c:v>
                </c:pt>
                <c:pt idx="261">
                  <c:v>-0.41068300000000002</c:v>
                </c:pt>
                <c:pt idx="262">
                  <c:v>-0.40271000000000001</c:v>
                </c:pt>
                <c:pt idx="263">
                  <c:v>-0.40370699999999998</c:v>
                </c:pt>
                <c:pt idx="264">
                  <c:v>-0.45033699999999999</c:v>
                </c:pt>
                <c:pt idx="265">
                  <c:v>-0.46257700000000002</c:v>
                </c:pt>
                <c:pt idx="266">
                  <c:v>-0.47471200000000002</c:v>
                </c:pt>
                <c:pt idx="267">
                  <c:v>-0.48792200000000002</c:v>
                </c:pt>
                <c:pt idx="268">
                  <c:v>-0.49132100000000001</c:v>
                </c:pt>
                <c:pt idx="269">
                  <c:v>-0.43759599999999998</c:v>
                </c:pt>
                <c:pt idx="270">
                  <c:v>-0.41235300000000003</c:v>
                </c:pt>
                <c:pt idx="271">
                  <c:v>-0.45996799999999999</c:v>
                </c:pt>
                <c:pt idx="272">
                  <c:v>-0.45134200000000002</c:v>
                </c:pt>
                <c:pt idx="273">
                  <c:v>-0.43992199999999998</c:v>
                </c:pt>
                <c:pt idx="274">
                  <c:v>-0.44279600000000002</c:v>
                </c:pt>
                <c:pt idx="275">
                  <c:v>-0.41269800000000001</c:v>
                </c:pt>
                <c:pt idx="276">
                  <c:v>-0.40104099999999998</c:v>
                </c:pt>
                <c:pt idx="277">
                  <c:v>-0.39560400000000001</c:v>
                </c:pt>
                <c:pt idx="278">
                  <c:v>-0.46192800000000001</c:v>
                </c:pt>
                <c:pt idx="279">
                  <c:v>-0.48369499999999999</c:v>
                </c:pt>
                <c:pt idx="280">
                  <c:v>-0.46583799999999997</c:v>
                </c:pt>
                <c:pt idx="281">
                  <c:v>-0.478827</c:v>
                </c:pt>
                <c:pt idx="282">
                  <c:v>-0.52068899999999996</c:v>
                </c:pt>
                <c:pt idx="283">
                  <c:v>-0.51046000000000002</c:v>
                </c:pt>
                <c:pt idx="284">
                  <c:v>-0.51339199999999996</c:v>
                </c:pt>
                <c:pt idx="285">
                  <c:v>-0.52916600000000003</c:v>
                </c:pt>
                <c:pt idx="286">
                  <c:v>-0.52582099999999998</c:v>
                </c:pt>
                <c:pt idx="287">
                  <c:v>-0.507772</c:v>
                </c:pt>
                <c:pt idx="288">
                  <c:v>-0.48087400000000002</c:v>
                </c:pt>
                <c:pt idx="289">
                  <c:v>-0.45270199999999999</c:v>
                </c:pt>
                <c:pt idx="290">
                  <c:v>-0.24576200000000001</c:v>
                </c:pt>
                <c:pt idx="291">
                  <c:v>-0.213675</c:v>
                </c:pt>
                <c:pt idx="292">
                  <c:v>-0.31782899999999997</c:v>
                </c:pt>
                <c:pt idx="293">
                  <c:v>-0.28813499999999997</c:v>
                </c:pt>
                <c:pt idx="294">
                  <c:v>-0.28448200000000001</c:v>
                </c:pt>
                <c:pt idx="295">
                  <c:v>-0.336538</c:v>
                </c:pt>
                <c:pt idx="296">
                  <c:v>-0.35714200000000002</c:v>
                </c:pt>
                <c:pt idx="297">
                  <c:v>-0.47311799999999998</c:v>
                </c:pt>
                <c:pt idx="298">
                  <c:v>-0.48958299999999999</c:v>
                </c:pt>
                <c:pt idx="299">
                  <c:v>-0.54999900000000002</c:v>
                </c:pt>
                <c:pt idx="300">
                  <c:v>-0.57999900000000004</c:v>
                </c:pt>
                <c:pt idx="301">
                  <c:v>-0.655555</c:v>
                </c:pt>
                <c:pt idx="302">
                  <c:v>-0.625</c:v>
                </c:pt>
                <c:pt idx="303">
                  <c:v>-0.54545399999999999</c:v>
                </c:pt>
                <c:pt idx="304">
                  <c:v>-0.43396200000000001</c:v>
                </c:pt>
                <c:pt idx="305">
                  <c:v>-0.34693800000000002</c:v>
                </c:pt>
                <c:pt idx="306">
                  <c:v>-0.296296</c:v>
                </c:pt>
                <c:pt idx="307">
                  <c:v>-0.36170200000000002</c:v>
                </c:pt>
                <c:pt idx="308">
                  <c:v>-0.26470500000000002</c:v>
                </c:pt>
                <c:pt idx="309">
                  <c:v>3.0303E-2</c:v>
                </c:pt>
                <c:pt idx="310">
                  <c:v>6.0606E-2</c:v>
                </c:pt>
                <c:pt idx="311">
                  <c:v>0.111111</c:v>
                </c:pt>
                <c:pt idx="312">
                  <c:v>0</c:v>
                </c:pt>
                <c:pt idx="313">
                  <c:v>-0.102564</c:v>
                </c:pt>
                <c:pt idx="314">
                  <c:v>0.8</c:v>
                </c:pt>
                <c:pt idx="315">
                  <c:v>0.81081000000000003</c:v>
                </c:pt>
                <c:pt idx="316">
                  <c:v>0.63414599999999999</c:v>
                </c:pt>
                <c:pt idx="317">
                  <c:v>0.534883</c:v>
                </c:pt>
                <c:pt idx="318">
                  <c:v>0.54545399999999999</c:v>
                </c:pt>
                <c:pt idx="319">
                  <c:v>0.75609700000000002</c:v>
                </c:pt>
                <c:pt idx="320">
                  <c:v>0.32727200000000001</c:v>
                </c:pt>
                <c:pt idx="321">
                  <c:v>-8.9552000000000007E-2</c:v>
                </c:pt>
                <c:pt idx="322">
                  <c:v>-0.29113899999999998</c:v>
                </c:pt>
                <c:pt idx="323">
                  <c:v>-0.26027299999999998</c:v>
                </c:pt>
                <c:pt idx="324">
                  <c:v>-0.30263099999999998</c:v>
                </c:pt>
                <c:pt idx="325">
                  <c:v>-0.30263099999999998</c:v>
                </c:pt>
                <c:pt idx="326">
                  <c:v>-0.34210499999999999</c:v>
                </c:pt>
                <c:pt idx="327">
                  <c:v>-0.41975299999999999</c:v>
                </c:pt>
                <c:pt idx="328">
                  <c:v>-0.202898</c:v>
                </c:pt>
                <c:pt idx="329">
                  <c:v>-0.16666600000000001</c:v>
                </c:pt>
                <c:pt idx="330">
                  <c:v>-0.118644</c:v>
                </c:pt>
                <c:pt idx="331">
                  <c:v>-4.7619000000000002E-2</c:v>
                </c:pt>
                <c:pt idx="332">
                  <c:v>-5.1723999999999999E-2</c:v>
                </c:pt>
                <c:pt idx="333">
                  <c:v>3.9215E-2</c:v>
                </c:pt>
                <c:pt idx="334">
                  <c:v>-0.12698400000000001</c:v>
                </c:pt>
                <c:pt idx="335">
                  <c:v>-0.19047600000000001</c:v>
                </c:pt>
                <c:pt idx="336">
                  <c:v>-0.16128999999999999</c:v>
                </c:pt>
                <c:pt idx="337">
                  <c:v>-0.184615</c:v>
                </c:pt>
                <c:pt idx="338">
                  <c:v>-0.29230699999999998</c:v>
                </c:pt>
                <c:pt idx="339">
                  <c:v>-0.103448</c:v>
                </c:pt>
                <c:pt idx="340">
                  <c:v>-7.1428000000000005E-2</c:v>
                </c:pt>
                <c:pt idx="341">
                  <c:v>-0.22388</c:v>
                </c:pt>
                <c:pt idx="342">
                  <c:v>-0.13333300000000001</c:v>
                </c:pt>
                <c:pt idx="343">
                  <c:v>-0.15</c:v>
                </c:pt>
                <c:pt idx="344">
                  <c:v>-5.0847000000000003E-2</c:v>
                </c:pt>
                <c:pt idx="345">
                  <c:v>0</c:v>
                </c:pt>
                <c:pt idx="346">
                  <c:v>1.8180999999999999E-2</c:v>
                </c:pt>
                <c:pt idx="347">
                  <c:v>3.6362999999999999E-2</c:v>
                </c:pt>
                <c:pt idx="348">
                  <c:v>-7.8123999999999999E-2</c:v>
                </c:pt>
                <c:pt idx="349">
                  <c:v>-1.6666E-2</c:v>
                </c:pt>
                <c:pt idx="350">
                  <c:v>6.2498999999999999E-2</c:v>
                </c:pt>
                <c:pt idx="351">
                  <c:v>7.9365000000000005E-2</c:v>
                </c:pt>
                <c:pt idx="352">
                  <c:v>-4.4776000000000003E-2</c:v>
                </c:pt>
                <c:pt idx="353">
                  <c:v>0.05</c:v>
                </c:pt>
                <c:pt idx="354">
                  <c:v>8.0644999999999994E-2</c:v>
                </c:pt>
                <c:pt idx="355">
                  <c:v>-5.6337999999999999E-2</c:v>
                </c:pt>
                <c:pt idx="356">
                  <c:v>-0.131578</c:v>
                </c:pt>
                <c:pt idx="357">
                  <c:v>-0.17283899999999999</c:v>
                </c:pt>
                <c:pt idx="358">
                  <c:v>2.8169E-2</c:v>
                </c:pt>
                <c:pt idx="359">
                  <c:v>9.5890000000000003E-2</c:v>
                </c:pt>
                <c:pt idx="360">
                  <c:v>0.140845</c:v>
                </c:pt>
                <c:pt idx="361">
                  <c:v>0.111111</c:v>
                </c:pt>
                <c:pt idx="362">
                  <c:v>0</c:v>
                </c:pt>
                <c:pt idx="363">
                  <c:v>-5.9523E-2</c:v>
                </c:pt>
                <c:pt idx="364">
                  <c:v>-0.11627899999999999</c:v>
                </c:pt>
                <c:pt idx="365">
                  <c:v>0</c:v>
                </c:pt>
                <c:pt idx="366">
                  <c:v>0</c:v>
                </c:pt>
                <c:pt idx="367">
                  <c:v>0.26136300000000001</c:v>
                </c:pt>
                <c:pt idx="368">
                  <c:v>0.42168600000000001</c:v>
                </c:pt>
                <c:pt idx="369">
                  <c:v>0.38888800000000001</c:v>
                </c:pt>
                <c:pt idx="370">
                  <c:v>0.48936099999999999</c:v>
                </c:pt>
                <c:pt idx="371">
                  <c:v>0.57843100000000003</c:v>
                </c:pt>
                <c:pt idx="372">
                  <c:v>0.6</c:v>
                </c:pt>
                <c:pt idx="373">
                  <c:v>0.37190000000000001</c:v>
                </c:pt>
                <c:pt idx="374">
                  <c:v>0.36</c:v>
                </c:pt>
                <c:pt idx="375">
                  <c:v>0.31249900000000003</c:v>
                </c:pt>
                <c:pt idx="376">
                  <c:v>8.5526000000000005E-2</c:v>
                </c:pt>
                <c:pt idx="377">
                  <c:v>2.2727000000000001E-2</c:v>
                </c:pt>
                <c:pt idx="378">
                  <c:v>4.301E-2</c:v>
                </c:pt>
                <c:pt idx="379">
                  <c:v>8.7430999999999995E-2</c:v>
                </c:pt>
                <c:pt idx="380">
                  <c:v>4.4776000000000003E-2</c:v>
                </c:pt>
                <c:pt idx="381">
                  <c:v>0.230769</c:v>
                </c:pt>
                <c:pt idx="382">
                  <c:v>0.29714200000000002</c:v>
                </c:pt>
                <c:pt idx="383">
                  <c:v>0.149758</c:v>
                </c:pt>
                <c:pt idx="384">
                  <c:v>1.7391E-2</c:v>
                </c:pt>
                <c:pt idx="385">
                  <c:v>1.7857000000000001E-2</c:v>
                </c:pt>
                <c:pt idx="386">
                  <c:v>2.5751E-2</c:v>
                </c:pt>
                <c:pt idx="387">
                  <c:v>-0.111969</c:v>
                </c:pt>
                <c:pt idx="388">
                  <c:v>-7.5313000000000005E-2</c:v>
                </c:pt>
                <c:pt idx="389">
                  <c:v>-3.6734000000000003E-2</c:v>
                </c:pt>
                <c:pt idx="390">
                  <c:v>-0.14130400000000001</c:v>
                </c:pt>
                <c:pt idx="391">
                  <c:v>-7.9135999999999998E-2</c:v>
                </c:pt>
                <c:pt idx="392">
                  <c:v>-0.111524</c:v>
                </c:pt>
                <c:pt idx="393">
                  <c:v>-5.3030000000000001E-2</c:v>
                </c:pt>
                <c:pt idx="394">
                  <c:v>0.103703</c:v>
                </c:pt>
                <c:pt idx="395">
                  <c:v>0.36254900000000001</c:v>
                </c:pt>
                <c:pt idx="396">
                  <c:v>0.41960700000000001</c:v>
                </c:pt>
                <c:pt idx="397">
                  <c:v>0.26870699999999997</c:v>
                </c:pt>
                <c:pt idx="398">
                  <c:v>0.36395699999999997</c:v>
                </c:pt>
                <c:pt idx="399">
                  <c:v>0.61512</c:v>
                </c:pt>
                <c:pt idx="400">
                  <c:v>0.65015400000000001</c:v>
                </c:pt>
                <c:pt idx="401">
                  <c:v>0.46334999999999998</c:v>
                </c:pt>
                <c:pt idx="402">
                  <c:v>0.469387</c:v>
                </c:pt>
                <c:pt idx="403">
                  <c:v>0.43367299999999998</c:v>
                </c:pt>
                <c:pt idx="404">
                  <c:v>0.25733600000000001</c:v>
                </c:pt>
                <c:pt idx="405">
                  <c:v>0.19919500000000001</c:v>
                </c:pt>
                <c:pt idx="406">
                  <c:v>2.5641000000000001E-2</c:v>
                </c:pt>
                <c:pt idx="407">
                  <c:v>-2.3734000000000002E-2</c:v>
                </c:pt>
                <c:pt idx="408">
                  <c:v>-3.7878000000000002E-2</c:v>
                </c:pt>
                <c:pt idx="409">
                  <c:v>0.17483599999999999</c:v>
                </c:pt>
                <c:pt idx="410">
                  <c:v>0.32538299999999998</c:v>
                </c:pt>
                <c:pt idx="411">
                  <c:v>0.21621599999999999</c:v>
                </c:pt>
                <c:pt idx="412">
                  <c:v>0.31223600000000001</c:v>
                </c:pt>
                <c:pt idx="413">
                  <c:v>0.52322400000000002</c:v>
                </c:pt>
                <c:pt idx="414">
                  <c:v>0.72206999999999999</c:v>
                </c:pt>
                <c:pt idx="415">
                  <c:v>0.75487800000000005</c:v>
                </c:pt>
                <c:pt idx="416">
                  <c:v>1.0098279999999999</c:v>
                </c:pt>
                <c:pt idx="417">
                  <c:v>1.0994010000000001</c:v>
                </c:pt>
                <c:pt idx="418">
                  <c:v>0.77543099999999998</c:v>
                </c:pt>
                <c:pt idx="419">
                  <c:v>0.66503999999999996</c:v>
                </c:pt>
                <c:pt idx="420">
                  <c:v>0.66618900000000003</c:v>
                </c:pt>
                <c:pt idx="421">
                  <c:v>0.63624599999999998</c:v>
                </c:pt>
                <c:pt idx="422">
                  <c:v>0.404173</c:v>
                </c:pt>
                <c:pt idx="423">
                  <c:v>0.514069</c:v>
                </c:pt>
                <c:pt idx="424">
                  <c:v>0.56947999999999999</c:v>
                </c:pt>
                <c:pt idx="425">
                  <c:v>0.37105199999999999</c:v>
                </c:pt>
                <c:pt idx="426">
                  <c:v>0.35913</c:v>
                </c:pt>
                <c:pt idx="427">
                  <c:v>0.38026100000000002</c:v>
                </c:pt>
                <c:pt idx="428">
                  <c:v>0.54791100000000004</c:v>
                </c:pt>
                <c:pt idx="429">
                  <c:v>0.60125700000000004</c:v>
                </c:pt>
                <c:pt idx="430">
                  <c:v>0.718252</c:v>
                </c:pt>
                <c:pt idx="431">
                  <c:v>0.72560899999999995</c:v>
                </c:pt>
                <c:pt idx="432">
                  <c:v>0.42578199999999999</c:v>
                </c:pt>
                <c:pt idx="433">
                  <c:v>0.31807000000000002</c:v>
                </c:pt>
                <c:pt idx="434">
                  <c:v>0.290572</c:v>
                </c:pt>
                <c:pt idx="435">
                  <c:v>0.222798</c:v>
                </c:pt>
                <c:pt idx="436">
                  <c:v>9.3964000000000006E-2</c:v>
                </c:pt>
                <c:pt idx="437">
                  <c:v>0.17356099999999999</c:v>
                </c:pt>
                <c:pt idx="438">
                  <c:v>0.224803</c:v>
                </c:pt>
                <c:pt idx="439">
                  <c:v>0.106351</c:v>
                </c:pt>
                <c:pt idx="440">
                  <c:v>7.2275000000000006E-2</c:v>
                </c:pt>
                <c:pt idx="441">
                  <c:v>8.4143999999999997E-2</c:v>
                </c:pt>
                <c:pt idx="442">
                  <c:v>4.5636999999999997E-2</c:v>
                </c:pt>
                <c:pt idx="443">
                  <c:v>1.5322000000000001E-2</c:v>
                </c:pt>
                <c:pt idx="444">
                  <c:v>0.145791</c:v>
                </c:pt>
                <c:pt idx="445">
                  <c:v>0.207346</c:v>
                </c:pt>
                <c:pt idx="446">
                  <c:v>8.3407999999999996E-2</c:v>
                </c:pt>
                <c:pt idx="447">
                  <c:v>1.6778999999999999E-2</c:v>
                </c:pt>
                <c:pt idx="448">
                  <c:v>6.8849999999999995E-2</c:v>
                </c:pt>
                <c:pt idx="449">
                  <c:v>0.120614</c:v>
                </c:pt>
                <c:pt idx="450">
                  <c:v>0.10943700000000001</c:v>
                </c:pt>
                <c:pt idx="451">
                  <c:v>0.115674</c:v>
                </c:pt>
                <c:pt idx="452">
                  <c:v>0.129778</c:v>
                </c:pt>
                <c:pt idx="453">
                  <c:v>4.2377999999999999E-2</c:v>
                </c:pt>
                <c:pt idx="454">
                  <c:v>-9.3400000000000004E-4</c:v>
                </c:pt>
                <c:pt idx="455">
                  <c:v>3.1970000000000002E-3</c:v>
                </c:pt>
                <c:pt idx="456">
                  <c:v>-8.2092999999999999E-2</c:v>
                </c:pt>
                <c:pt idx="457">
                  <c:v>-0.167132</c:v>
                </c:pt>
                <c:pt idx="458">
                  <c:v>-0.106291</c:v>
                </c:pt>
                <c:pt idx="459">
                  <c:v>-9.3103000000000005E-2</c:v>
                </c:pt>
                <c:pt idx="460">
                  <c:v>-0.19015699999999999</c:v>
                </c:pt>
                <c:pt idx="461">
                  <c:v>-0.22121099999999999</c:v>
                </c:pt>
                <c:pt idx="462">
                  <c:v>-0.22714100000000001</c:v>
                </c:pt>
                <c:pt idx="463">
                  <c:v>-0.271731</c:v>
                </c:pt>
                <c:pt idx="464">
                  <c:v>-0.26303300000000002</c:v>
                </c:pt>
                <c:pt idx="465">
                  <c:v>-0.24818200000000001</c:v>
                </c:pt>
                <c:pt idx="466">
                  <c:v>-0.22986100000000001</c:v>
                </c:pt>
                <c:pt idx="467">
                  <c:v>-0.28388099999999999</c:v>
                </c:pt>
                <c:pt idx="468">
                  <c:v>-0.31412299999999999</c:v>
                </c:pt>
                <c:pt idx="469">
                  <c:v>-0.31504500000000002</c:v>
                </c:pt>
                <c:pt idx="470">
                  <c:v>-0.32564100000000001</c:v>
                </c:pt>
                <c:pt idx="471">
                  <c:v>-0.34036300000000003</c:v>
                </c:pt>
                <c:pt idx="472">
                  <c:v>-0.31435400000000002</c:v>
                </c:pt>
                <c:pt idx="473">
                  <c:v>-0.29600599999999999</c:v>
                </c:pt>
                <c:pt idx="474">
                  <c:v>-0.35309400000000002</c:v>
                </c:pt>
                <c:pt idx="475">
                  <c:v>-0.38165399999999999</c:v>
                </c:pt>
                <c:pt idx="476">
                  <c:v>-0.387575</c:v>
                </c:pt>
                <c:pt idx="477">
                  <c:v>-0.38805099999999998</c:v>
                </c:pt>
                <c:pt idx="478">
                  <c:v>-0.38620199999999999</c:v>
                </c:pt>
                <c:pt idx="479">
                  <c:v>-0.41777799999999998</c:v>
                </c:pt>
                <c:pt idx="480">
                  <c:v>-0.43096099999999998</c:v>
                </c:pt>
                <c:pt idx="481">
                  <c:v>-0.47953400000000002</c:v>
                </c:pt>
                <c:pt idx="482">
                  <c:v>-0.48803600000000003</c:v>
                </c:pt>
                <c:pt idx="483">
                  <c:v>-0.47604400000000002</c:v>
                </c:pt>
                <c:pt idx="484">
                  <c:v>-0.4622</c:v>
                </c:pt>
                <c:pt idx="485">
                  <c:v>-0.37837799999999999</c:v>
                </c:pt>
                <c:pt idx="486">
                  <c:v>-0.18926799999999999</c:v>
                </c:pt>
                <c:pt idx="487">
                  <c:v>-0.12808</c:v>
                </c:pt>
                <c:pt idx="488">
                  <c:v>-0.203872</c:v>
                </c:pt>
                <c:pt idx="489">
                  <c:v>-0.16764299999999999</c:v>
                </c:pt>
                <c:pt idx="490">
                  <c:v>-6.9863999999999996E-2</c:v>
                </c:pt>
                <c:pt idx="491">
                  <c:v>-3.3099999999999997E-2</c:v>
                </c:pt>
                <c:pt idx="492">
                  <c:v>-1.7943000000000001E-2</c:v>
                </c:pt>
                <c:pt idx="493">
                  <c:v>-1.2116E-2</c:v>
                </c:pt>
                <c:pt idx="494">
                  <c:v>1.2749E-2</c:v>
                </c:pt>
                <c:pt idx="495">
                  <c:v>-0.13318099999999999</c:v>
                </c:pt>
                <c:pt idx="496">
                  <c:v>-0.25570100000000001</c:v>
                </c:pt>
                <c:pt idx="497">
                  <c:v>-0.29781400000000002</c:v>
                </c:pt>
                <c:pt idx="498">
                  <c:v>-0.30235800000000002</c:v>
                </c:pt>
                <c:pt idx="499">
                  <c:v>-0.30671700000000002</c:v>
                </c:pt>
                <c:pt idx="500">
                  <c:v>-0.26077</c:v>
                </c:pt>
                <c:pt idx="501">
                  <c:v>-0.24749399999999999</c:v>
                </c:pt>
                <c:pt idx="502">
                  <c:v>-0.272013</c:v>
                </c:pt>
                <c:pt idx="503">
                  <c:v>-0.327087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Z_indik_testu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05</c:f>
              <c:numCache>
                <c:formatCode>m/d/yyyy</c:formatCode>
                <c:ptCount val="5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</c:numCache>
            </c:numRef>
          </c:cat>
          <c:val>
            <c:numRef>
              <c:f>Sheet1!$B$2:$B$505</c:f>
              <c:numCache>
                <c:formatCode>#\ ##0.0</c:formatCode>
                <c:ptCount val="504"/>
                <c:pt idx="0">
                  <c:v>1.5022802468E-2</c:v>
                </c:pt>
                <c:pt idx="1">
                  <c:v>2.5889164597999999E-2</c:v>
                </c:pt>
                <c:pt idx="2">
                  <c:v>3.7424978019000001E-2</c:v>
                </c:pt>
                <c:pt idx="3">
                  <c:v>4.9611454885000003E-2</c:v>
                </c:pt>
                <c:pt idx="4">
                  <c:v>5.6178999342999997E-2</c:v>
                </c:pt>
                <c:pt idx="5">
                  <c:v>6.0824638506999998E-2</c:v>
                </c:pt>
                <c:pt idx="6">
                  <c:v>6.5567460061999996E-2</c:v>
                </c:pt>
                <c:pt idx="7">
                  <c:v>7.2201330632999994E-2</c:v>
                </c:pt>
                <c:pt idx="8">
                  <c:v>7.5971068845000003E-2</c:v>
                </c:pt>
                <c:pt idx="9">
                  <c:v>8.1471844468999993E-2</c:v>
                </c:pt>
                <c:pt idx="10">
                  <c:v>8.1204181668000003E-2</c:v>
                </c:pt>
                <c:pt idx="11">
                  <c:v>9.0824452279999995E-2</c:v>
                </c:pt>
                <c:pt idx="12">
                  <c:v>9.3122302158000006E-2</c:v>
                </c:pt>
                <c:pt idx="13">
                  <c:v>9.1892857142000003E-2</c:v>
                </c:pt>
                <c:pt idx="14">
                  <c:v>9.2083326315999997E-2</c:v>
                </c:pt>
                <c:pt idx="15">
                  <c:v>9.7263013184999997E-2</c:v>
                </c:pt>
                <c:pt idx="16">
                  <c:v>0.10959713079900001</c:v>
                </c:pt>
                <c:pt idx="17">
                  <c:v>0.116234484109</c:v>
                </c:pt>
                <c:pt idx="18">
                  <c:v>0.116295675816</c:v>
                </c:pt>
                <c:pt idx="19">
                  <c:v>0.114272797383</c:v>
                </c:pt>
                <c:pt idx="20">
                  <c:v>0.116024940541</c:v>
                </c:pt>
                <c:pt idx="21">
                  <c:v>0.121289196434</c:v>
                </c:pt>
                <c:pt idx="22">
                  <c:v>0.12199343913000001</c:v>
                </c:pt>
                <c:pt idx="23">
                  <c:v>0.11929929451100001</c:v>
                </c:pt>
                <c:pt idx="24">
                  <c:v>0.12441157467199999</c:v>
                </c:pt>
                <c:pt idx="25">
                  <c:v>0.12620905192000001</c:v>
                </c:pt>
                <c:pt idx="26">
                  <c:v>0.128987877079</c:v>
                </c:pt>
                <c:pt idx="27">
                  <c:v>0.13354784916500001</c:v>
                </c:pt>
                <c:pt idx="28">
                  <c:v>0.135131237381</c:v>
                </c:pt>
                <c:pt idx="29">
                  <c:v>0.142042858173</c:v>
                </c:pt>
                <c:pt idx="30">
                  <c:v>0.15018301958499999</c:v>
                </c:pt>
                <c:pt idx="31">
                  <c:v>0.15899735024100001</c:v>
                </c:pt>
                <c:pt idx="32">
                  <c:v>0.16599080193400001</c:v>
                </c:pt>
                <c:pt idx="33">
                  <c:v>0.17394656322999999</c:v>
                </c:pt>
                <c:pt idx="34">
                  <c:v>0.184498707268</c:v>
                </c:pt>
                <c:pt idx="35">
                  <c:v>0.197603419325</c:v>
                </c:pt>
                <c:pt idx="36">
                  <c:v>0.21360126916899999</c:v>
                </c:pt>
                <c:pt idx="37">
                  <c:v>0.226835369461</c:v>
                </c:pt>
                <c:pt idx="38">
                  <c:v>0.25859546816000001</c:v>
                </c:pt>
                <c:pt idx="39">
                  <c:v>0.26993359507499998</c:v>
                </c:pt>
                <c:pt idx="40">
                  <c:v>0.27335705454300002</c:v>
                </c:pt>
                <c:pt idx="41">
                  <c:v>0.27455574178800002</c:v>
                </c:pt>
                <c:pt idx="42">
                  <c:v>0.28687796338799998</c:v>
                </c:pt>
                <c:pt idx="43">
                  <c:v>0.297439264609</c:v>
                </c:pt>
                <c:pt idx="44">
                  <c:v>0.30682399243800001</c:v>
                </c:pt>
                <c:pt idx="45">
                  <c:v>0.30353349926599998</c:v>
                </c:pt>
                <c:pt idx="46">
                  <c:v>0.30776584339899998</c:v>
                </c:pt>
                <c:pt idx="47">
                  <c:v>0.30986259421000001</c:v>
                </c:pt>
                <c:pt idx="48">
                  <c:v>0.31625061890099998</c:v>
                </c:pt>
                <c:pt idx="49">
                  <c:v>0.32074645068800001</c:v>
                </c:pt>
                <c:pt idx="50">
                  <c:v>0.330599974199</c:v>
                </c:pt>
                <c:pt idx="51">
                  <c:v>0.33566075033999998</c:v>
                </c:pt>
                <c:pt idx="52">
                  <c:v>0.34231819612300002</c:v>
                </c:pt>
                <c:pt idx="53">
                  <c:v>0.34426506675899998</c:v>
                </c:pt>
                <c:pt idx="54">
                  <c:v>0.347320209376</c:v>
                </c:pt>
                <c:pt idx="55">
                  <c:v>0.34860594623500002</c:v>
                </c:pt>
                <c:pt idx="56">
                  <c:v>0.35198753201999999</c:v>
                </c:pt>
                <c:pt idx="57">
                  <c:v>0.34937505083600001</c:v>
                </c:pt>
                <c:pt idx="58">
                  <c:v>0.34678965949200002</c:v>
                </c:pt>
                <c:pt idx="59">
                  <c:v>0.33811054940899998</c:v>
                </c:pt>
                <c:pt idx="60">
                  <c:v>0.33744867244900001</c:v>
                </c:pt>
                <c:pt idx="61">
                  <c:v>0.335770598167</c:v>
                </c:pt>
                <c:pt idx="62">
                  <c:v>0.33564429099600002</c:v>
                </c:pt>
                <c:pt idx="63">
                  <c:v>0.32873132927999998</c:v>
                </c:pt>
                <c:pt idx="64">
                  <c:v>0.33275445902099998</c:v>
                </c:pt>
                <c:pt idx="65">
                  <c:v>0.33405857971000003</c:v>
                </c:pt>
                <c:pt idx="66">
                  <c:v>0.33486701776200001</c:v>
                </c:pt>
                <c:pt idx="67">
                  <c:v>0.33298112836600002</c:v>
                </c:pt>
                <c:pt idx="68">
                  <c:v>0.329257500594</c:v>
                </c:pt>
                <c:pt idx="69">
                  <c:v>0.31769593475199998</c:v>
                </c:pt>
                <c:pt idx="70">
                  <c:v>0.31142966141099998</c:v>
                </c:pt>
                <c:pt idx="71">
                  <c:v>0.29516942647200001</c:v>
                </c:pt>
                <c:pt idx="72">
                  <c:v>0.28418543816300001</c:v>
                </c:pt>
                <c:pt idx="73">
                  <c:v>0.27401845540699998</c:v>
                </c:pt>
                <c:pt idx="74">
                  <c:v>0.26833413499999997</c:v>
                </c:pt>
                <c:pt idx="75">
                  <c:v>0.26620955050900003</c:v>
                </c:pt>
                <c:pt idx="76">
                  <c:v>0.26401006262299997</c:v>
                </c:pt>
                <c:pt idx="77">
                  <c:v>0.26397108651399998</c:v>
                </c:pt>
                <c:pt idx="78">
                  <c:v>0.25492894635699997</c:v>
                </c:pt>
                <c:pt idx="79">
                  <c:v>0.25185343833399998</c:v>
                </c:pt>
                <c:pt idx="80">
                  <c:v>0.25025484636400003</c:v>
                </c:pt>
                <c:pt idx="81">
                  <c:v>0.245281381524</c:v>
                </c:pt>
                <c:pt idx="82">
                  <c:v>0.24445671416799999</c:v>
                </c:pt>
                <c:pt idx="83">
                  <c:v>0.23921450897900001</c:v>
                </c:pt>
                <c:pt idx="84">
                  <c:v>0.237663173915</c:v>
                </c:pt>
                <c:pt idx="85">
                  <c:v>0.23750904524700001</c:v>
                </c:pt>
                <c:pt idx="86">
                  <c:v>0.229851307438</c:v>
                </c:pt>
                <c:pt idx="87">
                  <c:v>0.224018093556</c:v>
                </c:pt>
                <c:pt idx="88">
                  <c:v>0.223496587302</c:v>
                </c:pt>
                <c:pt idx="89">
                  <c:v>0.22200817775699999</c:v>
                </c:pt>
                <c:pt idx="90">
                  <c:v>0.21655200053400001</c:v>
                </c:pt>
                <c:pt idx="91">
                  <c:v>0.21424358168499999</c:v>
                </c:pt>
                <c:pt idx="92">
                  <c:v>0.211368441283</c:v>
                </c:pt>
                <c:pt idx="93">
                  <c:v>0.214542488309</c:v>
                </c:pt>
                <c:pt idx="94">
                  <c:v>0.217546119171</c:v>
                </c:pt>
                <c:pt idx="95">
                  <c:v>0.22205699657399999</c:v>
                </c:pt>
                <c:pt idx="96">
                  <c:v>0.220832319754</c:v>
                </c:pt>
                <c:pt idx="97">
                  <c:v>0.22373462020099999</c:v>
                </c:pt>
                <c:pt idx="98">
                  <c:v>0.223378273199</c:v>
                </c:pt>
                <c:pt idx="99">
                  <c:v>0.231902810101</c:v>
                </c:pt>
                <c:pt idx="100">
                  <c:v>0.23313554158999999</c:v>
                </c:pt>
                <c:pt idx="101">
                  <c:v>0.23258834523899999</c:v>
                </c:pt>
                <c:pt idx="102">
                  <c:v>0.23070596086</c:v>
                </c:pt>
                <c:pt idx="103">
                  <c:v>0.234097842917</c:v>
                </c:pt>
                <c:pt idx="104">
                  <c:v>0.23504215801</c:v>
                </c:pt>
                <c:pt idx="105">
                  <c:v>0.23844501470500001</c:v>
                </c:pt>
                <c:pt idx="106">
                  <c:v>0.23740789826</c:v>
                </c:pt>
                <c:pt idx="107">
                  <c:v>0.23663172035899999</c:v>
                </c:pt>
                <c:pt idx="108">
                  <c:v>0.23985160560400001</c:v>
                </c:pt>
                <c:pt idx="109">
                  <c:v>0.23731436963300001</c:v>
                </c:pt>
                <c:pt idx="110">
                  <c:v>0.23778233104900001</c:v>
                </c:pt>
                <c:pt idx="111">
                  <c:v>0.23881821676699999</c:v>
                </c:pt>
                <c:pt idx="112">
                  <c:v>0.23737538458099999</c:v>
                </c:pt>
                <c:pt idx="113">
                  <c:v>0.24374037760299999</c:v>
                </c:pt>
                <c:pt idx="114">
                  <c:v>0.24885000250299999</c:v>
                </c:pt>
                <c:pt idx="115">
                  <c:v>0.250762122054</c:v>
                </c:pt>
                <c:pt idx="116">
                  <c:v>0.25401828353099998</c:v>
                </c:pt>
                <c:pt idx="117">
                  <c:v>0.25395024659299997</c:v>
                </c:pt>
                <c:pt idx="118">
                  <c:v>0.27128733054699999</c:v>
                </c:pt>
                <c:pt idx="119">
                  <c:v>0.305531978461</c:v>
                </c:pt>
                <c:pt idx="120">
                  <c:v>0.33360636059299997</c:v>
                </c:pt>
                <c:pt idx="121">
                  <c:v>0.34569684485500002</c:v>
                </c:pt>
                <c:pt idx="122">
                  <c:v>0.35132392519700001</c:v>
                </c:pt>
                <c:pt idx="123">
                  <c:v>0.34984582753499999</c:v>
                </c:pt>
                <c:pt idx="124">
                  <c:v>0.353387250752</c:v>
                </c:pt>
                <c:pt idx="125">
                  <c:v>0.34676018089100002</c:v>
                </c:pt>
                <c:pt idx="126">
                  <c:v>0.33619575150999997</c:v>
                </c:pt>
                <c:pt idx="127">
                  <c:v>0.33825480354600002</c:v>
                </c:pt>
                <c:pt idx="128">
                  <c:v>0.32838708662499999</c:v>
                </c:pt>
                <c:pt idx="129">
                  <c:v>0.31915276664999997</c:v>
                </c:pt>
                <c:pt idx="130">
                  <c:v>0.32484402257700001</c:v>
                </c:pt>
                <c:pt idx="131">
                  <c:v>0.32277249612999998</c:v>
                </c:pt>
                <c:pt idx="132">
                  <c:v>0.313108244072</c:v>
                </c:pt>
                <c:pt idx="133">
                  <c:v>0.299094597382</c:v>
                </c:pt>
                <c:pt idx="134">
                  <c:v>0.28024824380199997</c:v>
                </c:pt>
                <c:pt idx="135">
                  <c:v>0.26214895559200002</c:v>
                </c:pt>
                <c:pt idx="136">
                  <c:v>0.25520883292800001</c:v>
                </c:pt>
                <c:pt idx="137">
                  <c:v>0.24628248959900001</c:v>
                </c:pt>
                <c:pt idx="138">
                  <c:v>0.244450611885</c:v>
                </c:pt>
                <c:pt idx="139">
                  <c:v>0.244991172802</c:v>
                </c:pt>
                <c:pt idx="140">
                  <c:v>0.24838567449999999</c:v>
                </c:pt>
                <c:pt idx="141">
                  <c:v>0.24265880399600001</c:v>
                </c:pt>
                <c:pt idx="142">
                  <c:v>0.24788348230599999</c:v>
                </c:pt>
                <c:pt idx="143">
                  <c:v>0.24445778049700001</c:v>
                </c:pt>
                <c:pt idx="144">
                  <c:v>0.24295200724400001</c:v>
                </c:pt>
                <c:pt idx="145">
                  <c:v>0.24176628150900001</c:v>
                </c:pt>
                <c:pt idx="146">
                  <c:v>0.23860615902999999</c:v>
                </c:pt>
                <c:pt idx="147">
                  <c:v>0.23676327942399999</c:v>
                </c:pt>
                <c:pt idx="148">
                  <c:v>0.23394509218500001</c:v>
                </c:pt>
                <c:pt idx="149">
                  <c:v>0.23479218768599999</c:v>
                </c:pt>
                <c:pt idx="150">
                  <c:v>0.23313163942099999</c:v>
                </c:pt>
                <c:pt idx="151">
                  <c:v>0.231438696966</c:v>
                </c:pt>
                <c:pt idx="152">
                  <c:v>0.23181304407</c:v>
                </c:pt>
                <c:pt idx="153">
                  <c:v>0.23222132676000001</c:v>
                </c:pt>
                <c:pt idx="154">
                  <c:v>0.229342070619</c:v>
                </c:pt>
                <c:pt idx="155">
                  <c:v>0.233741517186</c:v>
                </c:pt>
                <c:pt idx="156">
                  <c:v>0.230127855193</c:v>
                </c:pt>
                <c:pt idx="157">
                  <c:v>0.230651634956</c:v>
                </c:pt>
                <c:pt idx="158">
                  <c:v>0.23320336103700001</c:v>
                </c:pt>
                <c:pt idx="159">
                  <c:v>0.23173380951200001</c:v>
                </c:pt>
                <c:pt idx="160">
                  <c:v>0.23460870860300001</c:v>
                </c:pt>
                <c:pt idx="161">
                  <c:v>0.23853767832299999</c:v>
                </c:pt>
                <c:pt idx="162">
                  <c:v>0.23810173422200001</c:v>
                </c:pt>
                <c:pt idx="163">
                  <c:v>0.24098855482699999</c:v>
                </c:pt>
                <c:pt idx="164">
                  <c:v>0.24151083926700001</c:v>
                </c:pt>
                <c:pt idx="165">
                  <c:v>0.24017266767000001</c:v>
                </c:pt>
                <c:pt idx="166">
                  <c:v>0.24104511416900001</c:v>
                </c:pt>
                <c:pt idx="167">
                  <c:v>0.241325828779</c:v>
                </c:pt>
                <c:pt idx="168">
                  <c:v>0.24645915191600001</c:v>
                </c:pt>
                <c:pt idx="169">
                  <c:v>0.24697721038100001</c:v>
                </c:pt>
                <c:pt idx="170">
                  <c:v>0.25007148254799999</c:v>
                </c:pt>
                <c:pt idx="171">
                  <c:v>0.25081994661700002</c:v>
                </c:pt>
                <c:pt idx="172">
                  <c:v>0.25420734496800002</c:v>
                </c:pt>
                <c:pt idx="173">
                  <c:v>0.25636856629999999</c:v>
                </c:pt>
                <c:pt idx="174">
                  <c:v>0.25784146193399998</c:v>
                </c:pt>
                <c:pt idx="175">
                  <c:v>0.26075820134900002</c:v>
                </c:pt>
                <c:pt idx="176">
                  <c:v>0.263068927457</c:v>
                </c:pt>
                <c:pt idx="177">
                  <c:v>0.26547502924100003</c:v>
                </c:pt>
                <c:pt idx="178">
                  <c:v>0.26912142786499998</c:v>
                </c:pt>
                <c:pt idx="179">
                  <c:v>0.26736708338199999</c:v>
                </c:pt>
                <c:pt idx="180">
                  <c:v>0.26623405270700001</c:v>
                </c:pt>
                <c:pt idx="181">
                  <c:v>0.265632364648</c:v>
                </c:pt>
                <c:pt idx="182">
                  <c:v>0.26316382293599999</c:v>
                </c:pt>
                <c:pt idx="183">
                  <c:v>0.26384711079599998</c:v>
                </c:pt>
                <c:pt idx="184">
                  <c:v>0.26081083137900002</c:v>
                </c:pt>
                <c:pt idx="185">
                  <c:v>0.25322293299999998</c:v>
                </c:pt>
                <c:pt idx="186">
                  <c:v>0.25788903852700001</c:v>
                </c:pt>
                <c:pt idx="187">
                  <c:v>0.25640870753599998</c:v>
                </c:pt>
                <c:pt idx="188">
                  <c:v>0.24768514223099999</c:v>
                </c:pt>
                <c:pt idx="189">
                  <c:v>0.23943213858599999</c:v>
                </c:pt>
                <c:pt idx="190">
                  <c:v>0.23106190150399999</c:v>
                </c:pt>
                <c:pt idx="191">
                  <c:v>0.21770762707300001</c:v>
                </c:pt>
                <c:pt idx="192">
                  <c:v>0.22089445913</c:v>
                </c:pt>
                <c:pt idx="193">
                  <c:v>0.21603709201900001</c:v>
                </c:pt>
                <c:pt idx="194">
                  <c:v>0.21510768264399999</c:v>
                </c:pt>
                <c:pt idx="195">
                  <c:v>0.210956485616</c:v>
                </c:pt>
                <c:pt idx="196">
                  <c:v>0.20711984168899999</c:v>
                </c:pt>
                <c:pt idx="197">
                  <c:v>0.202589356576</c:v>
                </c:pt>
                <c:pt idx="198">
                  <c:v>0.20349392898800001</c:v>
                </c:pt>
                <c:pt idx="199">
                  <c:v>0.19358045732099999</c:v>
                </c:pt>
                <c:pt idx="200">
                  <c:v>0.191187989078</c:v>
                </c:pt>
                <c:pt idx="201">
                  <c:v>0.189573668286</c:v>
                </c:pt>
                <c:pt idx="202">
                  <c:v>0.183421770742</c:v>
                </c:pt>
                <c:pt idx="203">
                  <c:v>0.17638734646400001</c:v>
                </c:pt>
                <c:pt idx="204">
                  <c:v>0.16956479025400001</c:v>
                </c:pt>
                <c:pt idx="205">
                  <c:v>0.16208844581699999</c:v>
                </c:pt>
                <c:pt idx="206">
                  <c:v>0.15905133639800001</c:v>
                </c:pt>
                <c:pt idx="207">
                  <c:v>0.15695178335500001</c:v>
                </c:pt>
                <c:pt idx="208">
                  <c:v>0.15571644566199999</c:v>
                </c:pt>
                <c:pt idx="209">
                  <c:v>0.15297028723</c:v>
                </c:pt>
                <c:pt idx="210">
                  <c:v>0.147020667982</c:v>
                </c:pt>
                <c:pt idx="211">
                  <c:v>0.14221355104799999</c:v>
                </c:pt>
                <c:pt idx="212">
                  <c:v>0.13629610594</c:v>
                </c:pt>
                <c:pt idx="213">
                  <c:v>0.13529005891400001</c:v>
                </c:pt>
                <c:pt idx="214">
                  <c:v>0.13195678681799999</c:v>
                </c:pt>
                <c:pt idx="215">
                  <c:v>0.13327476826699999</c:v>
                </c:pt>
                <c:pt idx="216">
                  <c:v>0.13674386717600001</c:v>
                </c:pt>
                <c:pt idx="217">
                  <c:v>0.113240302815</c:v>
                </c:pt>
                <c:pt idx="218">
                  <c:v>0.11018129028699999</c:v>
                </c:pt>
                <c:pt idx="219">
                  <c:v>0.109622361898</c:v>
                </c:pt>
                <c:pt idx="220">
                  <c:v>0.105411969915</c:v>
                </c:pt>
                <c:pt idx="221">
                  <c:v>0.10432800341700001</c:v>
                </c:pt>
                <c:pt idx="222">
                  <c:v>0.101369482099</c:v>
                </c:pt>
                <c:pt idx="223">
                  <c:v>9.4607196961999998E-2</c:v>
                </c:pt>
                <c:pt idx="224">
                  <c:v>9.9941441384000004E-2</c:v>
                </c:pt>
                <c:pt idx="225">
                  <c:v>9.1534241185000004E-2</c:v>
                </c:pt>
                <c:pt idx="226">
                  <c:v>8.5482600886000001E-2</c:v>
                </c:pt>
                <c:pt idx="227">
                  <c:v>8.1319918066999994E-2</c:v>
                </c:pt>
                <c:pt idx="228">
                  <c:v>7.9412750613000002E-2</c:v>
                </c:pt>
                <c:pt idx="229">
                  <c:v>7.8819650182000003E-2</c:v>
                </c:pt>
                <c:pt idx="230">
                  <c:v>7.7271633468999998E-2</c:v>
                </c:pt>
                <c:pt idx="231">
                  <c:v>7.2773595299000002E-2</c:v>
                </c:pt>
                <c:pt idx="232">
                  <c:v>7.0523089459000002E-2</c:v>
                </c:pt>
                <c:pt idx="233">
                  <c:v>6.8161198340000007E-2</c:v>
                </c:pt>
                <c:pt idx="234">
                  <c:v>6.5767066488000001E-2</c:v>
                </c:pt>
                <c:pt idx="235">
                  <c:v>6.4913539665000006E-2</c:v>
                </c:pt>
                <c:pt idx="236">
                  <c:v>6.5245991567000006E-2</c:v>
                </c:pt>
                <c:pt idx="237">
                  <c:v>6.2465124065000002E-2</c:v>
                </c:pt>
                <c:pt idx="238">
                  <c:v>6.0824867863000003E-2</c:v>
                </c:pt>
                <c:pt idx="239">
                  <c:v>5.8987005949999997E-2</c:v>
                </c:pt>
                <c:pt idx="240">
                  <c:v>5.7146572180000001E-2</c:v>
                </c:pt>
                <c:pt idx="241">
                  <c:v>5.5241931757999997E-2</c:v>
                </c:pt>
                <c:pt idx="242">
                  <c:v>5.5511770868999999E-2</c:v>
                </c:pt>
                <c:pt idx="243">
                  <c:v>5.4075938184999998E-2</c:v>
                </c:pt>
                <c:pt idx="244">
                  <c:v>5.1193333634999998E-2</c:v>
                </c:pt>
                <c:pt idx="245">
                  <c:v>4.8335002896999997E-2</c:v>
                </c:pt>
                <c:pt idx="246">
                  <c:v>4.6150518640999998E-2</c:v>
                </c:pt>
                <c:pt idx="247">
                  <c:v>4.4134579642000002E-2</c:v>
                </c:pt>
                <c:pt idx="248">
                  <c:v>4.2506409262E-2</c:v>
                </c:pt>
                <c:pt idx="249">
                  <c:v>4.0532602309999999E-2</c:v>
                </c:pt>
                <c:pt idx="250">
                  <c:v>4.0122865149E-2</c:v>
                </c:pt>
                <c:pt idx="251">
                  <c:v>3.7893994466000003E-2</c:v>
                </c:pt>
                <c:pt idx="252">
                  <c:v>3.5153622656999998E-2</c:v>
                </c:pt>
                <c:pt idx="253">
                  <c:v>3.2801021889999997E-2</c:v>
                </c:pt>
                <c:pt idx="254">
                  <c:v>3.1328767059E-2</c:v>
                </c:pt>
                <c:pt idx="255">
                  <c:v>2.9029751332E-2</c:v>
                </c:pt>
                <c:pt idx="256">
                  <c:v>2.8398830609E-2</c:v>
                </c:pt>
                <c:pt idx="257">
                  <c:v>2.7858458895E-2</c:v>
                </c:pt>
                <c:pt idx="258">
                  <c:v>2.4980297354000001E-2</c:v>
                </c:pt>
                <c:pt idx="259">
                  <c:v>2.2784250110000001E-2</c:v>
                </c:pt>
                <c:pt idx="260">
                  <c:v>2.0929648988999999E-2</c:v>
                </c:pt>
                <c:pt idx="261">
                  <c:v>1.9015622374999999E-2</c:v>
                </c:pt>
                <c:pt idx="262">
                  <c:v>1.7171704813999999E-2</c:v>
                </c:pt>
                <c:pt idx="263">
                  <c:v>1.6333678976E-2</c:v>
                </c:pt>
                <c:pt idx="264">
                  <c:v>1.6226849395E-2</c:v>
                </c:pt>
                <c:pt idx="265">
                  <c:v>1.5337667617999999E-2</c:v>
                </c:pt>
                <c:pt idx="266">
                  <c:v>1.3836773986000001E-2</c:v>
                </c:pt>
                <c:pt idx="267">
                  <c:v>1.3418411267E-2</c:v>
                </c:pt>
                <c:pt idx="268">
                  <c:v>1.3051429712E-2</c:v>
                </c:pt>
                <c:pt idx="269">
                  <c:v>1.2500289786999999E-2</c:v>
                </c:pt>
                <c:pt idx="270">
                  <c:v>1.2257248835E-2</c:v>
                </c:pt>
                <c:pt idx="271">
                  <c:v>1.2024450494E-2</c:v>
                </c:pt>
                <c:pt idx="272">
                  <c:v>1.1595670306E-2</c:v>
                </c:pt>
                <c:pt idx="273">
                  <c:v>1.1236513203000001E-2</c:v>
                </c:pt>
                <c:pt idx="274">
                  <c:v>1.0501224391E-2</c:v>
                </c:pt>
                <c:pt idx="275">
                  <c:v>9.7332063119999999E-3</c:v>
                </c:pt>
                <c:pt idx="276">
                  <c:v>9.1480759069999997E-3</c:v>
                </c:pt>
                <c:pt idx="277">
                  <c:v>8.7824942070000005E-3</c:v>
                </c:pt>
                <c:pt idx="278">
                  <c:v>8.7224823390000001E-3</c:v>
                </c:pt>
                <c:pt idx="279">
                  <c:v>7.9395672049999994E-3</c:v>
                </c:pt>
                <c:pt idx="280">
                  <c:v>7.4400946920000002E-3</c:v>
                </c:pt>
                <c:pt idx="281">
                  <c:v>7.1001098760000003E-3</c:v>
                </c:pt>
                <c:pt idx="282">
                  <c:v>6.6727906130000002E-3</c:v>
                </c:pt>
                <c:pt idx="283">
                  <c:v>6.141573866E-3</c:v>
                </c:pt>
                <c:pt idx="284">
                  <c:v>5.8461284850000001E-3</c:v>
                </c:pt>
                <c:pt idx="285">
                  <c:v>5.6365322909999998E-3</c:v>
                </c:pt>
                <c:pt idx="286">
                  <c:v>5.3637873849999998E-3</c:v>
                </c:pt>
                <c:pt idx="287">
                  <c:v>4.5995092170000003E-3</c:v>
                </c:pt>
                <c:pt idx="288">
                  <c:v>4.0891906480000004E-3</c:v>
                </c:pt>
                <c:pt idx="289">
                  <c:v>3.700106082E-3</c:v>
                </c:pt>
                <c:pt idx="290">
                  <c:v>3.4033262690000001E-3</c:v>
                </c:pt>
                <c:pt idx="291">
                  <c:v>3.28930462E-3</c:v>
                </c:pt>
                <c:pt idx="292">
                  <c:v>3.3455379929999999E-3</c:v>
                </c:pt>
                <c:pt idx="293">
                  <c:v>3.080014276E-3</c:v>
                </c:pt>
                <c:pt idx="294">
                  <c:v>2.7396701509999999E-3</c:v>
                </c:pt>
                <c:pt idx="295">
                  <c:v>2.7603809040000001E-3</c:v>
                </c:pt>
                <c:pt idx="296">
                  <c:v>2.691732229E-3</c:v>
                </c:pt>
                <c:pt idx="297">
                  <c:v>2.8170058189999998E-3</c:v>
                </c:pt>
                <c:pt idx="298">
                  <c:v>2.7865420339999998E-3</c:v>
                </c:pt>
                <c:pt idx="299">
                  <c:v>2.7451386619999998E-3</c:v>
                </c:pt>
                <c:pt idx="300">
                  <c:v>2.832560011E-3</c:v>
                </c:pt>
                <c:pt idx="301">
                  <c:v>3.0253753349999998E-3</c:v>
                </c:pt>
                <c:pt idx="302">
                  <c:v>2.9945947560000002E-3</c:v>
                </c:pt>
                <c:pt idx="303">
                  <c:v>3.284035059E-3</c:v>
                </c:pt>
                <c:pt idx="304">
                  <c:v>3.3141943449999998E-3</c:v>
                </c:pt>
                <c:pt idx="305">
                  <c:v>3.4785302849999998E-3</c:v>
                </c:pt>
                <c:pt idx="306">
                  <c:v>3.5902163129999999E-3</c:v>
                </c:pt>
                <c:pt idx="307">
                  <c:v>4.1944258930000002E-3</c:v>
                </c:pt>
                <c:pt idx="308">
                  <c:v>4.5196354089999998E-3</c:v>
                </c:pt>
                <c:pt idx="309">
                  <c:v>5.342558287E-3</c:v>
                </c:pt>
                <c:pt idx="310">
                  <c:v>5.9622355669999997E-3</c:v>
                </c:pt>
                <c:pt idx="311">
                  <c:v>6.7239698310000004E-3</c:v>
                </c:pt>
                <c:pt idx="312">
                  <c:v>6.9077427569999997E-3</c:v>
                </c:pt>
                <c:pt idx="313">
                  <c:v>6.8597395250000002E-3</c:v>
                </c:pt>
                <c:pt idx="314">
                  <c:v>6.5280487220000004E-3</c:v>
                </c:pt>
                <c:pt idx="315">
                  <c:v>7.0121102440000001E-3</c:v>
                </c:pt>
                <c:pt idx="316">
                  <c:v>7.135970801E-3</c:v>
                </c:pt>
                <c:pt idx="317">
                  <c:v>7.0326431849999996E-3</c:v>
                </c:pt>
                <c:pt idx="318">
                  <c:v>6.4454041110000001E-3</c:v>
                </c:pt>
                <c:pt idx="319">
                  <c:v>6.4893802909999996E-3</c:v>
                </c:pt>
                <c:pt idx="320">
                  <c:v>6.422709431E-3</c:v>
                </c:pt>
                <c:pt idx="321">
                  <c:v>6.4948569049999997E-3</c:v>
                </c:pt>
                <c:pt idx="322">
                  <c:v>6.4682007080000001E-3</c:v>
                </c:pt>
                <c:pt idx="323">
                  <c:v>6.4943509710000003E-3</c:v>
                </c:pt>
                <c:pt idx="324">
                  <c:v>6.2954661310000003E-3</c:v>
                </c:pt>
                <c:pt idx="325">
                  <c:v>6.2108803030000003E-3</c:v>
                </c:pt>
                <c:pt idx="326">
                  <c:v>5.8379723410000002E-3</c:v>
                </c:pt>
                <c:pt idx="327">
                  <c:v>5.6110469969999997E-3</c:v>
                </c:pt>
                <c:pt idx="328">
                  <c:v>5.47086547E-3</c:v>
                </c:pt>
                <c:pt idx="329">
                  <c:v>5.2244897950000004E-3</c:v>
                </c:pt>
                <c:pt idx="330">
                  <c:v>4.8799950889999999E-3</c:v>
                </c:pt>
                <c:pt idx="331">
                  <c:v>4.9562592879999999E-3</c:v>
                </c:pt>
                <c:pt idx="332">
                  <c:v>4.8305492170000004E-3</c:v>
                </c:pt>
                <c:pt idx="333">
                  <c:v>4.7998530179999997E-3</c:v>
                </c:pt>
                <c:pt idx="334">
                  <c:v>4.8926525980000002E-3</c:v>
                </c:pt>
                <c:pt idx="335">
                  <c:v>4.5773826099999998E-3</c:v>
                </c:pt>
                <c:pt idx="336">
                  <c:v>4.5548936679999999E-3</c:v>
                </c:pt>
                <c:pt idx="337">
                  <c:v>4.8821987520000004E-3</c:v>
                </c:pt>
                <c:pt idx="338">
                  <c:v>4.6897068340000002E-3</c:v>
                </c:pt>
                <c:pt idx="339">
                  <c:v>4.8172286759999997E-3</c:v>
                </c:pt>
                <c:pt idx="340">
                  <c:v>4.9977391179999997E-3</c:v>
                </c:pt>
                <c:pt idx="341">
                  <c:v>5.1254063540000002E-3</c:v>
                </c:pt>
                <c:pt idx="342">
                  <c:v>5.382625722E-3</c:v>
                </c:pt>
                <c:pt idx="343">
                  <c:v>5.3959304340000002E-3</c:v>
                </c:pt>
                <c:pt idx="344">
                  <c:v>5.3488015610000002E-3</c:v>
                </c:pt>
                <c:pt idx="345">
                  <c:v>5.5527430219999997E-3</c:v>
                </c:pt>
                <c:pt idx="346">
                  <c:v>5.5885045570000002E-3</c:v>
                </c:pt>
                <c:pt idx="347">
                  <c:v>5.5070485509999996E-3</c:v>
                </c:pt>
                <c:pt idx="348">
                  <c:v>5.2786383770000002E-3</c:v>
                </c:pt>
                <c:pt idx="349">
                  <c:v>5.4054905909999996E-3</c:v>
                </c:pt>
                <c:pt idx="350">
                  <c:v>5.708189699E-3</c:v>
                </c:pt>
                <c:pt idx="351">
                  <c:v>5.6062790320000003E-3</c:v>
                </c:pt>
                <c:pt idx="352">
                  <c:v>5.5099105240000003E-3</c:v>
                </c:pt>
                <c:pt idx="353">
                  <c:v>5.4809081690000002E-3</c:v>
                </c:pt>
                <c:pt idx="354">
                  <c:v>5.5022392830000001E-3</c:v>
                </c:pt>
                <c:pt idx="355">
                  <c:v>5.5695508370000001E-3</c:v>
                </c:pt>
                <c:pt idx="356">
                  <c:v>5.6449508560000002E-3</c:v>
                </c:pt>
                <c:pt idx="357">
                  <c:v>5.4531154410000001E-3</c:v>
                </c:pt>
                <c:pt idx="358">
                  <c:v>5.629906344E-3</c:v>
                </c:pt>
                <c:pt idx="359">
                  <c:v>5.9644805819999997E-3</c:v>
                </c:pt>
                <c:pt idx="360">
                  <c:v>6.3220388339999996E-3</c:v>
                </c:pt>
                <c:pt idx="361">
                  <c:v>6.7382007920000001E-3</c:v>
                </c:pt>
                <c:pt idx="362">
                  <c:v>7.0551801219999998E-3</c:v>
                </c:pt>
                <c:pt idx="363">
                  <c:v>7.5233920589999996E-3</c:v>
                </c:pt>
                <c:pt idx="364">
                  <c:v>7.3893370850000003E-3</c:v>
                </c:pt>
                <c:pt idx="365">
                  <c:v>7.2991306000000002E-3</c:v>
                </c:pt>
                <c:pt idx="366">
                  <c:v>7.6511587219999996E-3</c:v>
                </c:pt>
                <c:pt idx="367">
                  <c:v>8.7673171239999997E-3</c:v>
                </c:pt>
                <c:pt idx="368">
                  <c:v>9.3143371149999998E-3</c:v>
                </c:pt>
                <c:pt idx="369">
                  <c:v>9.7102584180000003E-3</c:v>
                </c:pt>
                <c:pt idx="370">
                  <c:v>1.0264656115E-2</c:v>
                </c:pt>
                <c:pt idx="371">
                  <c:v>1.2045539415999999E-2</c:v>
                </c:pt>
                <c:pt idx="372">
                  <c:v>1.3282447334999999E-2</c:v>
                </c:pt>
                <c:pt idx="373">
                  <c:v>1.4353673697E-2</c:v>
                </c:pt>
                <c:pt idx="374">
                  <c:v>1.4705443994999999E-2</c:v>
                </c:pt>
                <c:pt idx="375">
                  <c:v>1.4786267646999999E-2</c:v>
                </c:pt>
                <c:pt idx="376">
                  <c:v>1.4717084318E-2</c:v>
                </c:pt>
                <c:pt idx="377">
                  <c:v>1.6039885165999999E-2</c:v>
                </c:pt>
                <c:pt idx="378">
                  <c:v>1.671391698E-2</c:v>
                </c:pt>
                <c:pt idx="379">
                  <c:v>1.7694183943E-2</c:v>
                </c:pt>
                <c:pt idx="380">
                  <c:v>1.8455464572000001E-2</c:v>
                </c:pt>
                <c:pt idx="381">
                  <c:v>1.7872986454000001E-2</c:v>
                </c:pt>
                <c:pt idx="382">
                  <c:v>1.7760365026000001E-2</c:v>
                </c:pt>
                <c:pt idx="383">
                  <c:v>1.7803786049000001E-2</c:v>
                </c:pt>
                <c:pt idx="384">
                  <c:v>1.8226089082000001E-2</c:v>
                </c:pt>
                <c:pt idx="385">
                  <c:v>1.8200072838999999E-2</c:v>
                </c:pt>
                <c:pt idx="386">
                  <c:v>1.81678259E-2</c:v>
                </c:pt>
                <c:pt idx="387">
                  <c:v>1.7678848622999999E-2</c:v>
                </c:pt>
                <c:pt idx="388">
                  <c:v>1.7440822424E-2</c:v>
                </c:pt>
                <c:pt idx="389">
                  <c:v>1.7997412870999999E-2</c:v>
                </c:pt>
                <c:pt idx="390">
                  <c:v>1.8298993320000002E-2</c:v>
                </c:pt>
                <c:pt idx="391">
                  <c:v>1.8760873176E-2</c:v>
                </c:pt>
                <c:pt idx="392">
                  <c:v>1.8870024015999999E-2</c:v>
                </c:pt>
                <c:pt idx="393">
                  <c:v>1.9454223746000001E-2</c:v>
                </c:pt>
                <c:pt idx="394">
                  <c:v>2.2043613366000001E-2</c:v>
                </c:pt>
                <c:pt idx="395">
                  <c:v>2.4408756420999999E-2</c:v>
                </c:pt>
                <c:pt idx="396">
                  <c:v>2.5578747628000002E-2</c:v>
                </c:pt>
                <c:pt idx="397">
                  <c:v>2.6183016063000001E-2</c:v>
                </c:pt>
                <c:pt idx="398">
                  <c:v>2.6898031321E-2</c:v>
                </c:pt>
                <c:pt idx="399">
                  <c:v>2.9272461805999999E-2</c:v>
                </c:pt>
                <c:pt idx="400">
                  <c:v>3.1509180473999997E-2</c:v>
                </c:pt>
                <c:pt idx="401">
                  <c:v>3.1776587933999997E-2</c:v>
                </c:pt>
                <c:pt idx="402">
                  <c:v>3.240480045E-2</c:v>
                </c:pt>
                <c:pt idx="403">
                  <c:v>3.2673754760999998E-2</c:v>
                </c:pt>
                <c:pt idx="404">
                  <c:v>3.2606825844000001E-2</c:v>
                </c:pt>
                <c:pt idx="405">
                  <c:v>3.5315844063E-2</c:v>
                </c:pt>
                <c:pt idx="406">
                  <c:v>3.6884976138999999E-2</c:v>
                </c:pt>
                <c:pt idx="407">
                  <c:v>3.8200252887999997E-2</c:v>
                </c:pt>
                <c:pt idx="408">
                  <c:v>4.0436002951E-2</c:v>
                </c:pt>
                <c:pt idx="409">
                  <c:v>4.2579349778999999E-2</c:v>
                </c:pt>
                <c:pt idx="410">
                  <c:v>4.3549990481999999E-2</c:v>
                </c:pt>
                <c:pt idx="411">
                  <c:v>4.4552225878999999E-2</c:v>
                </c:pt>
                <c:pt idx="412">
                  <c:v>4.8277653105999997E-2</c:v>
                </c:pt>
                <c:pt idx="413">
                  <c:v>5.3530737209E-2</c:v>
                </c:pt>
                <c:pt idx="414">
                  <c:v>5.8869547005000002E-2</c:v>
                </c:pt>
                <c:pt idx="415">
                  <c:v>6.3217755862E-2</c:v>
                </c:pt>
                <c:pt idx="416">
                  <c:v>6.8317812778000003E-2</c:v>
                </c:pt>
                <c:pt idx="417">
                  <c:v>7.0333814374000006E-2</c:v>
                </c:pt>
                <c:pt idx="418">
                  <c:v>7.1324067300000002E-2</c:v>
                </c:pt>
                <c:pt idx="419">
                  <c:v>7.3313797360999994E-2</c:v>
                </c:pt>
                <c:pt idx="420">
                  <c:v>7.5345505403000002E-2</c:v>
                </c:pt>
                <c:pt idx="421">
                  <c:v>7.5149066580999999E-2</c:v>
                </c:pt>
                <c:pt idx="422">
                  <c:v>7.8004042571999999E-2</c:v>
                </c:pt>
                <c:pt idx="423">
                  <c:v>8.1702066830999995E-2</c:v>
                </c:pt>
                <c:pt idx="424">
                  <c:v>8.6221981500999995E-2</c:v>
                </c:pt>
                <c:pt idx="425">
                  <c:v>8.6033779182999995E-2</c:v>
                </c:pt>
                <c:pt idx="426">
                  <c:v>9.1481738776999999E-2</c:v>
                </c:pt>
                <c:pt idx="427">
                  <c:v>0.103317995612</c:v>
                </c:pt>
                <c:pt idx="428">
                  <c:v>0.122138712757</c:v>
                </c:pt>
                <c:pt idx="429">
                  <c:v>0.131898103603</c:v>
                </c:pt>
                <c:pt idx="430">
                  <c:v>0.142618880655</c:v>
                </c:pt>
                <c:pt idx="431">
                  <c:v>0.14386165869100001</c:v>
                </c:pt>
                <c:pt idx="432">
                  <c:v>0.147004966032</c:v>
                </c:pt>
                <c:pt idx="433">
                  <c:v>0.15280739685700001</c:v>
                </c:pt>
                <c:pt idx="434">
                  <c:v>0.15955482287</c:v>
                </c:pt>
                <c:pt idx="435">
                  <c:v>0.161132335525</c:v>
                </c:pt>
                <c:pt idx="436">
                  <c:v>0.15735839613200001</c:v>
                </c:pt>
                <c:pt idx="437">
                  <c:v>0.15813985693900001</c:v>
                </c:pt>
                <c:pt idx="438">
                  <c:v>0.16111579083700001</c:v>
                </c:pt>
                <c:pt idx="439">
                  <c:v>0.16315638832099999</c:v>
                </c:pt>
                <c:pt idx="440">
                  <c:v>0.161869801226</c:v>
                </c:pt>
                <c:pt idx="441">
                  <c:v>0.16650784207300001</c:v>
                </c:pt>
                <c:pt idx="442">
                  <c:v>0.16864421121600001</c:v>
                </c:pt>
                <c:pt idx="443">
                  <c:v>0.172162744324</c:v>
                </c:pt>
                <c:pt idx="444">
                  <c:v>0.182844522377</c:v>
                </c:pt>
                <c:pt idx="445">
                  <c:v>0.187558817525</c:v>
                </c:pt>
                <c:pt idx="446">
                  <c:v>0.18919861140399999</c:v>
                </c:pt>
                <c:pt idx="447">
                  <c:v>0.19262764717600001</c:v>
                </c:pt>
                <c:pt idx="448">
                  <c:v>0.19895545872000001</c:v>
                </c:pt>
                <c:pt idx="449">
                  <c:v>0.192938822708</c:v>
                </c:pt>
                <c:pt idx="450">
                  <c:v>0.20271315602100001</c:v>
                </c:pt>
                <c:pt idx="451">
                  <c:v>0.20293839076299999</c:v>
                </c:pt>
                <c:pt idx="452">
                  <c:v>0.20142537430900001</c:v>
                </c:pt>
                <c:pt idx="453">
                  <c:v>0.20145449586899999</c:v>
                </c:pt>
                <c:pt idx="454">
                  <c:v>0.20474369885999999</c:v>
                </c:pt>
                <c:pt idx="455">
                  <c:v>0.19929587218399999</c:v>
                </c:pt>
                <c:pt idx="456">
                  <c:v>0.20680879928400001</c:v>
                </c:pt>
                <c:pt idx="457">
                  <c:v>0.20041218548699999</c:v>
                </c:pt>
                <c:pt idx="458">
                  <c:v>0.19730014152399999</c:v>
                </c:pt>
                <c:pt idx="459">
                  <c:v>0.19581976965</c:v>
                </c:pt>
                <c:pt idx="460">
                  <c:v>0.19442575972500001</c:v>
                </c:pt>
                <c:pt idx="461">
                  <c:v>0.19137776463299999</c:v>
                </c:pt>
                <c:pt idx="462">
                  <c:v>0.189560735117</c:v>
                </c:pt>
                <c:pt idx="463">
                  <c:v>0.185424855932</c:v>
                </c:pt>
                <c:pt idx="464">
                  <c:v>0.18169329907500001</c:v>
                </c:pt>
                <c:pt idx="465">
                  <c:v>0.176423856942</c:v>
                </c:pt>
                <c:pt idx="466">
                  <c:v>0.17505771801200001</c:v>
                </c:pt>
                <c:pt idx="467">
                  <c:v>0.17469854694699999</c:v>
                </c:pt>
                <c:pt idx="468">
                  <c:v>0.17011385051399999</c:v>
                </c:pt>
                <c:pt idx="469">
                  <c:v>0.16718587473099999</c:v>
                </c:pt>
                <c:pt idx="470">
                  <c:v>0.16260919453100001</c:v>
                </c:pt>
                <c:pt idx="471">
                  <c:v>0.15652433496199999</c:v>
                </c:pt>
                <c:pt idx="472">
                  <c:v>0.15287231454200001</c:v>
                </c:pt>
                <c:pt idx="473">
                  <c:v>0.15041284523099999</c:v>
                </c:pt>
                <c:pt idx="474">
                  <c:v>0.14972836850499999</c:v>
                </c:pt>
                <c:pt idx="475">
                  <c:v>0.14704527829799999</c:v>
                </c:pt>
                <c:pt idx="476">
                  <c:v>0.142542207339</c:v>
                </c:pt>
                <c:pt idx="477">
                  <c:v>0.13615645688200001</c:v>
                </c:pt>
                <c:pt idx="478">
                  <c:v>0.132817580662</c:v>
                </c:pt>
                <c:pt idx="479">
                  <c:v>0.132678607246</c:v>
                </c:pt>
                <c:pt idx="480">
                  <c:v>0.13100395631699999</c:v>
                </c:pt>
                <c:pt idx="481">
                  <c:v>0.129534660468</c:v>
                </c:pt>
                <c:pt idx="482">
                  <c:v>0.131093553004</c:v>
                </c:pt>
                <c:pt idx="483">
                  <c:v>0.12883063643000001</c:v>
                </c:pt>
                <c:pt idx="484">
                  <c:v>0.13437498342500001</c:v>
                </c:pt>
                <c:pt idx="485">
                  <c:v>0.145724459784</c:v>
                </c:pt>
                <c:pt idx="486">
                  <c:v>0.14956723966999999</c:v>
                </c:pt>
                <c:pt idx="487">
                  <c:v>0.15182346109100001</c:v>
                </c:pt>
                <c:pt idx="488">
                  <c:v>0.151500498126</c:v>
                </c:pt>
                <c:pt idx="489">
                  <c:v>0.14791197252400001</c:v>
                </c:pt>
                <c:pt idx="490">
                  <c:v>0.14548101691099999</c:v>
                </c:pt>
                <c:pt idx="491">
                  <c:v>0.14481236892300001</c:v>
                </c:pt>
                <c:pt idx="492">
                  <c:v>0.138292312546</c:v>
                </c:pt>
                <c:pt idx="493">
                  <c:v>0.13027340780400001</c:v>
                </c:pt>
                <c:pt idx="494">
                  <c:v>0.128362871086</c:v>
                </c:pt>
                <c:pt idx="495">
                  <c:v>0.129099596038</c:v>
                </c:pt>
                <c:pt idx="496">
                  <c:v>0.124248883059</c:v>
                </c:pt>
                <c:pt idx="497">
                  <c:v>0.126068528421</c:v>
                </c:pt>
                <c:pt idx="498">
                  <c:v>0.13093569218000001</c:v>
                </c:pt>
                <c:pt idx="499">
                  <c:v>0.13889141448100001</c:v>
                </c:pt>
                <c:pt idx="500">
                  <c:v>0.14996730210699999</c:v>
                </c:pt>
                <c:pt idx="501">
                  <c:v>0.155683129043</c:v>
                </c:pt>
                <c:pt idx="502">
                  <c:v>0.163858096856</c:v>
                </c:pt>
                <c:pt idx="503">
                  <c:v>0.177223659558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18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20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chart" Target="../charts/chart19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chart" Target="../charts/chart2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chart" Target="../charts/chart21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24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chart" Target="../charts/chart2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5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26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chart" Target="../charts/chart2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5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2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chart" Target="../charts/chart2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6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chart" Target="../charts/chart30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29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6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chart" Target="../charts/chart3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chart" Target="../charts/chart31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6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34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chart" Target="../charts/chart3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7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36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chart" Target="../charts/chart3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7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6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38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chart" Target="../charts/chart3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40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chart" Target="../charts/chart39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4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chart" Target="../charts/chart41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44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chart" Target="../charts/chart4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9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46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chart" Target="../charts/chart4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9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Relationship Id="rId9" Type="http://schemas.openxmlformats.org/officeDocument/2006/relationships/chart" Target="../charts/chart4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4" Type="http://schemas.openxmlformats.org/officeDocument/2006/relationships/tags" Target="../tags/tag107.xml"/><Relationship Id="rId9" Type="http://schemas.openxmlformats.org/officeDocument/2006/relationships/chart" Target="../charts/chart4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chart" Target="../charts/chart4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4" Type="http://schemas.openxmlformats.org/officeDocument/2006/relationships/tags" Target="../tags/tag121.xml"/><Relationship Id="rId9" Type="http://schemas.openxmlformats.org/officeDocument/2006/relationships/chart" Target="../charts/chart5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4" Type="http://schemas.openxmlformats.org/officeDocument/2006/relationships/tags" Target="../tags/tag128.xml"/><Relationship Id="rId9" Type="http://schemas.openxmlformats.org/officeDocument/2006/relationships/chart" Target="../charts/chart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chart" Target="../charts/chart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4" Type="http://schemas.openxmlformats.org/officeDocument/2006/relationships/tags" Target="../tags/tag135.xml"/><Relationship Id="rId9" Type="http://schemas.openxmlformats.org/officeDocument/2006/relationships/chart" Target="../charts/chart5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5" Type="http://schemas.openxmlformats.org/officeDocument/2006/relationships/tags" Target="../tags/tag143.xml"/><Relationship Id="rId4" Type="http://schemas.openxmlformats.org/officeDocument/2006/relationships/tags" Target="../tags/tag142.xml"/><Relationship Id="rId9" Type="http://schemas.openxmlformats.org/officeDocument/2006/relationships/chart" Target="../charts/chart5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5" Type="http://schemas.openxmlformats.org/officeDocument/2006/relationships/tags" Target="../tags/tag150.xml"/><Relationship Id="rId4" Type="http://schemas.openxmlformats.org/officeDocument/2006/relationships/tags" Target="../tags/tag149.xml"/><Relationship Id="rId9" Type="http://schemas.openxmlformats.org/officeDocument/2006/relationships/chart" Target="../charts/chart5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4" Type="http://schemas.openxmlformats.org/officeDocument/2006/relationships/tags" Target="../tags/tag156.xml"/><Relationship Id="rId9" Type="http://schemas.openxmlformats.org/officeDocument/2006/relationships/chart" Target="../charts/chart5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chart" Target="../charts/chart5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Relationship Id="rId9" Type="http://schemas.openxmlformats.org/officeDocument/2006/relationships/chart" Target="../charts/chart5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4" Type="http://schemas.openxmlformats.org/officeDocument/2006/relationships/tags" Target="../tags/tag177.xml"/><Relationship Id="rId9" Type="http://schemas.openxmlformats.org/officeDocument/2006/relationships/chart" Target="../charts/chart5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4" Type="http://schemas.openxmlformats.org/officeDocument/2006/relationships/tags" Target="../tags/tag184.xml"/><Relationship Id="rId9" Type="http://schemas.openxmlformats.org/officeDocument/2006/relationships/chart" Target="../charts/chart5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6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chart" Target="../charts/chart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8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chart" Target="../charts/chart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10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chart" Target="../charts/chart9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1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chart" Target="../charts/chart11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14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16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chart" Target="../charts/chart1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Časové trendy ve vývoji epidemie</a:t>
            </a:r>
          </a:p>
        </p:txBody>
      </p:sp>
    </p:spTree>
    <p:extLst>
      <p:ext uri="{BB962C8B-B14F-4D97-AF65-F5344CB8AC3E}">
        <p14:creationId xmlns:p14="http://schemas.microsoft.com/office/powerpoint/2010/main" val="2309926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nových příjmů do nemocnic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141018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900752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343FD679-6410-4453-94EF-7E2EFD91FB8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6572313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nových příjmů na JIP (včetně překladů) / 100 tisíc obyv.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049484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5873302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746FB2D5-6186-4AFB-85CB-FA82DE72497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8602276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nových hospitalizací na JIP / 7denní počet všech nových hospitalizací (v %)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5969983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5232221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29EA93F3-B5FC-4A87-B8FF-AF153AB62DA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39452974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550" dirty="0"/>
              <a:t>7denní počet případů, hospitalizovaných do 3 dnů od pozitivity / 100 tisíc obyvatel</a:t>
            </a:r>
            <a:endParaRPr lang="cs-CZ" sz="155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2379981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4337023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B59398FE-6B15-42A1-BC12-8BC1F93CC1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8677381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do 3 dnů od pozitivity v % v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3810810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2263014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8A8BA027-29BC-4E55-8541-70D627DF327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8159031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966957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do 3 dnů od pozitivity v % v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4958624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7818084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B59398FE-6B15-42A1-BC12-8BC1F93CC1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5648066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550" dirty="0"/>
              <a:t>7denní počet případů, hospitalizovaných do 7 dnů od pozitivity / 100 tisíc obyvatel</a:t>
            </a:r>
            <a:endParaRPr lang="cs-CZ" sz="155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319369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6780587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146017EF-249F-4785-BC94-FA2D6618D8C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8047927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do 7 dnů od pozitivity v % v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1111763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9827412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E3638910-5E49-4ABE-9257-15EEC8A39D2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4798728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968490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do 7 dnů od pozitivity v % v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0357531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8078131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E3638910-5E49-4ABE-9257-15EEC8A39D2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078259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/ 100 tisíc obyvatel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73A03D-02FD-4EE0-99B7-A9E50F88E6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8586966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14">
            <a:extLst>
              <a:ext uri="{FF2B5EF4-FFF2-40B4-BE49-F238E27FC236}">
                <a16:creationId xmlns:a16="http://schemas.microsoft.com/office/drawing/2014/main" id="{0A249515-A4ED-4845-A0D5-7D35224904F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CAFC2DD2-8D68-4E25-A239-1B7D8358EB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C777C83A-7EC6-4EBF-AC56-192E230818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6684677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TextBox 6">
            <a:extLst>
              <a:ext uri="{FF2B5EF4-FFF2-40B4-BE49-F238E27FC236}">
                <a16:creationId xmlns:a16="http://schemas.microsoft.com/office/drawing/2014/main" id="{31DCCF15-8D32-4CC1-9851-768A37455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9283420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CR testů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706333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3275686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BDC6912-09FD-4720-9C5F-9FE68543F4D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1941519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</a:t>
            </a:r>
            <a:r>
              <a:rPr lang="en-US" sz="1400" dirty="0"/>
              <a:t>v % v</a:t>
            </a:r>
            <a:r>
              <a:rPr lang="cs-CZ" sz="1400" dirty="0"/>
              <a:t>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EFF09343-7E49-4458-99BA-C44FF4F433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8457421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726029F8-CC8A-4D5B-8F49-AFDD0647854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23458BF9-1721-4D26-9635-BE6F3CA1E0F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C8F7EE91-E4A8-4247-B90D-2D742A7A43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5604933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0428A041-0109-4D33-97BF-31945ED868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34712961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8099085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</a:t>
            </a:r>
            <a:r>
              <a:rPr lang="en-US" sz="1400" dirty="0"/>
              <a:t>v % </a:t>
            </a:r>
            <a:r>
              <a:rPr lang="en-US" sz="1400" dirty="0" err="1"/>
              <a:t>nov</a:t>
            </a:r>
            <a:r>
              <a:rPr lang="cs-CZ" sz="1400" dirty="0"/>
              <a:t>ě hospitalizovaný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EC96C70C-DBB7-4707-853F-7AA1D3F773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6857519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AF539B6B-A616-482B-B9C4-F9977BEF13B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7B606699-D057-482F-9C65-5A670BDA89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C2ACFA3B-19D3-47D0-817F-13FCE1A700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0420210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11DF5743-3F99-4687-8F32-CC3D9811F0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4454698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65+ </a:t>
            </a:r>
            <a:r>
              <a:rPr lang="en-US" sz="1400" dirty="0"/>
              <a:t>v den </a:t>
            </a:r>
            <a:r>
              <a:rPr lang="cs-CZ" sz="1400" dirty="0"/>
              <a:t>pozitivity / 100 tisíc obyvatel 65+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73A03D-02FD-4EE0-99B7-A9E50F88E6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8148392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14">
            <a:extLst>
              <a:ext uri="{FF2B5EF4-FFF2-40B4-BE49-F238E27FC236}">
                <a16:creationId xmlns:a16="http://schemas.microsoft.com/office/drawing/2014/main" id="{0A249515-A4ED-4845-A0D5-7D35224904F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CAFC2DD2-8D68-4E25-A239-1B7D8358EB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C777C83A-7EC6-4EBF-AC56-192E230818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9703427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TextBox 6">
            <a:extLst>
              <a:ext uri="{FF2B5EF4-FFF2-40B4-BE49-F238E27FC236}">
                <a16:creationId xmlns:a16="http://schemas.microsoft.com/office/drawing/2014/main" id="{31DCCF15-8D32-4CC1-9851-768A37455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9252517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8155233" cy="576000"/>
          </a:xfrm>
        </p:spPr>
        <p:txBody>
          <a:bodyPr/>
          <a:lstStyle/>
          <a:p>
            <a:r>
              <a:rPr lang="cs-CZ" sz="1200" dirty="0"/>
              <a:t>7denní počet případů, hospitalizovaných na JIP 65+ </a:t>
            </a:r>
            <a:r>
              <a:rPr lang="en-US" sz="1200" dirty="0"/>
              <a:t>v den </a:t>
            </a:r>
            <a:r>
              <a:rPr lang="cs-CZ" sz="1200" dirty="0"/>
              <a:t>pozitivity </a:t>
            </a:r>
            <a:r>
              <a:rPr lang="en-US" sz="1200" dirty="0"/>
              <a:t>v % v</a:t>
            </a:r>
            <a:r>
              <a:rPr lang="cs-CZ" sz="1200" dirty="0"/>
              <a:t>šech pozitivních 65+</a:t>
            </a:r>
            <a:endParaRPr lang="cs-CZ" sz="12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A047779F-852E-47CC-BC05-47DB9006DB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781683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C07DA664-CD93-4EA2-9EE0-4090288697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F1425992-2F5D-433F-89A0-C14043B1B19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04ADAFAF-93A6-4FE8-B9FF-B4555D3F2F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1704335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B784D182-2403-4EA1-81A8-7EDC8E33CEE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5314076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8288087" cy="576000"/>
          </a:xfrm>
        </p:spPr>
        <p:txBody>
          <a:bodyPr/>
          <a:lstStyle/>
          <a:p>
            <a:r>
              <a:rPr lang="cs-CZ" sz="1200" dirty="0"/>
              <a:t>7denní počet případů, hospitalizovaných na JIP 65+ </a:t>
            </a:r>
            <a:r>
              <a:rPr lang="en-US" sz="1200" dirty="0"/>
              <a:t>v den </a:t>
            </a:r>
            <a:r>
              <a:rPr lang="cs-CZ" sz="1200" dirty="0"/>
              <a:t>pozitivity </a:t>
            </a:r>
            <a:r>
              <a:rPr lang="en-US" sz="1200" dirty="0"/>
              <a:t>v % </a:t>
            </a:r>
            <a:r>
              <a:rPr lang="en-US" sz="1200" dirty="0" err="1"/>
              <a:t>nov</a:t>
            </a:r>
            <a:r>
              <a:rPr lang="cs-CZ" sz="1200" dirty="0"/>
              <a:t>ě hospitalizovaných 65+</a:t>
            </a:r>
            <a:endParaRPr lang="cs-CZ" sz="12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EA16D82E-B380-4531-AF74-BCB14842E0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4646386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29821344-76C7-4D0A-BB2F-84C34962B7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32BDC606-CD94-4B15-843C-072615A764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6282E557-4D16-4C2F-91D9-909C7BCA2F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4859923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6CD9FA0D-C083-4C2B-B6B6-6E4A88268FC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3049208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z="1800" dirty="0"/>
              <a:t>7denní počet (suma) případů / 100 tisíc obyvatel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8738389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CD78C3F7-45F0-4DAB-8309-784FB6C907B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420585" y="5870873"/>
            <a:ext cx="9934599" cy="889154"/>
            <a:chOff x="1665514" y="5791199"/>
            <a:chExt cx="9934599" cy="889154"/>
          </a:xfrm>
        </p:grpSpPr>
        <p:sp>
          <p:nvSpPr>
            <p:cNvPr id="5" name="TextovéPole 4">
              <a:extLst>
                <a:ext uri="{FF2B5EF4-FFF2-40B4-BE49-F238E27FC236}">
                  <a16:creationId xmlns:a16="http://schemas.microsoft.com/office/drawing/2014/main" id="{FC2A0ABC-49C9-4255-87E8-26F45CBE6D24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65514" y="5791199"/>
              <a:ext cx="9934599" cy="889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cs-CZ" sz="12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	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očet případů bez dokončeného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bez dokončeného očkování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s posilující dávkou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 s posilující dávkou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cxnSp>
          <p:nvCxnSpPr>
            <p:cNvPr id="9" name="Přímá spojnice 8">
              <a:extLst>
                <a:ext uri="{FF2B5EF4-FFF2-40B4-BE49-F238E27FC236}">
                  <a16:creationId xmlns:a16="http://schemas.microsoft.com/office/drawing/2014/main" id="{1E2DC00E-62D4-485E-A219-0E26C1165884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>
            <a:xfrm>
              <a:off x="2144486" y="5987143"/>
              <a:ext cx="413657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Přímá spojnice 9">
              <a:extLst>
                <a:ext uri="{FF2B5EF4-FFF2-40B4-BE49-F238E27FC236}">
                  <a16:creationId xmlns:a16="http://schemas.microsoft.com/office/drawing/2014/main" id="{12EEF375-993A-47B6-9006-6C6045B697D7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2144486" y="6262454"/>
              <a:ext cx="413657" cy="0"/>
            </a:xfrm>
            <a:prstGeom prst="line">
              <a:avLst/>
            </a:prstGeom>
            <a:ln>
              <a:solidFill>
                <a:srgbClr val="4472C4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Přímá spojnice 10">
              <a:extLst>
                <a:ext uri="{FF2B5EF4-FFF2-40B4-BE49-F238E27FC236}">
                  <a16:creationId xmlns:a16="http://schemas.microsoft.com/office/drawing/2014/main" id="{D27CEB48-C189-417E-8A26-1969E118746D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>
            <a:xfrm>
              <a:off x="2144486" y="6537764"/>
              <a:ext cx="413657" cy="0"/>
            </a:xfrm>
            <a:prstGeom prst="line">
              <a:avLst/>
            </a:prstGeom>
            <a:ln>
              <a:solidFill>
                <a:srgbClr val="70AD47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ovéPole 3">
            <a:extLst>
              <a:ext uri="{FF2B5EF4-FFF2-40B4-BE49-F238E27FC236}">
                <a16:creationId xmlns:a16="http://schemas.microsoft.com/office/drawing/2014/main" id="{25636116-0C74-4AA1-9B3A-9138502F0A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</p:spTree>
    <p:extLst>
      <p:ext uri="{BB962C8B-B14F-4D97-AF65-F5344CB8AC3E}">
        <p14:creationId xmlns:p14="http://schemas.microsoft.com/office/powerpoint/2010/main" val="13956306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555629" cy="576000"/>
          </a:xfrm>
        </p:spPr>
        <p:txBody>
          <a:bodyPr/>
          <a:lstStyle/>
          <a:p>
            <a:r>
              <a:rPr lang="cs-CZ" sz="1800" dirty="0"/>
              <a:t>7denní počet (suma) symptomatických případů / 100 tisíc obyvatel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4499796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F6314987-48F2-49FA-8C6D-BE454DCC498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4715D8B9-1DFD-4893-A009-F886CFF58B4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420585" y="5870873"/>
            <a:ext cx="9934599" cy="889154"/>
            <a:chOff x="1665514" y="5791199"/>
            <a:chExt cx="9934599" cy="889154"/>
          </a:xfrm>
        </p:grpSpPr>
        <p:sp>
          <p:nvSpPr>
            <p:cNvPr id="16" name="TextovéPole 15">
              <a:extLst>
                <a:ext uri="{FF2B5EF4-FFF2-40B4-BE49-F238E27FC236}">
                  <a16:creationId xmlns:a16="http://schemas.microsoft.com/office/drawing/2014/main" id="{2963954E-D1C4-4C6B-BB74-CB74D569AA2E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65514" y="5791199"/>
              <a:ext cx="9934599" cy="889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cs-CZ" sz="12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	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očet případů bez dokončeného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bez dokončeného očkování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s posilující dávkou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 s posilující dávkou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BBAAB60-EBCB-4A1F-8952-EF737B8033A2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>
            <a:xfrm>
              <a:off x="2144486" y="5987143"/>
              <a:ext cx="413657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7FFDF03D-DF8E-446C-B643-F4FE73B56C8D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2144486" y="6262454"/>
              <a:ext cx="413657" cy="0"/>
            </a:xfrm>
            <a:prstGeom prst="line">
              <a:avLst/>
            </a:prstGeom>
            <a:ln>
              <a:solidFill>
                <a:srgbClr val="4472C4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1BAE965-153F-4B16-A50D-AFEBC74B573A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>
            <a:xfrm>
              <a:off x="2144486" y="6537764"/>
              <a:ext cx="413657" cy="0"/>
            </a:xfrm>
            <a:prstGeom prst="line">
              <a:avLst/>
            </a:prstGeom>
            <a:ln>
              <a:solidFill>
                <a:srgbClr val="70AD47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529471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14460" cy="576000"/>
          </a:xfrm>
        </p:spPr>
        <p:txBody>
          <a:bodyPr/>
          <a:lstStyle/>
          <a:p>
            <a:r>
              <a:rPr lang="cs-CZ" sz="1800" dirty="0"/>
              <a:t>Relativní pozitivita (dg. + </a:t>
            </a:r>
            <a:r>
              <a:rPr lang="cs-CZ" sz="1800" dirty="0" err="1"/>
              <a:t>epi</a:t>
            </a:r>
            <a:r>
              <a:rPr lang="cs-CZ" sz="1800" dirty="0"/>
              <a:t>.) indikovaných testů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5455294"/>
              </p:ext>
            </p:extLst>
          </p:nvPr>
        </p:nvGraphicFramePr>
        <p:xfrm>
          <a:off x="569481" y="881743"/>
          <a:ext cx="11053038" cy="5812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8" name="Skupina 7">
            <a:extLst>
              <a:ext uri="{FF2B5EF4-FFF2-40B4-BE49-F238E27FC236}">
                <a16:creationId xmlns:a16="http://schemas.microsoft.com/office/drawing/2014/main" id="{363B5CBD-2DC6-489C-823F-F0D76EA9615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920240" y="6380413"/>
            <a:ext cx="6475614" cy="161702"/>
            <a:chOff x="1371600" y="4365172"/>
            <a:chExt cx="7768976" cy="0"/>
          </a:xfrm>
        </p:grpSpPr>
        <p:cxnSp>
          <p:nvCxnSpPr>
            <p:cNvPr id="5" name="Přímá spojnice 4">
              <a:extLst>
                <a:ext uri="{FF2B5EF4-FFF2-40B4-BE49-F238E27FC236}">
                  <a16:creationId xmlns:a16="http://schemas.microsoft.com/office/drawing/2014/main" id="{74FC91BC-E833-4D80-A550-9F87F41B7B1D}"/>
                </a:ext>
              </a:extLst>
            </p:cNvPr>
            <p:cNvCxnSpPr/>
            <p:nvPr>
              <p:custDataLst>
                <p:tags r:id="rId5"/>
              </p:custDataLst>
            </p:nvPr>
          </p:nvCxnSpPr>
          <p:spPr>
            <a:xfrm>
              <a:off x="1371600" y="4365172"/>
              <a:ext cx="413657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Přímá spojnice 5">
              <a:extLst>
                <a:ext uri="{FF2B5EF4-FFF2-40B4-BE49-F238E27FC236}">
                  <a16:creationId xmlns:a16="http://schemas.microsoft.com/office/drawing/2014/main" id="{7F17655D-0B59-4249-8C49-57DD3997ABE8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>
            <a:xfrm>
              <a:off x="5058434" y="4365172"/>
              <a:ext cx="413657" cy="0"/>
            </a:xfrm>
            <a:prstGeom prst="line">
              <a:avLst/>
            </a:prstGeom>
            <a:ln>
              <a:solidFill>
                <a:srgbClr val="4472C4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Přímá spojnice 6">
              <a:extLst>
                <a:ext uri="{FF2B5EF4-FFF2-40B4-BE49-F238E27FC236}">
                  <a16:creationId xmlns:a16="http://schemas.microsoft.com/office/drawing/2014/main" id="{A9FC899B-8C65-4327-8FF2-EDA99EF2706D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8726919" y="4365172"/>
              <a:ext cx="413657" cy="0"/>
            </a:xfrm>
            <a:prstGeom prst="line">
              <a:avLst/>
            </a:prstGeom>
            <a:ln>
              <a:solidFill>
                <a:srgbClr val="70AD47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ovéPole 8">
            <a:extLst>
              <a:ext uri="{FF2B5EF4-FFF2-40B4-BE49-F238E27FC236}">
                <a16:creationId xmlns:a16="http://schemas.microsoft.com/office/drawing/2014/main" id="{9CBAFAC4-C2EC-4883-BB09-A1A3A0EEABC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aphicFrame>
        <p:nvGraphicFramePr>
          <p:cNvPr id="10" name="Tabulka 10">
            <a:extLst>
              <a:ext uri="{FF2B5EF4-FFF2-40B4-BE49-F238E27FC236}">
                <a16:creationId xmlns:a16="http://schemas.microsoft.com/office/drawing/2014/main" id="{623D4561-94D4-4B5C-9F73-B7C4DDA1C59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5738187"/>
              </p:ext>
            </p:extLst>
          </p:nvPr>
        </p:nvGraphicFramePr>
        <p:xfrm>
          <a:off x="2296446" y="6237514"/>
          <a:ext cx="9141867" cy="457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47289">
                  <a:extLst>
                    <a:ext uri="{9D8B030D-6E8A-4147-A177-3AD203B41FA5}">
                      <a16:colId xmlns:a16="http://schemas.microsoft.com/office/drawing/2014/main" val="1685008542"/>
                    </a:ext>
                  </a:extLst>
                </a:gridCol>
                <a:gridCol w="3047289">
                  <a:extLst>
                    <a:ext uri="{9D8B030D-6E8A-4147-A177-3AD203B41FA5}">
                      <a16:colId xmlns:a16="http://schemas.microsoft.com/office/drawing/2014/main" val="483509202"/>
                    </a:ext>
                  </a:extLst>
                </a:gridCol>
                <a:gridCol w="3047289">
                  <a:extLst>
                    <a:ext uri="{9D8B030D-6E8A-4147-A177-3AD203B41FA5}">
                      <a16:colId xmlns:a16="http://schemas.microsoft.com/office/drawing/2014/main" val="36662461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Neočkovaní nebo</a:t>
                      </a:r>
                      <a:b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 nedokončeným očkováním</a:t>
                      </a:r>
                      <a:endParaRPr lang="cs-C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 dokončeným očkováním</a:t>
                      </a:r>
                      <a:b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bez posilující dávky</a:t>
                      </a:r>
                      <a:endParaRPr lang="cs-C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 dokončeným očkováním</a:t>
                      </a:r>
                      <a:b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 posilující dávkou</a:t>
                      </a:r>
                      <a:endParaRPr lang="cs-CZ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9988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30231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14460" cy="576000"/>
          </a:xfrm>
        </p:spPr>
        <p:txBody>
          <a:bodyPr/>
          <a:lstStyle/>
          <a:p>
            <a:r>
              <a:rPr lang="cs-CZ" sz="1800" dirty="0"/>
              <a:t>7denní počet (suma) případů 65+ / 100 tisíc obyvatel 65+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9496308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DB2CB78B-C076-4116-A60B-6D255194DF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6444836-B5A5-4730-A513-73FFF69F221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420585" y="5870873"/>
            <a:ext cx="9934599" cy="889154"/>
            <a:chOff x="1665514" y="5791199"/>
            <a:chExt cx="9934599" cy="889154"/>
          </a:xfrm>
        </p:grpSpPr>
        <p:sp>
          <p:nvSpPr>
            <p:cNvPr id="26" name="TextovéPole 25">
              <a:extLst>
                <a:ext uri="{FF2B5EF4-FFF2-40B4-BE49-F238E27FC236}">
                  <a16:creationId xmlns:a16="http://schemas.microsoft.com/office/drawing/2014/main" id="{A32ED8D1-47FE-4A6E-8F7B-90EA56F22B9D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65514" y="5791199"/>
              <a:ext cx="9934599" cy="889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cs-CZ" sz="12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	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očet případů bez dokončeného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65+ bez dokončeného očkování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65+ s dokončeným očkováním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s posilující dávkou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65+ s dokončeným očkováním s posilující dávkou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F7C6D50E-0628-4303-9CA5-761EF33A7196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>
            <a:xfrm>
              <a:off x="2144486" y="5987143"/>
              <a:ext cx="413657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7406A4E6-2A3D-4A37-88FE-A03AF49C74FF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2144486" y="6262454"/>
              <a:ext cx="413657" cy="0"/>
            </a:xfrm>
            <a:prstGeom prst="line">
              <a:avLst/>
            </a:prstGeom>
            <a:ln>
              <a:solidFill>
                <a:srgbClr val="4472C4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B8A1DDF5-3C5C-4C52-BF37-7E7F8A251699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>
            <a:xfrm>
              <a:off x="2144486" y="6537764"/>
              <a:ext cx="413657" cy="0"/>
            </a:xfrm>
            <a:prstGeom prst="line">
              <a:avLst/>
            </a:prstGeom>
            <a:ln>
              <a:solidFill>
                <a:srgbClr val="70AD47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223504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14460" cy="576000"/>
          </a:xfrm>
        </p:spPr>
        <p:txBody>
          <a:bodyPr/>
          <a:lstStyle/>
          <a:p>
            <a:r>
              <a:rPr lang="cs-CZ" sz="1800" dirty="0"/>
              <a:t>Relativní pozitivita (dg. + </a:t>
            </a:r>
            <a:r>
              <a:rPr lang="cs-CZ" sz="1800" dirty="0" err="1"/>
              <a:t>epi</a:t>
            </a:r>
            <a:r>
              <a:rPr lang="cs-CZ" sz="1800" dirty="0"/>
              <a:t>.) indikovaných testů 65+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1757729"/>
              </p:ext>
            </p:extLst>
          </p:nvPr>
        </p:nvGraphicFramePr>
        <p:xfrm>
          <a:off x="569481" y="881743"/>
          <a:ext cx="11053038" cy="5812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61FEAD42-9C7B-469C-93F4-13060799D78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6B3CF25A-41BD-4864-BD77-9897A11C657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920240" y="6380413"/>
            <a:ext cx="6475614" cy="161702"/>
            <a:chOff x="1371600" y="4365172"/>
            <a:chExt cx="7768976" cy="0"/>
          </a:xfrm>
        </p:grpSpPr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F512DE56-1B16-49F3-A156-6AFA92FABB5E}"/>
                </a:ext>
              </a:extLst>
            </p:cNvPr>
            <p:cNvCxnSpPr/>
            <p:nvPr>
              <p:custDataLst>
                <p:tags r:id="rId5"/>
              </p:custDataLst>
            </p:nvPr>
          </p:nvCxnSpPr>
          <p:spPr>
            <a:xfrm>
              <a:off x="1371600" y="4365172"/>
              <a:ext cx="413657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43C95C4-03E5-4FEF-9A94-DFD66A0C9FB1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>
            <a:xfrm>
              <a:off x="5058434" y="4365172"/>
              <a:ext cx="413657" cy="0"/>
            </a:xfrm>
            <a:prstGeom prst="line">
              <a:avLst/>
            </a:prstGeom>
            <a:ln>
              <a:solidFill>
                <a:srgbClr val="4472C4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CF86F60C-0813-469C-B956-D128F49773A4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8726919" y="4365172"/>
              <a:ext cx="413657" cy="0"/>
            </a:xfrm>
            <a:prstGeom prst="line">
              <a:avLst/>
            </a:prstGeom>
            <a:ln>
              <a:solidFill>
                <a:srgbClr val="70AD47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10">
            <a:extLst>
              <a:ext uri="{FF2B5EF4-FFF2-40B4-BE49-F238E27FC236}">
                <a16:creationId xmlns:a16="http://schemas.microsoft.com/office/drawing/2014/main" id="{6058D802-B9DC-484A-B618-A193611A57C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21552129"/>
              </p:ext>
            </p:extLst>
          </p:nvPr>
        </p:nvGraphicFramePr>
        <p:xfrm>
          <a:off x="2296446" y="6237514"/>
          <a:ext cx="9141867" cy="457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47289">
                  <a:extLst>
                    <a:ext uri="{9D8B030D-6E8A-4147-A177-3AD203B41FA5}">
                      <a16:colId xmlns:a16="http://schemas.microsoft.com/office/drawing/2014/main" val="1685008542"/>
                    </a:ext>
                  </a:extLst>
                </a:gridCol>
                <a:gridCol w="3047289">
                  <a:extLst>
                    <a:ext uri="{9D8B030D-6E8A-4147-A177-3AD203B41FA5}">
                      <a16:colId xmlns:a16="http://schemas.microsoft.com/office/drawing/2014/main" val="483509202"/>
                    </a:ext>
                  </a:extLst>
                </a:gridCol>
                <a:gridCol w="3047289">
                  <a:extLst>
                    <a:ext uri="{9D8B030D-6E8A-4147-A177-3AD203B41FA5}">
                      <a16:colId xmlns:a16="http://schemas.microsoft.com/office/drawing/2014/main" val="36662461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Neočkovaní nebo</a:t>
                      </a:r>
                      <a:b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 nedokončeným očkováním 65+</a:t>
                      </a:r>
                      <a:endParaRPr lang="cs-C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 dokončeným očkováním</a:t>
                      </a:r>
                      <a:b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bez posilující dávky 65+</a:t>
                      </a:r>
                      <a:endParaRPr lang="cs-C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 dokončeným očkováním</a:t>
                      </a:r>
                      <a:b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cs-CZ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 posilující dávkou 65+</a:t>
                      </a:r>
                      <a:endParaRPr lang="cs-CZ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9988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4917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řípadů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353119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5622701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AFFAFF64-A785-495C-B462-DC7070FFC89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8482797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81605" cy="576000"/>
          </a:xfrm>
        </p:spPr>
        <p:txBody>
          <a:bodyPr/>
          <a:lstStyle/>
          <a:p>
            <a:r>
              <a:rPr lang="cs-CZ" sz="1800" dirty="0"/>
              <a:t>7denní počet nových příjmů do nemocnic / 100 tisíc obyvatel 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3870050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14C4DC9-9CC6-4036-89F8-30D48D65A5C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02894916-3B66-4DBE-86B7-20748BC566D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420585" y="5870873"/>
            <a:ext cx="9934599" cy="889154"/>
            <a:chOff x="1665514" y="5791199"/>
            <a:chExt cx="9934599" cy="889154"/>
          </a:xfrm>
        </p:grpSpPr>
        <p:sp>
          <p:nvSpPr>
            <p:cNvPr id="16" name="TextovéPole 15">
              <a:extLst>
                <a:ext uri="{FF2B5EF4-FFF2-40B4-BE49-F238E27FC236}">
                  <a16:creationId xmlns:a16="http://schemas.microsoft.com/office/drawing/2014/main" id="{F72F46DD-D07A-4E67-855F-089BF2568877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65514" y="5791199"/>
              <a:ext cx="9934599" cy="889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cs-CZ" sz="12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	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očet případů bez dokončeného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bez dokončeného očkování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s posilující dávkou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 s posilující dávkou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02FA23E-F480-43F9-B988-0C841E77C9B3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>
            <a:xfrm>
              <a:off x="2144486" y="5987143"/>
              <a:ext cx="413657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589226CA-919B-4433-849F-F11E0524D8DD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2144486" y="6262454"/>
              <a:ext cx="413657" cy="0"/>
            </a:xfrm>
            <a:prstGeom prst="line">
              <a:avLst/>
            </a:prstGeom>
            <a:ln>
              <a:solidFill>
                <a:srgbClr val="4472C4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135E8B1-5AF3-482C-965E-E0D2CB214DE8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>
            <a:xfrm>
              <a:off x="2144486" y="6537764"/>
              <a:ext cx="413657" cy="0"/>
            </a:xfrm>
            <a:prstGeom prst="line">
              <a:avLst/>
            </a:prstGeom>
            <a:ln>
              <a:solidFill>
                <a:srgbClr val="70AD47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53602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022427" cy="576000"/>
          </a:xfrm>
        </p:spPr>
        <p:txBody>
          <a:bodyPr/>
          <a:lstStyle/>
          <a:p>
            <a:r>
              <a:rPr lang="cs-CZ" sz="1800" dirty="0"/>
              <a:t>7denní počet příjmů na JIP (včetně překladů) / 100 tisíc obyvatel 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2129455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F7724EAF-ACC6-48F2-B437-02676C6AD31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FD6E5848-C53C-4FE9-845C-EE65F138AFB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420585" y="5870873"/>
            <a:ext cx="9934599" cy="889154"/>
            <a:chOff x="1665514" y="5791199"/>
            <a:chExt cx="9934599" cy="889154"/>
          </a:xfrm>
        </p:grpSpPr>
        <p:sp>
          <p:nvSpPr>
            <p:cNvPr id="16" name="TextovéPole 15">
              <a:extLst>
                <a:ext uri="{FF2B5EF4-FFF2-40B4-BE49-F238E27FC236}">
                  <a16:creationId xmlns:a16="http://schemas.microsoft.com/office/drawing/2014/main" id="{729CC398-EBD9-4FD8-936B-D534D1FE6DF7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65514" y="5791199"/>
              <a:ext cx="9934599" cy="889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cs-CZ" sz="12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	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očet případů bez dokončeného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bez dokončeného očkování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s posilující dávkou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 s posilující dávkou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EF588C28-05DC-42CC-A9FC-24C1B1D63131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>
            <a:xfrm>
              <a:off x="2144486" y="5987143"/>
              <a:ext cx="413657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8240D38-31A0-4D3E-B6CA-F927CE5A4370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2144486" y="6262454"/>
              <a:ext cx="413657" cy="0"/>
            </a:xfrm>
            <a:prstGeom prst="line">
              <a:avLst/>
            </a:prstGeom>
            <a:ln>
              <a:solidFill>
                <a:srgbClr val="4472C4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8F857F2-0A39-42B3-BFB3-490D8730B58F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>
            <a:xfrm>
              <a:off x="2144486" y="6537764"/>
              <a:ext cx="413657" cy="0"/>
            </a:xfrm>
            <a:prstGeom prst="line">
              <a:avLst/>
            </a:prstGeom>
            <a:ln>
              <a:solidFill>
                <a:srgbClr val="70AD47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430034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14460" cy="576000"/>
          </a:xfrm>
        </p:spPr>
        <p:txBody>
          <a:bodyPr/>
          <a:lstStyle/>
          <a:p>
            <a:r>
              <a:rPr lang="cs-CZ" sz="1800" dirty="0"/>
              <a:t>Hospitalizovaní na JIP k danému dni / 100 tisíc obyvatel 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3374320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D75E7E7B-56AE-437E-8CBD-D9D4309AF5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56608419-CBB0-41CF-AA38-3CBFB24E697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420585" y="5870873"/>
            <a:ext cx="9934599" cy="889154"/>
            <a:chOff x="1665514" y="5791199"/>
            <a:chExt cx="9934599" cy="889154"/>
          </a:xfrm>
        </p:grpSpPr>
        <p:sp>
          <p:nvSpPr>
            <p:cNvPr id="16" name="TextovéPole 15">
              <a:extLst>
                <a:ext uri="{FF2B5EF4-FFF2-40B4-BE49-F238E27FC236}">
                  <a16:creationId xmlns:a16="http://schemas.microsoft.com/office/drawing/2014/main" id="{60C31319-C2C6-482D-8BAD-5695B951E16D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65514" y="5791199"/>
              <a:ext cx="9934599" cy="889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cs-CZ" sz="12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	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očet případů bez dokončeného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bez dokončeného očkování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s posilující dávkou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 s posilující dávkou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0D684426-04E1-4B80-BA07-4799C54478CF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>
            <a:xfrm>
              <a:off x="2144486" y="5987143"/>
              <a:ext cx="413657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DCAA0DB7-126F-42D2-90D2-9ACC8C7112EA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2144486" y="6262454"/>
              <a:ext cx="413657" cy="0"/>
            </a:xfrm>
            <a:prstGeom prst="line">
              <a:avLst/>
            </a:prstGeom>
            <a:ln>
              <a:solidFill>
                <a:srgbClr val="4472C4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5D0673F-5049-4FCA-BAE3-164768B204C5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>
            <a:xfrm>
              <a:off x="2144486" y="6537764"/>
              <a:ext cx="413657" cy="0"/>
            </a:xfrm>
            <a:prstGeom prst="line">
              <a:avLst/>
            </a:prstGeom>
            <a:ln>
              <a:solidFill>
                <a:srgbClr val="70AD47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61129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8105555" cy="576000"/>
          </a:xfrm>
        </p:spPr>
        <p:txBody>
          <a:bodyPr/>
          <a:lstStyle/>
          <a:p>
            <a:r>
              <a:rPr lang="cs-CZ" sz="1800" dirty="0"/>
              <a:t>Počet pacientů na UPV/ECMO k danému dni / 100 tisíc obyvatel 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0798602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DC1EFBE5-ADDA-4076-B527-C219492EF6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1AA1317-CEA9-4059-B1A0-A4AC4C9E91E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420585" y="5870873"/>
            <a:ext cx="9934599" cy="889154"/>
            <a:chOff x="1665514" y="5791199"/>
            <a:chExt cx="9934599" cy="889154"/>
          </a:xfrm>
        </p:grpSpPr>
        <p:sp>
          <p:nvSpPr>
            <p:cNvPr id="16" name="TextovéPole 15">
              <a:extLst>
                <a:ext uri="{FF2B5EF4-FFF2-40B4-BE49-F238E27FC236}">
                  <a16:creationId xmlns:a16="http://schemas.microsoft.com/office/drawing/2014/main" id="{3AA71524-4466-4246-B4B6-10A3A9061318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665514" y="5791199"/>
              <a:ext cx="9934599" cy="889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cs-CZ" sz="120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	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očet případů bez dokončeného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bez dokončeného očkování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</a:pP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	Počet případů po dokončeném očkování s posilující dávkou / 100 tis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íc</a:t>
              </a:r>
              <a:r>
                <a:rPr lang="cs-CZ" sz="1200" b="0" i="0" u="none" strike="noStrike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obyvatel s dokončeným očkováním s posilující dávkou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922BF17-1B67-4B8B-AAA6-77BE47F77EB2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>
            <a:xfrm>
              <a:off x="2144486" y="5987143"/>
              <a:ext cx="413657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D4A41122-C388-4D4D-AA98-7089A04EECFF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>
            <a:xfrm>
              <a:off x="2144486" y="6262454"/>
              <a:ext cx="413657" cy="0"/>
            </a:xfrm>
            <a:prstGeom prst="line">
              <a:avLst/>
            </a:prstGeom>
            <a:ln>
              <a:solidFill>
                <a:srgbClr val="4472C4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432400F-516D-47CC-8FDC-4A6AA1AF206A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>
            <a:xfrm>
              <a:off x="2144486" y="6537764"/>
              <a:ext cx="413657" cy="0"/>
            </a:xfrm>
            <a:prstGeom prst="line">
              <a:avLst/>
            </a:prstGeom>
            <a:ln>
              <a:solidFill>
                <a:srgbClr val="70AD47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11141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14460" cy="576000"/>
          </a:xfrm>
        </p:spPr>
        <p:txBody>
          <a:bodyPr/>
          <a:lstStyle/>
          <a:p>
            <a:r>
              <a:rPr lang="cs-CZ" sz="1800" dirty="0"/>
              <a:t>Ochranný efekt proti nákaze</a:t>
            </a:r>
          </a:p>
        </p:txBody>
      </p:sp>
      <p:graphicFrame>
        <p:nvGraphicFramePr>
          <p:cNvPr id="3" name="Chart 11">
            <a:extLst>
              <a:ext uri="{FF2B5EF4-FFF2-40B4-BE49-F238E27FC236}">
                <a16:creationId xmlns:a16="http://schemas.microsoft.com/office/drawing/2014/main" id="{9C94868B-6D28-49A9-A4F2-F16953DB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6642513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5" name="Tabulka 5">
            <a:extLst>
              <a:ext uri="{FF2B5EF4-FFF2-40B4-BE49-F238E27FC236}">
                <a16:creationId xmlns:a16="http://schemas.microsoft.com/office/drawing/2014/main" id="{47051D88-E352-4AE2-A15E-4434FE6F3475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264246"/>
              </p:ext>
            </p:extLst>
          </p:nvPr>
        </p:nvGraphicFramePr>
        <p:xfrm>
          <a:off x="3374571" y="5976257"/>
          <a:ext cx="679189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5947">
                  <a:extLst>
                    <a:ext uri="{9D8B030D-6E8A-4147-A177-3AD203B41FA5}">
                      <a16:colId xmlns:a16="http://schemas.microsoft.com/office/drawing/2014/main" val="4223311237"/>
                    </a:ext>
                  </a:extLst>
                </a:gridCol>
                <a:gridCol w="3395947">
                  <a:extLst>
                    <a:ext uri="{9D8B030D-6E8A-4147-A177-3AD203B41FA5}">
                      <a16:colId xmlns:a16="http://schemas.microsoft.com/office/drawing/2014/main" val="1879002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bez posilující dávk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bez posilující dávky 65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008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s posilující dávko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s posilující dávkou 65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271739"/>
                  </a:ext>
                </a:extLst>
              </a:tr>
            </a:tbl>
          </a:graphicData>
        </a:graphic>
      </p:graphicFrame>
      <p:cxnSp>
        <p:nvCxnSpPr>
          <p:cNvPr id="7" name="Přímá spojnice 6">
            <a:extLst>
              <a:ext uri="{FF2B5EF4-FFF2-40B4-BE49-F238E27FC236}">
                <a16:creationId xmlns:a16="http://schemas.microsoft.com/office/drawing/2014/main" id="{4823B136-A36F-41EA-9E3B-17D0E1841EF7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2884714" y="6184537"/>
            <a:ext cx="413657" cy="0"/>
          </a:xfrm>
          <a:prstGeom prst="line">
            <a:avLst/>
          </a:prstGeom>
          <a:ln>
            <a:solidFill>
              <a:srgbClr val="4472C4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20C7735C-A97F-47E0-93B4-343F5FD34209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2884714" y="6554652"/>
            <a:ext cx="413657" cy="0"/>
          </a:xfrm>
          <a:prstGeom prst="line">
            <a:avLst/>
          </a:prstGeom>
          <a:ln>
            <a:solidFill>
              <a:srgbClr val="70AD47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ED61DAC9-5E08-4F2E-BD76-A243E176B588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6277097" y="6184537"/>
            <a:ext cx="413657" cy="0"/>
          </a:xfrm>
          <a:prstGeom prst="line">
            <a:avLst/>
          </a:prstGeom>
          <a:ln>
            <a:solidFill>
              <a:srgbClr val="4472C4"/>
            </a:solidFill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4844400B-66E3-4B80-8E6B-95EA24740435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277097" y="6554652"/>
            <a:ext cx="413657" cy="0"/>
          </a:xfrm>
          <a:prstGeom prst="line">
            <a:avLst/>
          </a:prstGeom>
          <a:ln>
            <a:solidFill>
              <a:srgbClr val="70AD47"/>
            </a:solidFill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BB0CBA97-E568-43AE-AA58-21E3CE320DC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</p:spTree>
    <p:extLst>
      <p:ext uri="{BB962C8B-B14F-4D97-AF65-F5344CB8AC3E}">
        <p14:creationId xmlns:p14="http://schemas.microsoft.com/office/powerpoint/2010/main" val="12830327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14460" cy="576000"/>
          </a:xfrm>
        </p:spPr>
        <p:txBody>
          <a:bodyPr/>
          <a:lstStyle/>
          <a:p>
            <a:r>
              <a:rPr lang="cs-CZ" sz="1800" dirty="0"/>
              <a:t>Ochranný efekt proti hospitaliza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3D78698E-90BB-4F64-90FC-E147947594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aphicFrame>
        <p:nvGraphicFramePr>
          <p:cNvPr id="10" name="Tabulka 5">
            <a:extLst>
              <a:ext uri="{FF2B5EF4-FFF2-40B4-BE49-F238E27FC236}">
                <a16:creationId xmlns:a16="http://schemas.microsoft.com/office/drawing/2014/main" id="{D8EC6C46-5344-44B4-AC77-C5F0E639B9E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2816366"/>
              </p:ext>
            </p:extLst>
          </p:nvPr>
        </p:nvGraphicFramePr>
        <p:xfrm>
          <a:off x="3374571" y="5976257"/>
          <a:ext cx="679189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5947">
                  <a:extLst>
                    <a:ext uri="{9D8B030D-6E8A-4147-A177-3AD203B41FA5}">
                      <a16:colId xmlns:a16="http://schemas.microsoft.com/office/drawing/2014/main" val="4223311237"/>
                    </a:ext>
                  </a:extLst>
                </a:gridCol>
                <a:gridCol w="3395947">
                  <a:extLst>
                    <a:ext uri="{9D8B030D-6E8A-4147-A177-3AD203B41FA5}">
                      <a16:colId xmlns:a16="http://schemas.microsoft.com/office/drawing/2014/main" val="1879002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bez posilující dávk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bez posilující dávky 65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008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s posilující dávko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s posilující dávkou 65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271739"/>
                  </a:ext>
                </a:extLst>
              </a:tr>
            </a:tbl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8E00106-4BEE-4719-8BA1-EB30B7BB05B3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2884714" y="6184537"/>
            <a:ext cx="413657" cy="0"/>
          </a:xfrm>
          <a:prstGeom prst="line">
            <a:avLst/>
          </a:prstGeom>
          <a:ln>
            <a:solidFill>
              <a:srgbClr val="4472C4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BC356DD-48E4-4F89-9156-37BAE7893F65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2884714" y="6554652"/>
            <a:ext cx="413657" cy="0"/>
          </a:xfrm>
          <a:prstGeom prst="line">
            <a:avLst/>
          </a:prstGeom>
          <a:ln>
            <a:solidFill>
              <a:srgbClr val="70AD47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71B02EBC-907F-4946-923A-B081BCC8A1CB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277097" y="6184537"/>
            <a:ext cx="413657" cy="0"/>
          </a:xfrm>
          <a:prstGeom prst="line">
            <a:avLst/>
          </a:prstGeom>
          <a:ln>
            <a:solidFill>
              <a:srgbClr val="4472C4"/>
            </a:solidFill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73D2FAED-29C3-41CE-A94B-4DB8B1532569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277097" y="6554652"/>
            <a:ext cx="413657" cy="0"/>
          </a:xfrm>
          <a:prstGeom prst="line">
            <a:avLst/>
          </a:prstGeom>
          <a:ln>
            <a:solidFill>
              <a:srgbClr val="70AD47"/>
            </a:solidFill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21B15E44-CCB2-4A8E-A173-D469F4D4EA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6191301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3851831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14460" cy="576000"/>
          </a:xfrm>
        </p:spPr>
        <p:txBody>
          <a:bodyPr/>
          <a:lstStyle/>
          <a:p>
            <a:r>
              <a:rPr lang="cs-CZ" sz="1800" dirty="0"/>
              <a:t>Ochranný efekt proti léčbě na JIP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DA3FB5C-E5E5-493F-AC1E-57DAFA6FAAC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aphicFrame>
        <p:nvGraphicFramePr>
          <p:cNvPr id="10" name="Tabulka 5">
            <a:extLst>
              <a:ext uri="{FF2B5EF4-FFF2-40B4-BE49-F238E27FC236}">
                <a16:creationId xmlns:a16="http://schemas.microsoft.com/office/drawing/2014/main" id="{340BCC52-1E61-45CB-A5C7-F6CFC6CA97C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2816366"/>
              </p:ext>
            </p:extLst>
          </p:nvPr>
        </p:nvGraphicFramePr>
        <p:xfrm>
          <a:off x="3374571" y="5976257"/>
          <a:ext cx="679189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5947">
                  <a:extLst>
                    <a:ext uri="{9D8B030D-6E8A-4147-A177-3AD203B41FA5}">
                      <a16:colId xmlns:a16="http://schemas.microsoft.com/office/drawing/2014/main" val="4223311237"/>
                    </a:ext>
                  </a:extLst>
                </a:gridCol>
                <a:gridCol w="3395947">
                  <a:extLst>
                    <a:ext uri="{9D8B030D-6E8A-4147-A177-3AD203B41FA5}">
                      <a16:colId xmlns:a16="http://schemas.microsoft.com/office/drawing/2014/main" val="1879002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bez posilující dávk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bez posilující dávky 65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008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s posilující dávko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s posilující dávkou 65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271739"/>
                  </a:ext>
                </a:extLst>
              </a:tr>
            </a:tbl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B670E97-34C1-4D71-8F05-CD4460A80F23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2884714" y="6184537"/>
            <a:ext cx="413657" cy="0"/>
          </a:xfrm>
          <a:prstGeom prst="line">
            <a:avLst/>
          </a:prstGeom>
          <a:ln>
            <a:solidFill>
              <a:srgbClr val="4472C4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1980A4F6-E884-472E-AA75-5D91186CFABC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2884714" y="6554652"/>
            <a:ext cx="413657" cy="0"/>
          </a:xfrm>
          <a:prstGeom prst="line">
            <a:avLst/>
          </a:prstGeom>
          <a:ln>
            <a:solidFill>
              <a:srgbClr val="70AD47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440F31A9-ACFA-4745-9D1D-98A61B5B2D54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277097" y="6184537"/>
            <a:ext cx="413657" cy="0"/>
          </a:xfrm>
          <a:prstGeom prst="line">
            <a:avLst/>
          </a:prstGeom>
          <a:ln>
            <a:solidFill>
              <a:srgbClr val="4472C4"/>
            </a:solidFill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0393CDDD-4C8F-434F-BB69-43F2D68ACF61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277097" y="6554652"/>
            <a:ext cx="413657" cy="0"/>
          </a:xfrm>
          <a:prstGeom prst="line">
            <a:avLst/>
          </a:prstGeom>
          <a:ln>
            <a:solidFill>
              <a:srgbClr val="70AD47"/>
            </a:solidFill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59155617-39ED-4F89-9A6D-BA04E59D73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9643044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737431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CB970C-3C80-42B9-AFC6-7F19330F412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7314460" cy="576000"/>
          </a:xfrm>
        </p:spPr>
        <p:txBody>
          <a:bodyPr/>
          <a:lstStyle/>
          <a:p>
            <a:r>
              <a:rPr lang="cs-CZ" sz="1800" dirty="0"/>
              <a:t>Ochranný efekt proti léčbě na UPV/ECMO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25E86159-66A0-4FF2-BF88-465BA311D3F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302858" y="3290500"/>
            <a:ext cx="1467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Hodnota indikátoru</a:t>
            </a:r>
          </a:p>
        </p:txBody>
      </p:sp>
      <p:graphicFrame>
        <p:nvGraphicFramePr>
          <p:cNvPr id="10" name="Tabulka 5">
            <a:extLst>
              <a:ext uri="{FF2B5EF4-FFF2-40B4-BE49-F238E27FC236}">
                <a16:creationId xmlns:a16="http://schemas.microsoft.com/office/drawing/2014/main" id="{F06165BD-5003-40DF-B374-584748D3E57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2816366"/>
              </p:ext>
            </p:extLst>
          </p:nvPr>
        </p:nvGraphicFramePr>
        <p:xfrm>
          <a:off x="3374571" y="5976257"/>
          <a:ext cx="679189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5947">
                  <a:extLst>
                    <a:ext uri="{9D8B030D-6E8A-4147-A177-3AD203B41FA5}">
                      <a16:colId xmlns:a16="http://schemas.microsoft.com/office/drawing/2014/main" val="4223311237"/>
                    </a:ext>
                  </a:extLst>
                </a:gridCol>
                <a:gridCol w="3395947">
                  <a:extLst>
                    <a:ext uri="{9D8B030D-6E8A-4147-A177-3AD203B41FA5}">
                      <a16:colId xmlns:a16="http://schemas.microsoft.com/office/drawing/2014/main" val="18790026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bez posilující dávk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bez posilující dávky 65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008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s posilující dávko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 s posilující dávkou 65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271739"/>
                  </a:ext>
                </a:extLst>
              </a:tr>
            </a:tbl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C8960FC-2963-48CE-A9D8-691CFAE3F54E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2884714" y="6184537"/>
            <a:ext cx="413657" cy="0"/>
          </a:xfrm>
          <a:prstGeom prst="line">
            <a:avLst/>
          </a:prstGeom>
          <a:ln>
            <a:solidFill>
              <a:srgbClr val="4472C4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447036C8-9FB2-430E-8B4F-72905C8C0D9A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2884714" y="6554652"/>
            <a:ext cx="413657" cy="0"/>
          </a:xfrm>
          <a:prstGeom prst="line">
            <a:avLst/>
          </a:prstGeom>
          <a:ln>
            <a:solidFill>
              <a:srgbClr val="70AD47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F4A71A06-9C29-4135-B917-3EEFEDF71976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277097" y="6184537"/>
            <a:ext cx="413657" cy="0"/>
          </a:xfrm>
          <a:prstGeom prst="line">
            <a:avLst/>
          </a:prstGeom>
          <a:ln>
            <a:solidFill>
              <a:srgbClr val="4472C4"/>
            </a:solidFill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AF0A97F2-0BC1-43BB-A8F7-98A2F71DEE44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277097" y="6554652"/>
            <a:ext cx="413657" cy="0"/>
          </a:xfrm>
          <a:prstGeom prst="line">
            <a:avLst/>
          </a:prstGeom>
          <a:ln>
            <a:solidFill>
              <a:srgbClr val="70AD47"/>
            </a:solidFill>
            <a:prstDash val="sysDash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62ECDF02-8420-4772-8F61-9969C26FA5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824328"/>
              </p:ext>
            </p:extLst>
          </p:nvPr>
        </p:nvGraphicFramePr>
        <p:xfrm>
          <a:off x="569481" y="881743"/>
          <a:ext cx="11053038" cy="58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4804548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CR testů 65+ / 100 tisíc obyvatel 65+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7903747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953598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4FDE1173-935E-4D59-8013-AA8833C8DD4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77395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518990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řípadů 65+ / 100 tisíc obyvatel 65+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7613228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2564349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AD279D53-D36B-44B4-9133-EAF0609CEE7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5510192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relativní pozitivita (dg. + </a:t>
            </a:r>
            <a:r>
              <a:rPr lang="cs-CZ" sz="1800" dirty="0" err="1"/>
              <a:t>epi</a:t>
            </a:r>
            <a:r>
              <a:rPr lang="cs-CZ" sz="1800" dirty="0"/>
              <a:t>.) indikovaných testů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0838476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4801042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C862A99A-A450-4C8A-B76E-1FFA4247D3F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0795389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relativní pozitivita (dg. + </a:t>
            </a:r>
            <a:r>
              <a:rPr lang="cs-CZ" sz="1800" dirty="0" err="1"/>
              <a:t>epi</a:t>
            </a:r>
            <a:r>
              <a:rPr lang="cs-CZ" sz="1800" dirty="0"/>
              <a:t>.) indikovaných testů 65+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9452016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4632975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ABDE640E-E280-456B-B841-9FE667CF66C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374998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symptomatických případů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6931103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5708976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52BF5836-F8A0-4759-A341-F660C6A91C8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0183368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hodnota R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6055005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3864386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37A159AA-3119-48B8-A208-C4EB3CF884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3848592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3923898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51</TotalTime>
  <Words>1606</Words>
  <Application>Microsoft Office PowerPoint</Application>
  <PresentationFormat>Širokoúhlá obrazovka</PresentationFormat>
  <Paragraphs>163</Paragraphs>
  <Slides>37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7</vt:i4>
      </vt:variant>
    </vt:vector>
  </HeadingPairs>
  <TitlesOfParts>
    <vt:vector size="42" baseType="lpstr">
      <vt:lpstr>Arial</vt:lpstr>
      <vt:lpstr>Calibri</vt:lpstr>
      <vt:lpstr>Calibri Light</vt:lpstr>
      <vt:lpstr>KKIP03</vt:lpstr>
      <vt:lpstr>8_Motiv Office</vt:lpstr>
      <vt:lpstr>Epidemie COVID-19 v ČR</vt:lpstr>
      <vt:lpstr>7denní počet (suma) PCR testů / 100 tisíc obyvatel</vt:lpstr>
      <vt:lpstr>7denní počet (suma) případů / 100 tisíc obyvatel</vt:lpstr>
      <vt:lpstr>7denní počet (suma) PCR testů 65+ / 100 tisíc obyvatel 65+</vt:lpstr>
      <vt:lpstr>7denní počet (suma) případů 65+ / 100 tisíc obyvatel 65+</vt:lpstr>
      <vt:lpstr>7denní relativní pozitivita (dg. + epi.) indikovaných testů</vt:lpstr>
      <vt:lpstr>7denní relativní pozitivita (dg. + epi.) indikovaných testů 65+</vt:lpstr>
      <vt:lpstr>7denní počet (suma) symptomatických případů / 100 tisíc obyvatel</vt:lpstr>
      <vt:lpstr>7denní hodnota R</vt:lpstr>
      <vt:lpstr>7denní počet nových příjmů do nemocnic / 100 tisíc obyvatel</vt:lpstr>
      <vt:lpstr>7denní počet nových příjmů na JIP (včetně překladů) / 100 tisíc obyv.</vt:lpstr>
      <vt:lpstr>7denní počet nových hospitalizací na JIP / 7denní počet všech nových hospitalizací (v %)</vt:lpstr>
      <vt:lpstr>7denní počet případů, hospitalizovaných do 3 dnů od pozitivity / 100 tisíc obyvatel</vt:lpstr>
      <vt:lpstr>7denní počet případů, hospitalizovaných do 3 dnů od pozitivity v % všech pozitivních</vt:lpstr>
      <vt:lpstr>7denní počet případů, hospitalizovaných na JIP do 3 dnů od pozitivity v % všech pozitivních</vt:lpstr>
      <vt:lpstr>7denní počet případů, hospitalizovaných do 7 dnů od pozitivity / 100 tisíc obyvatel</vt:lpstr>
      <vt:lpstr>7denní počet případů, hospitalizovaných do 7 dnů od pozitivity v % všech pozitivních</vt:lpstr>
      <vt:lpstr>7denní počet případů, hospitalizovaných na JIP do 7 dnů od pozitivity v % všech pozitivních</vt:lpstr>
      <vt:lpstr>7denní počet případů, hospitalizovaných na JIP v den pozitivity / 100 tisíc obyvatel</vt:lpstr>
      <vt:lpstr>7denní počet případů, hospitalizovaných na JIP v den pozitivity v % všech pozitivních</vt:lpstr>
      <vt:lpstr>7denní počet případů, hospitalizovaných na JIP v den pozitivity v % nově hospitalizovaných</vt:lpstr>
      <vt:lpstr>7denní počet případů, hospitalizovaných na JIP 65+ v den pozitivity / 100 tisíc obyvatel 65+</vt:lpstr>
      <vt:lpstr>7denní počet případů, hospitalizovaných na JIP 65+ v den pozitivity v % všech pozitivních 65+</vt:lpstr>
      <vt:lpstr>7denní počet případů, hospitalizovaných na JIP 65+ v den pozitivity v % nově hospitalizovaných 65+</vt:lpstr>
      <vt:lpstr>7denní počet (suma) případů / 100 tisíc obyvatel</vt:lpstr>
      <vt:lpstr>7denní počet (suma) symptomatických případů / 100 tisíc obyvatel</vt:lpstr>
      <vt:lpstr>Relativní pozitivita (dg. + epi.) indikovaných testů</vt:lpstr>
      <vt:lpstr>7denní počet (suma) případů 65+ / 100 tisíc obyvatel 65+</vt:lpstr>
      <vt:lpstr>Relativní pozitivita (dg. + epi.) indikovaných testů 65+</vt:lpstr>
      <vt:lpstr>7denní počet nových příjmů do nemocnic / 100 tisíc obyvatel </vt:lpstr>
      <vt:lpstr>7denní počet příjmů na JIP (včetně překladů) / 100 tisíc obyvatel </vt:lpstr>
      <vt:lpstr>Hospitalizovaní na JIP k danému dni / 100 tisíc obyvatel </vt:lpstr>
      <vt:lpstr>Počet pacientů na UPV/ECMO k danému dni / 100 tisíc obyvatel </vt:lpstr>
      <vt:lpstr>Ochranný efekt proti nákaze</vt:lpstr>
      <vt:lpstr>Ochranný efekt proti hospitalizaci</vt:lpstr>
      <vt:lpstr>Ochranný efekt proti léčbě na JIP</vt:lpstr>
      <vt:lpstr>Ochranný efekt proti léčbě na UPV/ECM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avidová Hana</cp:lastModifiedBy>
  <cp:revision>612</cp:revision>
  <dcterms:created xsi:type="dcterms:W3CDTF">2021-03-07T17:05:03Z</dcterms:created>
  <dcterms:modified xsi:type="dcterms:W3CDTF">2022-01-17T06:03:29Z</dcterms:modified>
</cp:coreProperties>
</file>